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>
  <p:sldMasterIdLst>
    <p:sldMasterId id="2147483648" r:id="rId4"/>
    <p:sldMasterId id="2147484023" r:id="rId5"/>
    <p:sldMasterId id="2147484040" r:id="rId6"/>
  </p:sldMasterIdLst>
  <p:notesMasterIdLst>
    <p:notesMasterId r:id="rId53"/>
  </p:notesMasterIdLst>
  <p:handoutMasterIdLst>
    <p:handoutMasterId r:id="rId54"/>
  </p:handoutMasterIdLst>
  <p:sldIdLst>
    <p:sldId id="261" r:id="rId7"/>
    <p:sldId id="964" r:id="rId8"/>
    <p:sldId id="1007" r:id="rId9"/>
    <p:sldId id="1026" r:id="rId10"/>
    <p:sldId id="988" r:id="rId11"/>
    <p:sldId id="1013" r:id="rId12"/>
    <p:sldId id="1018" r:id="rId13"/>
    <p:sldId id="1024" r:id="rId14"/>
    <p:sldId id="1025" r:id="rId15"/>
    <p:sldId id="1042" r:id="rId16"/>
    <p:sldId id="1069" r:id="rId17"/>
    <p:sldId id="1048" r:id="rId18"/>
    <p:sldId id="1052" r:id="rId19"/>
    <p:sldId id="1061" r:id="rId20"/>
    <p:sldId id="1075" r:id="rId21"/>
    <p:sldId id="1062" r:id="rId22"/>
    <p:sldId id="1029" r:id="rId23"/>
    <p:sldId id="1031" r:id="rId24"/>
    <p:sldId id="1053" r:id="rId25"/>
    <p:sldId id="1038" r:id="rId26"/>
    <p:sldId id="991" r:id="rId27"/>
    <p:sldId id="1015" r:id="rId28"/>
    <p:sldId id="1016" r:id="rId29"/>
    <p:sldId id="1034" r:id="rId30"/>
    <p:sldId id="1033" r:id="rId31"/>
    <p:sldId id="1019" r:id="rId32"/>
    <p:sldId id="1020" r:id="rId33"/>
    <p:sldId id="1021" r:id="rId34"/>
    <p:sldId id="1022" r:id="rId35"/>
    <p:sldId id="1023" r:id="rId36"/>
    <p:sldId id="1010" r:id="rId37"/>
    <p:sldId id="1040" r:id="rId38"/>
    <p:sldId id="1041" r:id="rId39"/>
    <p:sldId id="1049" r:id="rId40"/>
    <p:sldId id="1017" r:id="rId41"/>
    <p:sldId id="957" r:id="rId42"/>
    <p:sldId id="1063" r:id="rId43"/>
    <p:sldId id="1064" r:id="rId44"/>
    <p:sldId id="304" r:id="rId45"/>
    <p:sldId id="1027" r:id="rId46"/>
    <p:sldId id="1066" r:id="rId47"/>
    <p:sldId id="947" r:id="rId48"/>
    <p:sldId id="1073" r:id="rId49"/>
    <p:sldId id="1050" r:id="rId50"/>
    <p:sldId id="1074" r:id="rId51"/>
    <p:sldId id="998" r:id="rId52"/>
  </p:sldIdLst>
  <p:sldSz cx="9906000" cy="6858000" type="A4"/>
  <p:notesSz cx="6797675" cy="9926638"/>
  <p:embeddedFontLst>
    <p:embeddedFont>
      <p:font typeface="Arial Black" panose="020B0A04020102020204" pitchFamily="34" charset="0"/>
      <p:bold r:id="rId55"/>
    </p:embeddedFont>
    <p:embeddedFont>
      <p:font typeface="Trebuchet MS" panose="020B0603020202020204" pitchFamily="34" charset="0"/>
      <p:regular r:id="rId56"/>
      <p:bold r:id="rId57"/>
      <p:italic r:id="rId58"/>
      <p:boldItalic r:id="rId59"/>
    </p:embeddedFont>
    <p:embeddedFont>
      <p:font typeface="Calibri" panose="020F0502020204030204" pitchFamily="34" charset="0"/>
      <p:regular r:id="rId60"/>
      <p:bold r:id="rId61"/>
      <p:italic r:id="rId62"/>
      <p:boldItalic r:id="rId63"/>
    </p:embeddedFont>
    <p:embeddedFont>
      <p:font typeface="Wingdings 2" panose="05020102010507070707" pitchFamily="18" charset="2"/>
      <p:regular r:id="rId64"/>
    </p:embeddedFont>
    <p:embeddedFont>
      <p:font typeface="Tahoma" panose="020B0604030504040204" pitchFamily="34" charset="0"/>
      <p:regular r:id="rId65"/>
      <p:bold r:id="rId66"/>
    </p:embeddedFont>
  </p:embeddedFontLst>
  <p:custDataLst>
    <p:tags r:id="rId67"/>
  </p:custDataLst>
  <p:defaultTextStyle>
    <a:defPPr>
      <a:defRPr lang="it-IT"/>
    </a:defPPr>
    <a:lvl1pPr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A2ECA1EE-D07C-44E4-9844-F692C42D3C1B}">
          <p14:sldIdLst>
            <p14:sldId id="261"/>
            <p14:sldId id="964"/>
          </p14:sldIdLst>
        </p14:section>
        <p14:section name="Dematerializzazione ordini e E-DDT" id="{CA9F4368-8AE0-4107-8788-5DD82D411D17}">
          <p14:sldIdLst>
            <p14:sldId id="1007"/>
            <p14:sldId id="1026"/>
            <p14:sldId id="988"/>
            <p14:sldId id="1013"/>
            <p14:sldId id="1018"/>
            <p14:sldId id="1024"/>
            <p14:sldId id="1025"/>
            <p14:sldId id="1042"/>
            <p14:sldId id="1069"/>
            <p14:sldId id="1048"/>
            <p14:sldId id="1052"/>
            <p14:sldId id="1061"/>
            <p14:sldId id="1075"/>
            <p14:sldId id="1062"/>
            <p14:sldId id="1029"/>
            <p14:sldId id="1031"/>
            <p14:sldId id="1053"/>
            <p14:sldId id="1038"/>
            <p14:sldId id="991"/>
            <p14:sldId id="1015"/>
            <p14:sldId id="1016"/>
            <p14:sldId id="1034"/>
            <p14:sldId id="1033"/>
            <p14:sldId id="1019"/>
            <p14:sldId id="1020"/>
            <p14:sldId id="1021"/>
            <p14:sldId id="1022"/>
            <p14:sldId id="1023"/>
          </p14:sldIdLst>
        </p14:section>
        <p14:section name="Fatturazione Elettronica" id="{D2453B39-30CE-48C0-98D5-BEA96601F872}">
          <p14:sldIdLst>
            <p14:sldId id="1010"/>
            <p14:sldId id="1040"/>
            <p14:sldId id="1041"/>
            <p14:sldId id="1049"/>
            <p14:sldId id="1017"/>
            <p14:sldId id="957"/>
            <p14:sldId id="1063"/>
            <p14:sldId id="1064"/>
            <p14:sldId id="304"/>
            <p14:sldId id="1027"/>
            <p14:sldId id="1066"/>
            <p14:sldId id="947"/>
            <p14:sldId id="1073"/>
            <p14:sldId id="1050"/>
            <p14:sldId id="1074"/>
            <p14:sldId id="998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731" userDrawn="1">
          <p15:clr>
            <a:srgbClr val="A4A3A4"/>
          </p15:clr>
        </p15:guide>
        <p15:guide id="5" orient="horz" pos="3838" userDrawn="1">
          <p15:clr>
            <a:srgbClr val="A4A3A4"/>
          </p15:clr>
        </p15:guide>
        <p15:guide id="6" pos="611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ernigliaro, Giuseppe" initials="CG" lastIdx="1" clrIdx="0">
    <p:extLst>
      <p:ext uri="{19B8F6BF-5375-455C-9EA6-DF929625EA0E}">
        <p15:presenceInfo xmlns:p15="http://schemas.microsoft.com/office/powerpoint/2012/main" userId="S-1-5-21-2094927150-201071529-617630493-130232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DB3"/>
    <a:srgbClr val="007000"/>
    <a:srgbClr val="E8F6CF"/>
    <a:srgbClr val="FF9F9F"/>
    <a:srgbClr val="D2ECB6"/>
    <a:srgbClr val="FF6161"/>
    <a:srgbClr val="007600"/>
    <a:srgbClr val="A1A1A1"/>
    <a:srgbClr val="C2C2C2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53" autoAdjust="0"/>
    <p:restoredTop sz="95332" autoAdjust="0"/>
  </p:normalViewPr>
  <p:slideViewPr>
    <p:cSldViewPr snapToGrid="0">
      <p:cViewPr varScale="1">
        <p:scale>
          <a:sx n="83" d="100"/>
          <a:sy n="83" d="100"/>
        </p:scale>
        <p:origin x="1219" y="110"/>
      </p:cViewPr>
      <p:guideLst>
        <p:guide orient="horz" pos="731"/>
        <p:guide orient="horz" pos="3838"/>
        <p:guide pos="6114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456"/>
    </p:cViewPr>
  </p:sorterViewPr>
  <p:notesViewPr>
    <p:cSldViewPr snapToGrid="0">
      <p:cViewPr varScale="1">
        <p:scale>
          <a:sx n="48" d="100"/>
          <a:sy n="48" d="100"/>
        </p:scale>
        <p:origin x="2940" y="66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font" Target="fonts/font1.fntdata"/><Relationship Id="rId63" Type="http://schemas.openxmlformats.org/officeDocument/2006/relationships/font" Target="fonts/font9.fntdata"/><Relationship Id="rId68" Type="http://schemas.openxmlformats.org/officeDocument/2006/relationships/commentAuthors" Target="commentAuthors.xml"/><Relationship Id="rId7" Type="http://schemas.openxmlformats.org/officeDocument/2006/relationships/slide" Target="slides/slide1.xml"/><Relationship Id="rId71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notesMaster" Target="notesMasters/notesMaster1.xml"/><Relationship Id="rId58" Type="http://schemas.openxmlformats.org/officeDocument/2006/relationships/font" Target="fonts/font4.fntdata"/><Relationship Id="rId66" Type="http://schemas.openxmlformats.org/officeDocument/2006/relationships/font" Target="fonts/font12.fntdata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font" Target="fonts/font3.fntdata"/><Relationship Id="rId61" Type="http://schemas.openxmlformats.org/officeDocument/2006/relationships/font" Target="fonts/font7.fntdata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font" Target="fonts/font6.fntdata"/><Relationship Id="rId65" Type="http://schemas.openxmlformats.org/officeDocument/2006/relationships/font" Target="fonts/font11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font" Target="fonts/font2.fntdata"/><Relationship Id="rId64" Type="http://schemas.openxmlformats.org/officeDocument/2006/relationships/font" Target="fonts/font10.fntdata"/><Relationship Id="rId69" Type="http://schemas.openxmlformats.org/officeDocument/2006/relationships/presProps" Target="presProp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tableStyles" Target="tableStyles.xml"/><Relationship Id="rId80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font" Target="fonts/font5.fntdata"/><Relationship Id="rId67" Type="http://schemas.openxmlformats.org/officeDocument/2006/relationships/tags" Target="tags/tag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handoutMaster" Target="handoutMasters/handoutMaster1.xml"/><Relationship Id="rId62" Type="http://schemas.openxmlformats.org/officeDocument/2006/relationships/font" Target="fonts/font8.fntdata"/><Relationship Id="rId7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36.xml"/><Relationship Id="rId3" Type="http://schemas.openxmlformats.org/officeDocument/2006/relationships/slide" Target="slides/slide6.xml"/><Relationship Id="rId7" Type="http://schemas.openxmlformats.org/officeDocument/2006/relationships/slide" Target="slides/slide34.xml"/><Relationship Id="rId2" Type="http://schemas.openxmlformats.org/officeDocument/2006/relationships/slide" Target="slides/slide5.xml"/><Relationship Id="rId1" Type="http://schemas.openxmlformats.org/officeDocument/2006/relationships/slide" Target="slides/slide2.xml"/><Relationship Id="rId6" Type="http://schemas.openxmlformats.org/officeDocument/2006/relationships/slide" Target="slides/slide33.xml"/><Relationship Id="rId5" Type="http://schemas.openxmlformats.org/officeDocument/2006/relationships/slide" Target="slides/slide21.xml"/><Relationship Id="rId10" Type="http://schemas.openxmlformats.org/officeDocument/2006/relationships/slide" Target="slides/slide43.xml"/><Relationship Id="rId4" Type="http://schemas.openxmlformats.org/officeDocument/2006/relationships/slide" Target="slides/slide17.xml"/><Relationship Id="rId9" Type="http://schemas.openxmlformats.org/officeDocument/2006/relationships/slide" Target="slides/slide4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rtocchi Elisa" userId="09ba9f90-43d4-46ca-b990-d0b06de3388c" providerId="ADAL" clId="{94FD4E02-9392-4291-A3AE-F243C0F131C0}"/>
    <pc:docChg chg="custSel addSld delSld modSld">
      <pc:chgData name="Bertocchi Elisa" userId="09ba9f90-43d4-46ca-b990-d0b06de3388c" providerId="ADAL" clId="{94FD4E02-9392-4291-A3AE-F243C0F131C0}" dt="2018-05-03T15:04:00.461" v="1639" actId="20577"/>
      <pc:docMkLst>
        <pc:docMk/>
      </pc:docMkLst>
    </pc:docChg>
  </pc:docChgLst>
  <pc:docChgLst>
    <pc:chgData name="Bertocchi Elisa" userId="09ba9f90-43d4-46ca-b990-d0b06de3388c" providerId="ADAL" clId="{E0D1C21D-A1CD-4D24-B74A-8750A74354D1}"/>
    <pc:docChg chg="undo custSel addSld delSld modSld modSection">
      <pc:chgData name="Bertocchi Elisa" userId="09ba9f90-43d4-46ca-b990-d0b06de3388c" providerId="ADAL" clId="{E0D1C21D-A1CD-4D24-B74A-8750A74354D1}" dt="2018-06-12T15:20:24.567" v="1264"/>
      <pc:docMkLst>
        <pc:docMk/>
      </pc:docMkLst>
      <pc:sldChg chg="modSp">
        <pc:chgData name="Bertocchi Elisa" userId="09ba9f90-43d4-46ca-b990-d0b06de3388c" providerId="ADAL" clId="{E0D1C21D-A1CD-4D24-B74A-8750A74354D1}" dt="2018-06-12T14:42:30.219" v="84" actId="1036"/>
        <pc:sldMkLst>
          <pc:docMk/>
          <pc:sldMk cId="0" sldId="261"/>
        </pc:sldMkLst>
        <pc:spChg chg="mod">
          <ac:chgData name="Bertocchi Elisa" userId="09ba9f90-43d4-46ca-b990-d0b06de3388c" providerId="ADAL" clId="{E0D1C21D-A1CD-4D24-B74A-8750A74354D1}" dt="2018-06-12T14:42:24.117" v="80" actId="114"/>
          <ac:spMkLst>
            <pc:docMk/>
            <pc:sldMk cId="0" sldId="261"/>
            <ac:spMk id="8" creationId="{D6143EDE-DD84-471B-8F40-158CC14C61FF}"/>
          </ac:spMkLst>
        </pc:spChg>
        <pc:spChg chg="mod">
          <ac:chgData name="Bertocchi Elisa" userId="09ba9f90-43d4-46ca-b990-d0b06de3388c" providerId="ADAL" clId="{E0D1C21D-A1CD-4D24-B74A-8750A74354D1}" dt="2018-06-12T14:42:30.219" v="84" actId="1036"/>
          <ac:spMkLst>
            <pc:docMk/>
            <pc:sldMk cId="0" sldId="261"/>
            <ac:spMk id="4101" creationId="{470D016A-DF58-409F-A35D-2BAE6BAC3BEE}"/>
          </ac:spMkLst>
        </pc:spChg>
      </pc:sldChg>
      <pc:sldChg chg="modSp">
        <pc:chgData name="Bertocchi Elisa" userId="09ba9f90-43d4-46ca-b990-d0b06de3388c" providerId="ADAL" clId="{E0D1C21D-A1CD-4D24-B74A-8750A74354D1}" dt="2018-06-12T14:44:40.664" v="130" actId="20577"/>
        <pc:sldMkLst>
          <pc:docMk/>
          <pc:sldMk cId="1156944732" sldId="964"/>
        </pc:sldMkLst>
        <pc:spChg chg="mod">
          <ac:chgData name="Bertocchi Elisa" userId="09ba9f90-43d4-46ca-b990-d0b06de3388c" providerId="ADAL" clId="{E0D1C21D-A1CD-4D24-B74A-8750A74354D1}" dt="2018-06-12T14:44:40.664" v="130" actId="20577"/>
          <ac:spMkLst>
            <pc:docMk/>
            <pc:sldMk cId="1156944732" sldId="964"/>
            <ac:spMk id="33" creationId="{00000000-0000-0000-0000-000000000000}"/>
          </ac:spMkLst>
        </pc:spChg>
        <pc:spChg chg="mod">
          <ac:chgData name="Bertocchi Elisa" userId="09ba9f90-43d4-46ca-b990-d0b06de3388c" providerId="ADAL" clId="{E0D1C21D-A1CD-4D24-B74A-8750A74354D1}" dt="2018-06-12T14:44:18.621" v="119" actId="20577"/>
          <ac:spMkLst>
            <pc:docMk/>
            <pc:sldMk cId="1156944732" sldId="964"/>
            <ac:spMk id="36" creationId="{00000000-0000-0000-0000-000000000000}"/>
          </ac:spMkLst>
        </pc:spChg>
      </pc:sldChg>
      <pc:sldChg chg="addSp delSp modSp">
        <pc:chgData name="Bertocchi Elisa" userId="09ba9f90-43d4-46ca-b990-d0b06de3388c" providerId="ADAL" clId="{E0D1C21D-A1CD-4D24-B74A-8750A74354D1}" dt="2018-06-12T15:12:03.522" v="928" actId="166"/>
        <pc:sldMkLst>
          <pc:docMk/>
          <pc:sldMk cId="2923694791" sldId="980"/>
        </pc:sldMkLst>
        <pc:spChg chg="add del mod">
          <ac:chgData name="Bertocchi Elisa" userId="09ba9f90-43d4-46ca-b990-d0b06de3388c" providerId="ADAL" clId="{E0D1C21D-A1CD-4D24-B74A-8750A74354D1}" dt="2018-06-12T15:10:22.224" v="888" actId="478"/>
          <ac:spMkLst>
            <pc:docMk/>
            <pc:sldMk cId="2923694791" sldId="980"/>
            <ac:spMk id="4" creationId="{C8A75F82-F6FB-4E60-8305-8D42C680247D}"/>
          </ac:spMkLst>
        </pc:spChg>
        <pc:spChg chg="mod ord">
          <ac:chgData name="Bertocchi Elisa" userId="09ba9f90-43d4-46ca-b990-d0b06de3388c" providerId="ADAL" clId="{E0D1C21D-A1CD-4D24-B74A-8750A74354D1}" dt="2018-06-12T15:12:03.522" v="928" actId="166"/>
          <ac:spMkLst>
            <pc:docMk/>
            <pc:sldMk cId="2923694791" sldId="980"/>
            <ac:spMk id="21" creationId="{00000000-0000-0000-0000-000000000000}"/>
          </ac:spMkLst>
        </pc:spChg>
        <pc:picChg chg="del">
          <ac:chgData name="Bertocchi Elisa" userId="09ba9f90-43d4-46ca-b990-d0b06de3388c" providerId="ADAL" clId="{E0D1C21D-A1CD-4D24-B74A-8750A74354D1}" dt="2018-06-12T15:10:24.208" v="889" actId="478"/>
          <ac:picMkLst>
            <pc:docMk/>
            <pc:sldMk cId="2923694791" sldId="980"/>
            <ac:picMk id="3" creationId="{00000000-0000-0000-0000-000000000000}"/>
          </ac:picMkLst>
        </pc:picChg>
        <pc:picChg chg="add mod">
          <ac:chgData name="Bertocchi Elisa" userId="09ba9f90-43d4-46ca-b990-d0b06de3388c" providerId="ADAL" clId="{E0D1C21D-A1CD-4D24-B74A-8750A74354D1}" dt="2018-06-12T15:11:55.156" v="926" actId="1076"/>
          <ac:picMkLst>
            <pc:docMk/>
            <pc:sldMk cId="2923694791" sldId="980"/>
            <ac:picMk id="7" creationId="{14BFF2DA-4CCF-4562-9C07-81611B6EE643}"/>
          </ac:picMkLst>
        </pc:picChg>
      </pc:sldChg>
      <pc:sldChg chg="addSp delSp modSp">
        <pc:chgData name="Bertocchi Elisa" userId="09ba9f90-43d4-46ca-b990-d0b06de3388c" providerId="ADAL" clId="{E0D1C21D-A1CD-4D24-B74A-8750A74354D1}" dt="2018-06-12T15:20:01.156" v="1262" actId="14100"/>
        <pc:sldMkLst>
          <pc:docMk/>
          <pc:sldMk cId="3886669251" sldId="987"/>
        </pc:sldMkLst>
        <pc:spChg chg="add mod">
          <ac:chgData name="Bertocchi Elisa" userId="09ba9f90-43d4-46ca-b990-d0b06de3388c" providerId="ADAL" clId="{E0D1C21D-A1CD-4D24-B74A-8750A74354D1}" dt="2018-06-12T15:20:01.156" v="1262" actId="14100"/>
          <ac:spMkLst>
            <pc:docMk/>
            <pc:sldMk cId="3886669251" sldId="987"/>
            <ac:spMk id="6" creationId="{4082161D-547A-4827-9525-1BC3168D6674}"/>
          </ac:spMkLst>
        </pc:spChg>
        <pc:spChg chg="del mod">
          <ac:chgData name="Bertocchi Elisa" userId="09ba9f90-43d4-46ca-b990-d0b06de3388c" providerId="ADAL" clId="{E0D1C21D-A1CD-4D24-B74A-8750A74354D1}" dt="2018-06-12T15:19:54.797" v="1259" actId="478"/>
          <ac:spMkLst>
            <pc:docMk/>
            <pc:sldMk cId="3886669251" sldId="987"/>
            <ac:spMk id="9" creationId="{00000000-0000-0000-0000-000000000000}"/>
          </ac:spMkLst>
        </pc:spChg>
        <pc:spChg chg="mod">
          <ac:chgData name="Bertocchi Elisa" userId="09ba9f90-43d4-46ca-b990-d0b06de3388c" providerId="ADAL" clId="{E0D1C21D-A1CD-4D24-B74A-8750A74354D1}" dt="2018-06-12T15:13:55.213" v="1020" actId="6549"/>
          <ac:spMkLst>
            <pc:docMk/>
            <pc:sldMk cId="3886669251" sldId="987"/>
            <ac:spMk id="58" creationId="{00000000-0000-0000-0000-000000000000}"/>
          </ac:spMkLst>
        </pc:spChg>
        <pc:picChg chg="mod">
          <ac:chgData name="Bertocchi Elisa" userId="09ba9f90-43d4-46ca-b990-d0b06de3388c" providerId="ADAL" clId="{E0D1C21D-A1CD-4D24-B74A-8750A74354D1}" dt="2018-06-12T15:13:59.243" v="1021" actId="1036"/>
          <ac:picMkLst>
            <pc:docMk/>
            <pc:sldMk cId="3886669251" sldId="987"/>
            <ac:picMk id="8" creationId="{00000000-0000-0000-0000-000000000000}"/>
          </ac:picMkLst>
        </pc:picChg>
      </pc:sldChg>
      <pc:sldChg chg="addSp modSp">
        <pc:chgData name="Bertocchi Elisa" userId="09ba9f90-43d4-46ca-b990-d0b06de3388c" providerId="ADAL" clId="{E0D1C21D-A1CD-4D24-B74A-8750A74354D1}" dt="2018-06-12T14:46:20.608" v="249" actId="20577"/>
        <pc:sldMkLst>
          <pc:docMk/>
          <pc:sldMk cId="4277589237" sldId="988"/>
        </pc:sldMkLst>
        <pc:spChg chg="add mod">
          <ac:chgData name="Bertocchi Elisa" userId="09ba9f90-43d4-46ca-b990-d0b06de3388c" providerId="ADAL" clId="{E0D1C21D-A1CD-4D24-B74A-8750A74354D1}" dt="2018-06-12T14:46:20.608" v="249" actId="20577"/>
          <ac:spMkLst>
            <pc:docMk/>
            <pc:sldMk cId="4277589237" sldId="988"/>
            <ac:spMk id="3" creationId="{9C547847-FE01-496F-9BF1-88FCCA22CFED}"/>
          </ac:spMkLst>
        </pc:spChg>
        <pc:graphicFrameChg chg="mod">
          <ac:chgData name="Bertocchi Elisa" userId="09ba9f90-43d4-46ca-b990-d0b06de3388c" providerId="ADAL" clId="{E0D1C21D-A1CD-4D24-B74A-8750A74354D1}" dt="2018-06-12T14:45:44.283" v="131" actId="1076"/>
          <ac:graphicFrameMkLst>
            <pc:docMk/>
            <pc:sldMk cId="4277589237" sldId="988"/>
            <ac:graphicFrameMk id="4" creationId="{00000000-0000-0000-0000-000000000000}"/>
          </ac:graphicFrameMkLst>
        </pc:graphicFrameChg>
      </pc:sldChg>
      <pc:sldChg chg="addSp modSp">
        <pc:chgData name="Bertocchi Elisa" userId="09ba9f90-43d4-46ca-b990-d0b06de3388c" providerId="ADAL" clId="{E0D1C21D-A1CD-4D24-B74A-8750A74354D1}" dt="2018-06-12T14:51:15.882" v="401" actId="20577"/>
        <pc:sldMkLst>
          <pc:docMk/>
          <pc:sldMk cId="3799565363" sldId="990"/>
        </pc:sldMkLst>
        <pc:spChg chg="add mod">
          <ac:chgData name="Bertocchi Elisa" userId="09ba9f90-43d4-46ca-b990-d0b06de3388c" providerId="ADAL" clId="{E0D1C21D-A1CD-4D24-B74A-8750A74354D1}" dt="2018-06-12T14:50:47.330" v="371" actId="1076"/>
          <ac:spMkLst>
            <pc:docMk/>
            <pc:sldMk cId="3799565363" sldId="990"/>
            <ac:spMk id="3" creationId="{8AFB94C3-062A-4CFA-B3AD-CC99561BA595}"/>
          </ac:spMkLst>
        </pc:spChg>
        <pc:spChg chg="add mod">
          <ac:chgData name="Bertocchi Elisa" userId="09ba9f90-43d4-46ca-b990-d0b06de3388c" providerId="ADAL" clId="{E0D1C21D-A1CD-4D24-B74A-8750A74354D1}" dt="2018-06-12T14:51:15.882" v="401" actId="20577"/>
          <ac:spMkLst>
            <pc:docMk/>
            <pc:sldMk cId="3799565363" sldId="990"/>
            <ac:spMk id="4" creationId="{C31C36A4-FEA3-4342-BC7C-1C407E48DC3B}"/>
          </ac:spMkLst>
        </pc:spChg>
        <pc:spChg chg="mod">
          <ac:chgData name="Bertocchi Elisa" userId="09ba9f90-43d4-46ca-b990-d0b06de3388c" providerId="ADAL" clId="{E0D1C21D-A1CD-4D24-B74A-8750A74354D1}" dt="2018-06-12T14:50:37.126" v="369" actId="20577"/>
          <ac:spMkLst>
            <pc:docMk/>
            <pc:sldMk cId="3799565363" sldId="990"/>
            <ac:spMk id="10" creationId="{00000000-0000-0000-0000-000000000000}"/>
          </ac:spMkLst>
        </pc:spChg>
        <pc:spChg chg="mod">
          <ac:chgData name="Bertocchi Elisa" userId="09ba9f90-43d4-46ca-b990-d0b06de3388c" providerId="ADAL" clId="{E0D1C21D-A1CD-4D24-B74A-8750A74354D1}" dt="2018-06-12T14:49:38.765" v="365" actId="20577"/>
          <ac:spMkLst>
            <pc:docMk/>
            <pc:sldMk cId="3799565363" sldId="990"/>
            <ac:spMk id="11" creationId="{00000000-0000-0000-0000-000000000000}"/>
          </ac:spMkLst>
        </pc:spChg>
        <pc:spChg chg="mod">
          <ac:chgData name="Bertocchi Elisa" userId="09ba9f90-43d4-46ca-b990-d0b06de3388c" providerId="ADAL" clId="{E0D1C21D-A1CD-4D24-B74A-8750A74354D1}" dt="2018-06-12T14:48:01.910" v="316" actId="20577"/>
          <ac:spMkLst>
            <pc:docMk/>
            <pc:sldMk cId="3799565363" sldId="990"/>
            <ac:spMk id="12" creationId="{00000000-0000-0000-0000-000000000000}"/>
          </ac:spMkLst>
        </pc:spChg>
        <pc:spChg chg="mod">
          <ac:chgData name="Bertocchi Elisa" userId="09ba9f90-43d4-46ca-b990-d0b06de3388c" providerId="ADAL" clId="{E0D1C21D-A1CD-4D24-B74A-8750A74354D1}" dt="2018-06-12T14:50:32.355" v="368" actId="20577"/>
          <ac:spMkLst>
            <pc:docMk/>
            <pc:sldMk cId="3799565363" sldId="990"/>
            <ac:spMk id="15" creationId="{00000000-0000-0000-0000-000000000000}"/>
          </ac:spMkLst>
        </pc:spChg>
      </pc:sldChg>
      <pc:sldChg chg="modSp">
        <pc:chgData name="Bertocchi Elisa" userId="09ba9f90-43d4-46ca-b990-d0b06de3388c" providerId="ADAL" clId="{E0D1C21D-A1CD-4D24-B74A-8750A74354D1}" dt="2018-06-12T15:08:34.630" v="882" actId="207"/>
        <pc:sldMkLst>
          <pc:docMk/>
          <pc:sldMk cId="1776438515" sldId="991"/>
        </pc:sldMkLst>
        <pc:spChg chg="mod">
          <ac:chgData name="Bertocchi Elisa" userId="09ba9f90-43d4-46ca-b990-d0b06de3388c" providerId="ADAL" clId="{E0D1C21D-A1CD-4D24-B74A-8750A74354D1}" dt="2018-06-12T15:06:54.918" v="793" actId="1076"/>
          <ac:spMkLst>
            <pc:docMk/>
            <pc:sldMk cId="1776438515" sldId="991"/>
            <ac:spMk id="2" creationId="{00000000-0000-0000-0000-000000000000}"/>
          </ac:spMkLst>
        </pc:spChg>
        <pc:spChg chg="mod">
          <ac:chgData name="Bertocchi Elisa" userId="09ba9f90-43d4-46ca-b990-d0b06de3388c" providerId="ADAL" clId="{E0D1C21D-A1CD-4D24-B74A-8750A74354D1}" dt="2018-06-12T15:08:34.630" v="882" actId="207"/>
          <ac:spMkLst>
            <pc:docMk/>
            <pc:sldMk cId="1776438515" sldId="991"/>
            <ac:spMk id="4" creationId="{00000000-0000-0000-0000-000000000000}"/>
          </ac:spMkLst>
        </pc:spChg>
        <pc:spChg chg="mod">
          <ac:chgData name="Bertocchi Elisa" userId="09ba9f90-43d4-46ca-b990-d0b06de3388c" providerId="ADAL" clId="{E0D1C21D-A1CD-4D24-B74A-8750A74354D1}" dt="2018-06-12T15:07:51.973" v="836" actId="20577"/>
          <ac:spMkLst>
            <pc:docMk/>
            <pc:sldMk cId="1776438515" sldId="991"/>
            <ac:spMk id="6" creationId="{00000000-0000-0000-0000-000000000000}"/>
          </ac:spMkLst>
        </pc:spChg>
        <pc:spChg chg="mod">
          <ac:chgData name="Bertocchi Elisa" userId="09ba9f90-43d4-46ca-b990-d0b06de3388c" providerId="ADAL" clId="{E0D1C21D-A1CD-4D24-B74A-8750A74354D1}" dt="2018-06-12T15:08:16.173" v="880" actId="20577"/>
          <ac:spMkLst>
            <pc:docMk/>
            <pc:sldMk cId="1776438515" sldId="991"/>
            <ac:spMk id="22" creationId="{00000000-0000-0000-0000-000000000000}"/>
          </ac:spMkLst>
        </pc:spChg>
        <pc:grpChg chg="mod">
          <ac:chgData name="Bertocchi Elisa" userId="09ba9f90-43d4-46ca-b990-d0b06de3388c" providerId="ADAL" clId="{E0D1C21D-A1CD-4D24-B74A-8750A74354D1}" dt="2018-06-12T15:07:21.948" v="834" actId="1036"/>
          <ac:grpSpMkLst>
            <pc:docMk/>
            <pc:sldMk cId="1776438515" sldId="991"/>
            <ac:grpSpMk id="61" creationId="{00000000-0000-0000-0000-000000000000}"/>
          </ac:grpSpMkLst>
        </pc:grpChg>
        <pc:grpChg chg="mod">
          <ac:chgData name="Bertocchi Elisa" userId="09ba9f90-43d4-46ca-b990-d0b06de3388c" providerId="ADAL" clId="{E0D1C21D-A1CD-4D24-B74A-8750A74354D1}" dt="2018-06-12T15:07:21.948" v="834" actId="1036"/>
          <ac:grpSpMkLst>
            <pc:docMk/>
            <pc:sldMk cId="1776438515" sldId="991"/>
            <ac:grpSpMk id="62" creationId="{00000000-0000-0000-0000-000000000000}"/>
          </ac:grpSpMkLst>
        </pc:grpChg>
        <pc:grpChg chg="mod">
          <ac:chgData name="Bertocchi Elisa" userId="09ba9f90-43d4-46ca-b990-d0b06de3388c" providerId="ADAL" clId="{E0D1C21D-A1CD-4D24-B74A-8750A74354D1}" dt="2018-06-12T15:07:21.948" v="834" actId="1036"/>
          <ac:grpSpMkLst>
            <pc:docMk/>
            <pc:sldMk cId="1776438515" sldId="991"/>
            <ac:grpSpMk id="63" creationId="{00000000-0000-0000-0000-000000000000}"/>
          </ac:grpSpMkLst>
        </pc:grpChg>
        <pc:grpChg chg="mod">
          <ac:chgData name="Bertocchi Elisa" userId="09ba9f90-43d4-46ca-b990-d0b06de3388c" providerId="ADAL" clId="{E0D1C21D-A1CD-4D24-B74A-8750A74354D1}" dt="2018-06-12T15:07:21.948" v="834" actId="1036"/>
          <ac:grpSpMkLst>
            <pc:docMk/>
            <pc:sldMk cId="1776438515" sldId="991"/>
            <ac:grpSpMk id="64" creationId="{00000000-0000-0000-0000-000000000000}"/>
          </ac:grpSpMkLst>
        </pc:grpChg>
      </pc:sldChg>
      <pc:sldChg chg="modSp">
        <pc:chgData name="Bertocchi Elisa" userId="09ba9f90-43d4-46ca-b990-d0b06de3388c" providerId="ADAL" clId="{E0D1C21D-A1CD-4D24-B74A-8750A74354D1}" dt="2018-06-12T15:05:49.044" v="776" actId="1076"/>
        <pc:sldMkLst>
          <pc:docMk/>
          <pc:sldMk cId="1484294624" sldId="993"/>
        </pc:sldMkLst>
        <pc:spChg chg="mod">
          <ac:chgData name="Bertocchi Elisa" userId="09ba9f90-43d4-46ca-b990-d0b06de3388c" providerId="ADAL" clId="{E0D1C21D-A1CD-4D24-B74A-8750A74354D1}" dt="2018-06-12T15:05:49.044" v="776" actId="1076"/>
          <ac:spMkLst>
            <pc:docMk/>
            <pc:sldMk cId="1484294624" sldId="993"/>
            <ac:spMk id="7" creationId="{00000000-0000-0000-0000-000000000000}"/>
          </ac:spMkLst>
        </pc:spChg>
        <pc:picChg chg="mod">
          <ac:chgData name="Bertocchi Elisa" userId="09ba9f90-43d4-46ca-b990-d0b06de3388c" providerId="ADAL" clId="{E0D1C21D-A1CD-4D24-B74A-8750A74354D1}" dt="2018-06-12T15:03:41.338" v="771" actId="14100"/>
          <ac:picMkLst>
            <pc:docMk/>
            <pc:sldMk cId="1484294624" sldId="993"/>
            <ac:picMk id="6" creationId="{00000000-0000-0000-0000-000000000000}"/>
          </ac:picMkLst>
        </pc:picChg>
      </pc:sldChg>
      <pc:sldChg chg="modSp">
        <pc:chgData name="Bertocchi Elisa" userId="09ba9f90-43d4-46ca-b990-d0b06de3388c" providerId="ADAL" clId="{E0D1C21D-A1CD-4D24-B74A-8750A74354D1}" dt="2018-06-12T15:09:44.620" v="887" actId="1036"/>
        <pc:sldMkLst>
          <pc:docMk/>
          <pc:sldMk cId="4182003561" sldId="996"/>
        </pc:sldMkLst>
        <pc:spChg chg="mod">
          <ac:chgData name="Bertocchi Elisa" userId="09ba9f90-43d4-46ca-b990-d0b06de3388c" providerId="ADAL" clId="{E0D1C21D-A1CD-4D24-B74A-8750A74354D1}" dt="2018-06-12T15:09:44.620" v="887" actId="1036"/>
          <ac:spMkLst>
            <pc:docMk/>
            <pc:sldMk cId="4182003561" sldId="996"/>
            <ac:spMk id="8" creationId="{00000000-0000-0000-0000-000000000000}"/>
          </ac:spMkLst>
        </pc:spChg>
      </pc:sldChg>
      <pc:sldChg chg="modSp">
        <pc:chgData name="Bertocchi Elisa" userId="09ba9f90-43d4-46ca-b990-d0b06de3388c" providerId="ADAL" clId="{E0D1C21D-A1CD-4D24-B74A-8750A74354D1}" dt="2018-06-12T15:19:39.517" v="1257" actId="20577"/>
        <pc:sldMkLst>
          <pc:docMk/>
          <pc:sldMk cId="1440396693" sldId="1000"/>
        </pc:sldMkLst>
        <pc:spChg chg="mod">
          <ac:chgData name="Bertocchi Elisa" userId="09ba9f90-43d4-46ca-b990-d0b06de3388c" providerId="ADAL" clId="{E0D1C21D-A1CD-4D24-B74A-8750A74354D1}" dt="2018-06-12T15:19:39.517" v="1257" actId="20577"/>
          <ac:spMkLst>
            <pc:docMk/>
            <pc:sldMk cId="1440396693" sldId="1000"/>
            <ac:spMk id="8" creationId="{00000000-0000-0000-0000-000000000000}"/>
          </ac:spMkLst>
        </pc:spChg>
      </pc:sldChg>
      <pc:sldChg chg="addSp modSp">
        <pc:chgData name="Bertocchi Elisa" userId="09ba9f90-43d4-46ca-b990-d0b06de3388c" providerId="ADAL" clId="{E0D1C21D-A1CD-4D24-B74A-8750A74354D1}" dt="2018-06-12T14:53:31.691" v="430" actId="20577"/>
        <pc:sldMkLst>
          <pc:docMk/>
          <pc:sldMk cId="594712709" sldId="1001"/>
        </pc:sldMkLst>
        <pc:spChg chg="add mod">
          <ac:chgData name="Bertocchi Elisa" userId="09ba9f90-43d4-46ca-b990-d0b06de3388c" providerId="ADAL" clId="{E0D1C21D-A1CD-4D24-B74A-8750A74354D1}" dt="2018-06-12T14:53:31.691" v="430" actId="20577"/>
          <ac:spMkLst>
            <pc:docMk/>
            <pc:sldMk cId="594712709" sldId="1001"/>
            <ac:spMk id="3" creationId="{315C5AE4-F0FF-4E64-AE15-20C0ACD974F3}"/>
          </ac:spMkLst>
        </pc:spChg>
        <pc:spChg chg="mod">
          <ac:chgData name="Bertocchi Elisa" userId="09ba9f90-43d4-46ca-b990-d0b06de3388c" providerId="ADAL" clId="{E0D1C21D-A1CD-4D24-B74A-8750A74354D1}" dt="2018-06-12T14:52:52.436" v="421" actId="403"/>
          <ac:spMkLst>
            <pc:docMk/>
            <pc:sldMk cId="594712709" sldId="1001"/>
            <ac:spMk id="25" creationId="{00000000-0000-0000-0000-000000000000}"/>
          </ac:spMkLst>
        </pc:spChg>
      </pc:sldChg>
      <pc:sldChg chg="add">
        <pc:chgData name="Bertocchi Elisa" userId="09ba9f90-43d4-46ca-b990-d0b06de3388c" providerId="ADAL" clId="{E0D1C21D-A1CD-4D24-B74A-8750A74354D1}" dt="2018-06-12T15:20:24.567" v="1264"/>
        <pc:sldMkLst>
          <pc:docMk/>
          <pc:sldMk cId="1630122349" sldId="1012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3" name="Rectangle 7">
            <a:extLst>
              <a:ext uri="{FF2B5EF4-FFF2-40B4-BE49-F238E27FC236}">
                <a16:creationId xmlns:a16="http://schemas.microsoft.com/office/drawing/2014/main" id="{220B40CE-F36C-4737-8374-93801C02194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31338"/>
            <a:ext cx="2947987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360" tIns="46181" rIns="92360" bIns="46181" numCol="1" anchor="b" anchorCtr="0" compatLnSpc="1">
            <a:prstTxWarp prst="textNoShape">
              <a:avLst/>
            </a:prstTxWarp>
          </a:bodyPr>
          <a:lstStyle>
            <a:lvl1pPr algn="r" defTabSz="923925">
              <a:buClrTx/>
              <a:buSzTx/>
              <a:buFontTx/>
              <a:buNone/>
              <a:defRPr>
                <a:latin typeface="Trebuchet MS" panose="020B0603020202020204" pitchFamily="34" charset="0"/>
              </a:defRPr>
            </a:lvl1pPr>
          </a:lstStyle>
          <a:p>
            <a:pPr>
              <a:defRPr/>
            </a:pPr>
            <a:fld id="{6EDC3F57-1D5F-47E8-BA82-DFD2AE502CE8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61EE8D3C-847B-4C47-9AB1-86318F65FC8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979488" y="1241425"/>
            <a:ext cx="48387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it-IT" noProof="0" dirty="0"/>
          </a:p>
        </p:txBody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C759EDCF-152B-4B6D-A1E8-8B4C12B35D3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noProof="0"/>
              <a:t>Modifica gli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Trebuchet MS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Trebuchet MS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Trebuchet MS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Trebuchet MS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Trebuchet MS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>
            <a:extLst>
              <a:ext uri="{FF2B5EF4-FFF2-40B4-BE49-F238E27FC236}">
                <a16:creationId xmlns:a16="http://schemas.microsoft.com/office/drawing/2014/main" id="{4DCE000B-3D2D-4500-9BA4-A07CEF83CC6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711200" y="744538"/>
            <a:ext cx="5376863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Rectangle 3">
            <a:extLst>
              <a:ext uri="{FF2B5EF4-FFF2-40B4-BE49-F238E27FC236}">
                <a16:creationId xmlns:a16="http://schemas.microsoft.com/office/drawing/2014/main" id="{E4051AB4-020A-491E-AAEE-90D291623A5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08050" y="4718050"/>
            <a:ext cx="4981575" cy="44640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it-IT" altLang="it-IT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90563" y="749300"/>
            <a:ext cx="5337175" cy="3695700"/>
          </a:xfrm>
          <a:solidFill>
            <a:srgbClr val="FFFFFF"/>
          </a:solidFill>
          <a:ln/>
        </p:spPr>
      </p:sp>
      <p:sp>
        <p:nvSpPr>
          <p:cNvPr id="8195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1513" y="4681538"/>
            <a:ext cx="5373687" cy="44338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1016800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90563" y="749300"/>
            <a:ext cx="5337175" cy="3695700"/>
          </a:xfrm>
          <a:solidFill>
            <a:srgbClr val="FFFFFF"/>
          </a:solidFill>
          <a:ln/>
        </p:spPr>
      </p:sp>
      <p:sp>
        <p:nvSpPr>
          <p:cNvPr id="8195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1513" y="4681538"/>
            <a:ext cx="5373687" cy="44338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41931205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90563" y="749300"/>
            <a:ext cx="5337175" cy="3695700"/>
          </a:xfrm>
          <a:solidFill>
            <a:srgbClr val="FFFFFF"/>
          </a:solidFill>
          <a:ln/>
        </p:spPr>
      </p:sp>
      <p:sp>
        <p:nvSpPr>
          <p:cNvPr id="8195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1513" y="4681538"/>
            <a:ext cx="5373687" cy="44338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972275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90563" y="749300"/>
            <a:ext cx="5337175" cy="3695700"/>
          </a:xfrm>
          <a:solidFill>
            <a:srgbClr val="FFFFFF"/>
          </a:solidFill>
          <a:ln/>
        </p:spPr>
      </p:sp>
      <p:sp>
        <p:nvSpPr>
          <p:cNvPr id="8195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1513" y="4681538"/>
            <a:ext cx="5373687" cy="44338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2663381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90563" y="749300"/>
            <a:ext cx="5337175" cy="3695700"/>
          </a:xfrm>
          <a:solidFill>
            <a:srgbClr val="FFFFFF"/>
          </a:solidFill>
          <a:ln/>
        </p:spPr>
      </p:sp>
      <p:sp>
        <p:nvSpPr>
          <p:cNvPr id="14339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1516" y="4680945"/>
            <a:ext cx="5373699" cy="443507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71303950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 eaLnBrk="1" hangingPunct="1"/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7233687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 eaLnBrk="1" hangingPunct="1"/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5167767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 eaLnBrk="1" hangingPunct="1"/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44559852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90563" y="749300"/>
            <a:ext cx="5337175" cy="3695700"/>
          </a:xfrm>
          <a:solidFill>
            <a:srgbClr val="FFFFFF"/>
          </a:solidFill>
          <a:ln/>
        </p:spPr>
      </p:sp>
      <p:sp>
        <p:nvSpPr>
          <p:cNvPr id="8195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1513" y="4681538"/>
            <a:ext cx="5373687" cy="44338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92342627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 eaLnBrk="1" hangingPunct="1"/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6898835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 eaLnBrk="1" hangingPunct="1"/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07117910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 eaLnBrk="1" hangingPunct="1"/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25921046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>
            <a:extLst>
              <a:ext uri="{FF2B5EF4-FFF2-40B4-BE49-F238E27FC236}">
                <a16:creationId xmlns:a16="http://schemas.microsoft.com/office/drawing/2014/main" id="{4DCE000B-3D2D-4500-9BA4-A07CEF83CC6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711200" y="744538"/>
            <a:ext cx="5376863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Rectangle 3">
            <a:extLst>
              <a:ext uri="{FF2B5EF4-FFF2-40B4-BE49-F238E27FC236}">
                <a16:creationId xmlns:a16="http://schemas.microsoft.com/office/drawing/2014/main" id="{E4051AB4-020A-491E-AAEE-90D291623A5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08050" y="4718050"/>
            <a:ext cx="4981575" cy="44640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2413420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90563" y="749300"/>
            <a:ext cx="5337175" cy="3695700"/>
          </a:xfrm>
          <a:solidFill>
            <a:srgbClr val="FFFFFF"/>
          </a:solidFill>
          <a:ln/>
        </p:spPr>
      </p:sp>
      <p:sp>
        <p:nvSpPr>
          <p:cNvPr id="8195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1513" y="4681538"/>
            <a:ext cx="5373687" cy="44338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1951218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 eaLnBrk="1" hangingPunct="1"/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7695312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 eaLnBrk="1" hangingPunct="1"/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8268366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608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7446550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 eaLnBrk="1" hangingPunct="1"/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9278401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 eaLnBrk="1" hangingPunct="1"/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6244002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90563" y="749300"/>
            <a:ext cx="5337175" cy="3695700"/>
          </a:xfrm>
          <a:solidFill>
            <a:srgbClr val="FFFFFF"/>
          </a:solidFill>
          <a:ln/>
        </p:spPr>
      </p:sp>
      <p:sp>
        <p:nvSpPr>
          <p:cNvPr id="8195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1513" y="4681538"/>
            <a:ext cx="5373687" cy="44338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9215215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/Macintosh%20HD/Users/staff7/Desktop/PPT%20intercentER/OMINI.png" TargetMode="External"/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0" y="2693988"/>
            <a:ext cx="8420100" cy="1470025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it-IT" dirty="0"/>
              <a:t>Fare clic per modificare lo stile del titolo</a:t>
            </a:r>
          </a:p>
        </p:txBody>
      </p:sp>
      <p:sp>
        <p:nvSpPr>
          <p:cNvPr id="4" name="Rectangle 20">
            <a:extLst>
              <a:ext uri="{FF2B5EF4-FFF2-40B4-BE49-F238E27FC236}">
                <a16:creationId xmlns:a16="http://schemas.microsoft.com/office/drawing/2014/main" id="{D9940B10-7B4B-4845-A19F-59DB7156BF7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3F3D67-27D9-44AF-93C3-390B7A46D57E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  <p:cxnSp>
        <p:nvCxnSpPr>
          <p:cNvPr id="6" name="Straight Connector 5"/>
          <p:cNvCxnSpPr/>
          <p:nvPr userDrawn="1"/>
        </p:nvCxnSpPr>
        <p:spPr bwMode="auto">
          <a:xfrm flipV="1">
            <a:off x="690282" y="4155049"/>
            <a:ext cx="8507506" cy="8964"/>
          </a:xfrm>
          <a:prstGeom prst="line">
            <a:avLst/>
          </a:prstGeom>
          <a:ln>
            <a:solidFill>
              <a:srgbClr val="006600"/>
            </a:solidFill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7042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393A0CB9-CD2B-463A-8F61-91C5A699D42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CFF2F2-8CCB-4B5F-A8D2-087C22134ECA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4682753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dirty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7AE58293-EAF4-4B5B-9492-4454FA35E61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BD8E71-DFBB-45F4-9C88-90C8E974659E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3176414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Rectangle 20">
            <a:extLst>
              <a:ext uri="{FF2B5EF4-FFF2-40B4-BE49-F238E27FC236}">
                <a16:creationId xmlns:a16="http://schemas.microsoft.com/office/drawing/2014/main" id="{300A822A-52C0-4C81-9B2E-60BF3685578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16ABBA-4DC5-4740-860B-2D550CA5F212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28911449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12750" y="114300"/>
            <a:ext cx="6827838" cy="5600700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Rectangle 20">
            <a:extLst>
              <a:ext uri="{FF2B5EF4-FFF2-40B4-BE49-F238E27FC236}">
                <a16:creationId xmlns:a16="http://schemas.microsoft.com/office/drawing/2014/main" id="{FF95EC43-9E85-467E-B5D6-E4A1459C501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3B3722-19F7-49B5-927D-9A93654FD4B2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9141319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12750" y="114300"/>
            <a:ext cx="9305925" cy="685800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idx="1"/>
          </p:nvPr>
        </p:nvSpPr>
        <p:spPr>
          <a:xfrm>
            <a:off x="742950" y="1600200"/>
            <a:ext cx="8420100" cy="4114800"/>
          </a:xfrm>
        </p:spPr>
        <p:txBody>
          <a:bodyPr/>
          <a:lstStyle/>
          <a:p>
            <a:pPr lvl="0"/>
            <a:endParaRPr lang="it-IT" noProof="0" dirty="0"/>
          </a:p>
        </p:txBody>
      </p:sp>
      <p:sp>
        <p:nvSpPr>
          <p:cNvPr id="4" name="Rectangle 20">
            <a:extLst>
              <a:ext uri="{FF2B5EF4-FFF2-40B4-BE49-F238E27FC236}">
                <a16:creationId xmlns:a16="http://schemas.microsoft.com/office/drawing/2014/main" id="{695ABAD7-9CEE-4A3C-8F47-5A16BF569C7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40A7AD-DA9F-4FC5-BE16-1EA04795BB6E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3979727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 preserve="1">
  <p:cSld name="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1" hidden="1">
            <a:extLst>
              <a:ext uri="{FF2B5EF4-FFF2-40B4-BE49-F238E27FC236}">
                <a16:creationId xmlns:a16="http://schemas.microsoft.com/office/drawing/2014/main" id="{FAC8FE0B-8628-4D98-9FE2-204806DB6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4" name="Diapositiva think-cell" r:id="rId5" imgW="38100" imgH="38100" progId="TCLayout.ActiveDocument.1">
                  <p:embed/>
                </p:oleObj>
              </mc:Choice>
              <mc:Fallback>
                <p:oleObj name="Diapositiva think-cell" r:id="rId5" imgW="38100" imgH="38100" progId="TCLayout.ActiveDocument.1">
                  <p:embed/>
                  <p:pic>
                    <p:nvPicPr>
                      <p:cNvPr id="3" name="Oggetto 1" hidden="1">
                        <a:extLst>
                          <a:ext uri="{FF2B5EF4-FFF2-40B4-BE49-F238E27FC236}">
                            <a16:creationId xmlns:a16="http://schemas.microsoft.com/office/drawing/2014/main" id="{FAC8FE0B-8628-4D98-9FE2-204806DB6BB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8">
            <a:extLst>
              <a:ext uri="{FF2B5EF4-FFF2-40B4-BE49-F238E27FC236}">
                <a16:creationId xmlns:a16="http://schemas.microsoft.com/office/drawing/2014/main" id="{68DDD478-88D2-4890-8E5F-C7A052214C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94250" y="3290888"/>
            <a:ext cx="9906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CC0000"/>
              </a:buClr>
              <a:buSzPct val="70000"/>
              <a:buFont typeface="Wingdings" panose="05000000000000000000" pitchFamily="2" charset="2"/>
              <a:buNone/>
              <a:defRPr/>
            </a:pPr>
            <a:endParaRPr lang="it-IT" altLang="it-IT" dirty="0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0E1E1FDE-2A33-489C-AC0D-D9FB3CEFFAD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9906000" cy="798513"/>
          </a:xfrm>
          <a:prstGeom prst="rect">
            <a:avLst/>
          </a:prstGeom>
          <a:gradFill rotWithShape="1">
            <a:gsLst>
              <a:gs pos="0">
                <a:srgbClr val="006600"/>
              </a:gs>
              <a:gs pos="100000">
                <a:srgbClr val="00800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CC0000"/>
              </a:buClr>
              <a:buSzPct val="70000"/>
              <a:buFont typeface="Wingdings" panose="05000000000000000000" pitchFamily="2" charset="2"/>
              <a:buNone/>
              <a:defRPr/>
            </a:pPr>
            <a:endParaRPr lang="it-IT" altLang="it-IT" dirty="0"/>
          </a:p>
        </p:txBody>
      </p:sp>
      <p:sp>
        <p:nvSpPr>
          <p:cNvPr id="6" name="Oval 35">
            <a:extLst>
              <a:ext uri="{FF2B5EF4-FFF2-40B4-BE49-F238E27FC236}">
                <a16:creationId xmlns:a16="http://schemas.microsoft.com/office/drawing/2014/main" id="{E038B5A0-9FAA-4674-B2A1-D658740AC58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679950" y="6448425"/>
            <a:ext cx="519113" cy="3810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CC0000"/>
              </a:buClr>
              <a:buSzPct val="70000"/>
              <a:buFont typeface="Wingdings" panose="05000000000000000000" pitchFamily="2" charset="2"/>
              <a:buNone/>
              <a:defRPr/>
            </a:pPr>
            <a:endParaRPr lang="it-IT" altLang="it-IT" dirty="0"/>
          </a:p>
        </p:txBody>
      </p:sp>
      <p:pic>
        <p:nvPicPr>
          <p:cNvPr id="7" name="Picture 13" descr="Macintosh HD:Users:staff7:Desktop:PPT intercentER:OMINI.png">
            <a:extLst>
              <a:ext uri="{FF2B5EF4-FFF2-40B4-BE49-F238E27FC236}">
                <a16:creationId xmlns:a16="http://schemas.microsoft.com/office/drawing/2014/main" id="{AC8186C6-64BA-45FE-A25C-E7D3396E9FD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r:link="rId8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54" t="-10054" r="37219"/>
          <a:stretch>
            <a:fillRect/>
          </a:stretch>
        </p:blipFill>
        <p:spPr bwMode="auto">
          <a:xfrm>
            <a:off x="0" y="-428625"/>
            <a:ext cx="1087438" cy="311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Line 7">
            <a:extLst>
              <a:ext uri="{FF2B5EF4-FFF2-40B4-BE49-F238E27FC236}">
                <a16:creationId xmlns:a16="http://schemas.microsoft.com/office/drawing/2014/main" id="{4E26CD68-DA82-4F71-9993-C0889543B34E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0" y="6430963"/>
            <a:ext cx="9906000" cy="0"/>
          </a:xfrm>
          <a:prstGeom prst="line">
            <a:avLst/>
          </a:prstGeom>
          <a:noFill/>
          <a:ln w="22225">
            <a:solidFill>
              <a:srgbClr val="0066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pic>
        <p:nvPicPr>
          <p:cNvPr id="9" name="Picture 46" descr="logo intercent-er">
            <a:extLst>
              <a:ext uri="{FF2B5EF4-FFF2-40B4-BE49-F238E27FC236}">
                <a16:creationId xmlns:a16="http://schemas.microsoft.com/office/drawing/2014/main" id="{532B30DF-8613-4D72-9E13-CCAE046A851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504"/>
          <a:stretch>
            <a:fillRect/>
          </a:stretch>
        </p:blipFill>
        <p:spPr bwMode="auto">
          <a:xfrm>
            <a:off x="9267825" y="6496050"/>
            <a:ext cx="525463" cy="28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39">
            <a:extLst>
              <a:ext uri="{FF2B5EF4-FFF2-40B4-BE49-F238E27FC236}">
                <a16:creationId xmlns:a16="http://schemas.microsoft.com/office/drawing/2014/main" id="{E8ACBBA1-BF3A-40D2-88FF-BF40954C8CA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2075" y="6484938"/>
            <a:ext cx="34798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None/>
              <a:defRPr/>
            </a:pPr>
            <a:r>
              <a:rPr lang="it-IT" altLang="it-IT" b="1" dirty="0">
                <a:solidFill>
                  <a:schemeClr val="folHlink"/>
                </a:solidFill>
              </a:rPr>
              <a:t>http://intercenter.regione.emilia-romagna.it</a:t>
            </a:r>
          </a:p>
        </p:txBody>
      </p:sp>
      <p:graphicFrame>
        <p:nvGraphicFramePr>
          <p:cNvPr id="11" name="Oggetto 11" hidden="1">
            <a:extLst>
              <a:ext uri="{FF2B5EF4-FFF2-40B4-BE49-F238E27FC236}">
                <a16:creationId xmlns:a16="http://schemas.microsoft.com/office/drawing/2014/main" id="{9A1272C9-3438-4048-8F07-CCE657812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5" name="Diapositiva think-cell" r:id="rId10" imgW="38100" imgH="38100" progId="TCLayout.ActiveDocument.1">
                  <p:embed/>
                </p:oleObj>
              </mc:Choice>
              <mc:Fallback>
                <p:oleObj name="Diapositiva think-cell" r:id="rId10" imgW="38100" imgH="38100" progId="TCLayout.ActiveDocument.1">
                  <p:embed/>
                  <p:pic>
                    <p:nvPicPr>
                      <p:cNvPr id="11" name="Oggetto 11" hidden="1">
                        <a:extLst>
                          <a:ext uri="{FF2B5EF4-FFF2-40B4-BE49-F238E27FC236}">
                            <a16:creationId xmlns:a16="http://schemas.microsoft.com/office/drawing/2014/main" id="{9A1272C9-3438-4048-8F07-CCE6578129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contenuto 1"/>
          <p:cNvSpPr>
            <a:spLocks noGrp="1"/>
          </p:cNvSpPr>
          <p:nvPr>
            <p:ph/>
          </p:nvPr>
        </p:nvSpPr>
        <p:spPr>
          <a:xfrm>
            <a:off x="495300" y="274638"/>
            <a:ext cx="9075738" cy="5891212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2" name="Rectangle 20">
            <a:extLst>
              <a:ext uri="{FF2B5EF4-FFF2-40B4-BE49-F238E27FC236}">
                <a16:creationId xmlns:a16="http://schemas.microsoft.com/office/drawing/2014/main" id="{92EF97DF-36E5-43DA-AFFB-7345A998F0D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5AB327-67E8-4A03-B679-559B5E361D75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3387475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olo, test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sz="half" idx="1"/>
          </p:nvPr>
        </p:nvSpPr>
        <p:spPr>
          <a:xfrm>
            <a:off x="974725" y="1217613"/>
            <a:ext cx="4221163" cy="4948237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348288" y="1217613"/>
            <a:ext cx="4222750" cy="4948237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B5244644-1389-4CB6-9FE6-0BC7B2C2683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BE34E9-6306-46E3-9389-8F5041E986F6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40796895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Rectangle 20">
            <a:extLst>
              <a:ext uri="{FF2B5EF4-FFF2-40B4-BE49-F238E27FC236}">
                <a16:creationId xmlns:a16="http://schemas.microsoft.com/office/drawing/2014/main" id="{4A570A2B-9F41-4DE9-8426-0FA5E1731B1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C87854-204B-470A-A269-C7DF5AFAC572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17717555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Rectangle 2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7F65AF-5758-44BC-B956-7149ECB72906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942381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Rectangle 2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D162E1-198D-4837-A1A3-23B190450BD7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096538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Rectangle 20">
            <a:extLst>
              <a:ext uri="{FF2B5EF4-FFF2-40B4-BE49-F238E27FC236}">
                <a16:creationId xmlns:a16="http://schemas.microsoft.com/office/drawing/2014/main" id="{D9940B10-7B4B-4845-A19F-59DB7156BF7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3F3D67-27D9-44AF-93C3-390B7A46D57E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24013041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Rectangle 2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A3339D-BE47-464C-B3FD-2C011622CF4A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072107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Rectangle 2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1E94AD-F1A3-4F10-B7B7-0B36FBE83767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118436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742950" y="1600200"/>
            <a:ext cx="413385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13385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Rectangle 2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F02B0A-5591-4AC1-8CDE-87ECD6ABD162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440327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Rectangle 2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9F8A3C-D156-4309-9530-63621A287CC9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151745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Rectangle 2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9A98C1-6881-4B5D-BCA2-C55208E1FD42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182854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D288F4-6033-4B7B-B024-6E2C68A6B6A0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281451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Rectangle 2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7B3E99-128D-4870-9FD9-5AC47778D114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561036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Rectangle 2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E6FE15-6C77-4BA5-9119-0FF4CEB00A5A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458058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Rectangle 2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CCC56D-B352-4FBE-A4F1-EA2966260E1E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180037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7392988" y="114300"/>
            <a:ext cx="2325687" cy="5600700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12750" y="114300"/>
            <a:ext cx="6827838" cy="5600700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Rectangle 2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F5CBA0-2240-48D4-B072-574E3D9D82EB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023336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Rectangle 20">
            <a:extLst>
              <a:ext uri="{FF2B5EF4-FFF2-40B4-BE49-F238E27FC236}">
                <a16:creationId xmlns:a16="http://schemas.microsoft.com/office/drawing/2014/main" id="{2CA12228-7255-4AA0-8720-FBED6B9DB1F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4827E2-397C-4FBD-B1A3-A0C884D44B9D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41369204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12750" y="114300"/>
            <a:ext cx="9305925" cy="685800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idx="1"/>
          </p:nvPr>
        </p:nvSpPr>
        <p:spPr>
          <a:xfrm>
            <a:off x="742950" y="1600200"/>
            <a:ext cx="8420100" cy="4114800"/>
          </a:xfrm>
        </p:spPr>
        <p:txBody>
          <a:bodyPr/>
          <a:lstStyle/>
          <a:p>
            <a:pPr lvl="0"/>
            <a:endParaRPr lang="it-IT" noProof="0"/>
          </a:p>
        </p:txBody>
      </p:sp>
      <p:sp>
        <p:nvSpPr>
          <p:cNvPr id="4" name="Rectangle 2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53F2D0-E265-40E2-AA3F-DE0207415461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45491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/>
          <p:cNvSpPr>
            <a:spLocks noGrp="1"/>
          </p:cNvSpPr>
          <p:nvPr>
            <p:ph/>
          </p:nvPr>
        </p:nvSpPr>
        <p:spPr>
          <a:xfrm>
            <a:off x="495300" y="274638"/>
            <a:ext cx="9075738" cy="5891212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3" name="Rectangle 2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05CF0E-1FB4-4C85-B3CE-15488A4606E9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65797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olo, test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sz="half" idx="1"/>
          </p:nvPr>
        </p:nvSpPr>
        <p:spPr>
          <a:xfrm>
            <a:off x="974725" y="1217613"/>
            <a:ext cx="4221163" cy="4948237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348288" y="1217613"/>
            <a:ext cx="4222750" cy="4948237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Rectangle 2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6A77B3-E40D-4531-8FEB-A84FC99CC90B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827622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Rectangle 2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2C370D-916E-4F56-8F3D-B93621769D65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168705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78534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Rectangle 20">
            <a:extLst>
              <a:ext uri="{FF2B5EF4-FFF2-40B4-BE49-F238E27FC236}">
                <a16:creationId xmlns:a16="http://schemas.microsoft.com/office/drawing/2014/main" id="{1A1E2548-0564-47E3-8084-D31C2FBF1CB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D75725-469E-46C2-B19D-749070D7BCE3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32557404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Rectangle 20">
            <a:extLst>
              <a:ext uri="{FF2B5EF4-FFF2-40B4-BE49-F238E27FC236}">
                <a16:creationId xmlns:a16="http://schemas.microsoft.com/office/drawing/2014/main" id="{C8386B81-BC16-4427-9463-FBB91D6D991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EB4A1E-E139-4D88-B76E-AA593FFA079F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32837196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742950" y="1600200"/>
            <a:ext cx="413385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13385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4FAEC71B-C7FB-41D4-8700-CFE55D607C8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4BD789-E359-4362-8FE8-CD31326CC0F4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2541139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Rectangle 20">
            <a:extLst>
              <a:ext uri="{FF2B5EF4-FFF2-40B4-BE49-F238E27FC236}">
                <a16:creationId xmlns:a16="http://schemas.microsoft.com/office/drawing/2014/main" id="{F3961542-7551-4172-A2DF-5D75396A2A54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18E1B9-4C39-4CB3-A0E5-8338F6FDFDDF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10792773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Rectangle 20">
            <a:extLst>
              <a:ext uri="{FF2B5EF4-FFF2-40B4-BE49-F238E27FC236}">
                <a16:creationId xmlns:a16="http://schemas.microsoft.com/office/drawing/2014/main" id="{5FD71E09-6747-4793-9D2D-FC1655B5687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8F944D-105E-48CB-998F-D259111EC7EB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21160506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0">
            <a:extLst>
              <a:ext uri="{FF2B5EF4-FFF2-40B4-BE49-F238E27FC236}">
                <a16:creationId xmlns:a16="http://schemas.microsoft.com/office/drawing/2014/main" id="{B77C4B27-50E1-478D-A75D-53B353BB87F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D00859-9CB9-4552-AD2A-902A8CBABE3D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2253137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/Macintosh%20HD/Users/staff7/Desktop/PPT%20intercentER/OMINI.png" TargetMode="Externa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20.xml"/><Relationship Id="rId21" Type="http://schemas.openxmlformats.org/officeDocument/2006/relationships/image" Target="Macintosh%20HD:Users:staff7:Desktop:PPT%20intercentER:OMINI.png" TargetMode="Externa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image" Target="Macintosh%20HD:Users:staff7:Desktop:PPT%20intercentER:logo-white.png" TargetMode="Externa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ggetto 1" hidden="1">
            <a:extLst>
              <a:ext uri="{FF2B5EF4-FFF2-40B4-BE49-F238E27FC236}">
                <a16:creationId xmlns:a16="http://schemas.microsoft.com/office/drawing/2014/main" id="{87C5F0A9-41F5-49D5-AEBE-4B5CD61B89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8" name="Diapositiva think-cell" r:id="rId21" imgW="38100" imgH="38100" progId="TCLayout.ActiveDocument.1">
                  <p:embed/>
                </p:oleObj>
              </mc:Choice>
              <mc:Fallback>
                <p:oleObj name="Diapositiva think-cell" r:id="rId21" imgW="38100" imgH="38100" progId="TCLayout.ActiveDocument.1">
                  <p:embed/>
                  <p:pic>
                    <p:nvPicPr>
                      <p:cNvPr id="1026" name="Oggetto 1" hidden="1">
                        <a:extLst>
                          <a:ext uri="{FF2B5EF4-FFF2-40B4-BE49-F238E27FC236}">
                            <a16:creationId xmlns:a16="http://schemas.microsoft.com/office/drawing/2014/main" id="{87C5F0A9-41F5-49D5-AEBE-4B5CD61B896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>
            <a:extLst>
              <a:ext uri="{FF2B5EF4-FFF2-40B4-BE49-F238E27FC236}">
                <a16:creationId xmlns:a16="http://schemas.microsoft.com/office/drawing/2014/main" id="{7534A2AE-8FED-4E36-A92D-B25ED22C480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74725" y="1217613"/>
            <a:ext cx="8596313" cy="4948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/>
              <a:t>Fare clic per modificare gli stili del testo dello schema</a:t>
            </a:r>
          </a:p>
          <a:p>
            <a:pPr lvl="1"/>
            <a:r>
              <a:rPr lang="it-IT" altLang="it-IT"/>
              <a:t>Secondo livello</a:t>
            </a:r>
          </a:p>
        </p:txBody>
      </p:sp>
      <p:sp>
        <p:nvSpPr>
          <p:cNvPr id="2" name="Rectangle 18">
            <a:extLst>
              <a:ext uri="{FF2B5EF4-FFF2-40B4-BE49-F238E27FC236}">
                <a16:creationId xmlns:a16="http://schemas.microsoft.com/office/drawing/2014/main" id="{D426DBBA-CCE7-46CD-B17A-311C45A694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94250" y="3290888"/>
            <a:ext cx="9906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CC0000"/>
              </a:buClr>
              <a:buSzPct val="70000"/>
              <a:buFont typeface="Wingdings" panose="05000000000000000000" pitchFamily="2" charset="2"/>
              <a:buNone/>
              <a:defRPr/>
            </a:pPr>
            <a:endParaRPr lang="it-IT" altLang="it-IT" dirty="0"/>
          </a:p>
        </p:txBody>
      </p:sp>
      <p:sp>
        <p:nvSpPr>
          <p:cNvPr id="1028" name="Rectangle 8">
            <a:extLst>
              <a:ext uri="{FF2B5EF4-FFF2-40B4-BE49-F238E27FC236}">
                <a16:creationId xmlns:a16="http://schemas.microsoft.com/office/drawing/2014/main" id="{7EE7A61E-E7BB-483A-ADDE-726BD1C2DC4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9906000" cy="798513"/>
          </a:xfrm>
          <a:prstGeom prst="rect">
            <a:avLst/>
          </a:prstGeom>
          <a:gradFill rotWithShape="1">
            <a:gsLst>
              <a:gs pos="0">
                <a:srgbClr val="006600"/>
              </a:gs>
              <a:gs pos="100000">
                <a:srgbClr val="00800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CC0000"/>
              </a:buClr>
              <a:buSzPct val="70000"/>
              <a:buFont typeface="Wingdings" panose="05000000000000000000" pitchFamily="2" charset="2"/>
              <a:buNone/>
              <a:defRPr/>
            </a:pPr>
            <a:endParaRPr lang="it-IT" altLang="it-IT" dirty="0"/>
          </a:p>
        </p:txBody>
      </p:sp>
      <p:sp>
        <p:nvSpPr>
          <p:cNvPr id="1030" name="Oval 35">
            <a:extLst>
              <a:ext uri="{FF2B5EF4-FFF2-40B4-BE49-F238E27FC236}">
                <a16:creationId xmlns:a16="http://schemas.microsoft.com/office/drawing/2014/main" id="{DC70D9DB-A45B-4D1A-8BE7-27E4AB314CB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679950" y="6448425"/>
            <a:ext cx="519113" cy="3810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CC0000"/>
              </a:buClr>
              <a:buSzPct val="70000"/>
              <a:buFont typeface="Wingdings" panose="05000000000000000000" pitchFamily="2" charset="2"/>
              <a:buNone/>
              <a:defRPr/>
            </a:pPr>
            <a:endParaRPr lang="it-IT" altLang="it-IT" dirty="0"/>
          </a:p>
        </p:txBody>
      </p:sp>
      <p:sp>
        <p:nvSpPr>
          <p:cNvPr id="1044" name="Rectangle 20">
            <a:extLst>
              <a:ext uri="{FF2B5EF4-FFF2-40B4-BE49-F238E27FC236}">
                <a16:creationId xmlns:a16="http://schemas.microsoft.com/office/drawing/2014/main" id="{8F9CE123-D6B6-422F-A5A3-073EE10C431D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935413" y="6511925"/>
            <a:ext cx="2060575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buClr>
                <a:srgbClr val="CC0000"/>
              </a:buClr>
              <a:buSzPct val="70000"/>
              <a:buFont typeface="Wingdings" panose="05000000000000000000" pitchFamily="2" charset="2"/>
              <a:buNone/>
              <a:defRPr sz="1200" b="1">
                <a:solidFill>
                  <a:srgbClr val="336600"/>
                </a:solidFill>
                <a:latin typeface="Tahoma" panose="020B0604030504040204" pitchFamily="34" charset="0"/>
              </a:defRPr>
            </a:lvl1pPr>
          </a:lstStyle>
          <a:p>
            <a:pPr>
              <a:defRPr/>
            </a:pPr>
            <a:fld id="{B66197EC-64A3-4AC1-8E0D-236A4FE65C61}" type="slidenum">
              <a:rPr lang="it-IT" altLang="it-IT"/>
              <a:pPr>
                <a:defRPr/>
              </a:pPr>
              <a:t>‹#›</a:t>
            </a:fld>
            <a:endParaRPr lang="it-IT" altLang="it-IT" dirty="0"/>
          </a:p>
        </p:txBody>
      </p:sp>
      <p:pic>
        <p:nvPicPr>
          <p:cNvPr id="1032" name="Picture 13" descr="Macintosh HD:Users:staff7:Desktop:PPT intercentER:OMINI.png">
            <a:extLst>
              <a:ext uri="{FF2B5EF4-FFF2-40B4-BE49-F238E27FC236}">
                <a16:creationId xmlns:a16="http://schemas.microsoft.com/office/drawing/2014/main" id="{BDADEB1A-6086-4D2A-AB1D-04A917127B4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3" r:link="rId2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54" t="-10054" r="37219"/>
          <a:stretch>
            <a:fillRect/>
          </a:stretch>
        </p:blipFill>
        <p:spPr bwMode="auto">
          <a:xfrm>
            <a:off x="0" y="-428625"/>
            <a:ext cx="1087438" cy="311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Line 7">
            <a:extLst>
              <a:ext uri="{FF2B5EF4-FFF2-40B4-BE49-F238E27FC236}">
                <a16:creationId xmlns:a16="http://schemas.microsoft.com/office/drawing/2014/main" id="{30D12ED5-6CB1-4232-A4AB-1E6E455088DD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0" y="6430963"/>
            <a:ext cx="9906000" cy="0"/>
          </a:xfrm>
          <a:prstGeom prst="line">
            <a:avLst/>
          </a:prstGeom>
          <a:noFill/>
          <a:ln w="22225">
            <a:solidFill>
              <a:srgbClr val="0066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pic>
        <p:nvPicPr>
          <p:cNvPr id="1034" name="Picture 46" descr="logo intercent-er">
            <a:extLst>
              <a:ext uri="{FF2B5EF4-FFF2-40B4-BE49-F238E27FC236}">
                <a16:creationId xmlns:a16="http://schemas.microsoft.com/office/drawing/2014/main" id="{FF23CC86-2778-481D-A4AA-B30494D592B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504"/>
          <a:stretch>
            <a:fillRect/>
          </a:stretch>
        </p:blipFill>
        <p:spPr bwMode="auto">
          <a:xfrm>
            <a:off x="9267825" y="6496050"/>
            <a:ext cx="525463" cy="28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Box 39">
            <a:extLst>
              <a:ext uri="{FF2B5EF4-FFF2-40B4-BE49-F238E27FC236}">
                <a16:creationId xmlns:a16="http://schemas.microsoft.com/office/drawing/2014/main" id="{4B9DCDDF-3E01-44BA-9A42-B35A135DAF3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2075" y="6484938"/>
            <a:ext cx="34798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None/>
              <a:defRPr/>
            </a:pPr>
            <a:r>
              <a:rPr lang="it-IT" altLang="it-IT" b="1" dirty="0">
                <a:solidFill>
                  <a:schemeClr val="folHlink"/>
                </a:solidFill>
              </a:rPr>
              <a:t>http://intercenter.regione.emilia-romagna.it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06" r:id="rId2"/>
    <p:sldLayoutId id="2147484007" r:id="rId3"/>
    <p:sldLayoutId id="2147484008" r:id="rId4"/>
    <p:sldLayoutId id="2147484009" r:id="rId5"/>
    <p:sldLayoutId id="2147484010" r:id="rId6"/>
    <p:sldLayoutId id="2147484011" r:id="rId7"/>
    <p:sldLayoutId id="2147484012" r:id="rId8"/>
    <p:sldLayoutId id="2147484013" r:id="rId9"/>
    <p:sldLayoutId id="2147484014" r:id="rId10"/>
    <p:sldLayoutId id="2147484015" r:id="rId11"/>
    <p:sldLayoutId id="2147484016" r:id="rId12"/>
    <p:sldLayoutId id="2147484017" r:id="rId13"/>
    <p:sldLayoutId id="2147484018" r:id="rId14"/>
    <p:sldLayoutId id="2147484021" r:id="rId15"/>
    <p:sldLayoutId id="2147484019" r:id="rId16"/>
    <p:sldLayoutId id="2147484020" r:id="rId1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9pPr>
    </p:titleStyle>
    <p:bodyStyle>
      <a:lvl1pPr marL="179388" indent="-17938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>
          <a:solidFill>
            <a:schemeClr val="tx1"/>
          </a:solidFill>
          <a:latin typeface="Tahoma" pitchFamily="34" charset="0"/>
          <a:ea typeface="+mn-ea"/>
          <a:cs typeface="+mn-cs"/>
        </a:defRPr>
      </a:lvl1pPr>
      <a:lvl2pPr marL="539750" indent="-180975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SzPct val="55000"/>
        <a:buFont typeface="Wingdings" panose="05000000000000000000" pitchFamily="2" charset="2"/>
        <a:buChar char="¡"/>
        <a:defRPr>
          <a:solidFill>
            <a:schemeClr val="tx1"/>
          </a:solidFill>
          <a:latin typeface="Tahoma" pitchFamily="34" charset="0"/>
        </a:defRPr>
      </a:lvl2pPr>
      <a:lvl3pPr marL="11684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SzPct val="70000"/>
        <a:buFont typeface="Wingdings" panose="05000000000000000000" pitchFamily="2" charset="2"/>
        <a:buChar char="o"/>
        <a:defRPr sz="1600">
          <a:solidFill>
            <a:schemeClr val="tx1"/>
          </a:solidFill>
          <a:latin typeface="Trebuchet MS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SzPct val="70000"/>
        <a:buFont typeface="Wingdings" panose="05000000000000000000" pitchFamily="2" charset="2"/>
        <a:buChar char="n"/>
        <a:defRPr sz="1600">
          <a:solidFill>
            <a:schemeClr val="tx1"/>
          </a:solidFill>
          <a:latin typeface="Trebuchet MS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SzPct val="70000"/>
        <a:buFont typeface="Wingdings" panose="05000000000000000000" pitchFamily="2" charset="2"/>
        <a:buChar char="o"/>
        <a:defRPr sz="1600">
          <a:solidFill>
            <a:schemeClr val="tx1"/>
          </a:solidFill>
          <a:latin typeface="Trebuchet MS" pitchFamily="34" charset="0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SzPct val="70000"/>
        <a:buFont typeface="Wingdings" pitchFamily="2" charset="2"/>
        <a:buChar char="o"/>
        <a:defRPr sz="1600">
          <a:solidFill>
            <a:schemeClr val="tx1"/>
          </a:solidFill>
          <a:latin typeface="Trebuchet MS" pitchFamily="34" charset="0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SzPct val="70000"/>
        <a:buFont typeface="Wingdings" pitchFamily="2" charset="2"/>
        <a:buChar char="o"/>
        <a:defRPr sz="1600">
          <a:solidFill>
            <a:schemeClr val="tx1"/>
          </a:solidFill>
          <a:latin typeface="Trebuchet MS" pitchFamily="34" charset="0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SzPct val="70000"/>
        <a:buFont typeface="Wingdings" pitchFamily="2" charset="2"/>
        <a:buChar char="o"/>
        <a:defRPr sz="1600">
          <a:solidFill>
            <a:schemeClr val="tx1"/>
          </a:solidFill>
          <a:latin typeface="Trebuchet MS" pitchFamily="34" charset="0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SzPct val="70000"/>
        <a:buFont typeface="Wingdings" pitchFamily="2" charset="2"/>
        <a:buChar char="o"/>
        <a:defRPr sz="1600">
          <a:solidFill>
            <a:schemeClr val="tx1"/>
          </a:solidFill>
          <a:latin typeface="Trebuchet MS" pitchFamily="34" charset="0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4725" y="1217613"/>
            <a:ext cx="8596313" cy="4948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/>
              <a:t>Fare clic per modificare gli stili del testo dello schema</a:t>
            </a:r>
          </a:p>
          <a:p>
            <a:pPr lvl="1"/>
            <a:r>
              <a:rPr lang="it-IT" altLang="it-IT"/>
              <a:t>Secondo livello</a:t>
            </a:r>
          </a:p>
        </p:txBody>
      </p:sp>
      <p:sp>
        <p:nvSpPr>
          <p:cNvPr id="1027" name="Rectangle 18"/>
          <p:cNvSpPr>
            <a:spLocks noChangeArrowheads="1"/>
          </p:cNvSpPr>
          <p:nvPr/>
        </p:nvSpPr>
        <p:spPr bwMode="auto">
          <a:xfrm>
            <a:off x="4794250" y="3290888"/>
            <a:ext cx="9906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endParaRPr lang="it-IT" altLang="it-IT"/>
          </a:p>
        </p:txBody>
      </p:sp>
      <p:sp>
        <p:nvSpPr>
          <p:cNvPr id="1028" name="Rectangle 8"/>
          <p:cNvSpPr>
            <a:spLocks noChangeArrowheads="1"/>
          </p:cNvSpPr>
          <p:nvPr userDrawn="1"/>
        </p:nvSpPr>
        <p:spPr bwMode="auto">
          <a:xfrm>
            <a:off x="0" y="0"/>
            <a:ext cx="9906000" cy="798513"/>
          </a:xfrm>
          <a:prstGeom prst="rect">
            <a:avLst/>
          </a:prstGeom>
          <a:gradFill rotWithShape="1">
            <a:gsLst>
              <a:gs pos="0">
                <a:srgbClr val="006600"/>
              </a:gs>
              <a:gs pos="100000">
                <a:srgbClr val="00800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endParaRPr lang="it-IT" altLang="it-IT"/>
          </a:p>
        </p:txBody>
      </p:sp>
      <p:pic>
        <p:nvPicPr>
          <p:cNvPr id="1029" name="Picture 9" descr="Macintosh HD:Users:staff7:Desktop:PPT intercentER:logo-white.png"/>
          <p:cNvPicPr>
            <a:picLocks noChangeAspect="1" noChangeArrowheads="1"/>
          </p:cNvPicPr>
          <p:nvPr userDrawn="1"/>
        </p:nvPicPr>
        <p:blipFill>
          <a:blip r:embed="rId18" r:link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3200" y="6411913"/>
            <a:ext cx="8128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Oval 35"/>
          <p:cNvSpPr>
            <a:spLocks noChangeArrowheads="1"/>
          </p:cNvSpPr>
          <p:nvPr userDrawn="1"/>
        </p:nvSpPr>
        <p:spPr bwMode="auto">
          <a:xfrm>
            <a:off x="4679950" y="6448425"/>
            <a:ext cx="519113" cy="3810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endParaRPr lang="it-IT" altLang="it-IT"/>
          </a:p>
        </p:txBody>
      </p:sp>
      <p:sp>
        <p:nvSpPr>
          <p:cNvPr id="1044" name="Rectangle 2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935413" y="6511925"/>
            <a:ext cx="2060575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1">
                <a:solidFill>
                  <a:srgbClr val="336600"/>
                </a:solidFill>
                <a:latin typeface="Tahoma" pitchFamily="34" charset="0"/>
              </a:defRPr>
            </a:lvl1pPr>
          </a:lstStyle>
          <a:p>
            <a:pPr>
              <a:defRPr/>
            </a:pPr>
            <a:fld id="{6DFF56BF-1250-418C-8497-23C2633CD5AD}" type="slidenum">
              <a:rPr lang="it-IT"/>
              <a:pPr>
                <a:defRPr/>
              </a:pPr>
              <a:t>‹#›</a:t>
            </a:fld>
            <a:endParaRPr lang="it-IT"/>
          </a:p>
        </p:txBody>
      </p:sp>
      <p:pic>
        <p:nvPicPr>
          <p:cNvPr id="1033" name="Picture 13" descr="Macintosh HD:Users:staff7:Desktop:PPT intercentER:OMINI.png"/>
          <p:cNvPicPr>
            <a:picLocks noChangeAspect="1" noChangeArrowheads="1"/>
          </p:cNvPicPr>
          <p:nvPr userDrawn="1"/>
        </p:nvPicPr>
        <p:blipFill>
          <a:blip r:embed="rId20" r:link="rId21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54" t="-10054" r="37219"/>
          <a:stretch>
            <a:fillRect/>
          </a:stretch>
        </p:blipFill>
        <p:spPr bwMode="auto">
          <a:xfrm>
            <a:off x="0" y="-428625"/>
            <a:ext cx="1087438" cy="311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" name="Line 7"/>
          <p:cNvSpPr>
            <a:spLocks noChangeShapeType="1"/>
          </p:cNvSpPr>
          <p:nvPr userDrawn="1"/>
        </p:nvSpPr>
        <p:spPr bwMode="auto">
          <a:xfrm flipV="1">
            <a:off x="0" y="6430963"/>
            <a:ext cx="9906000" cy="0"/>
          </a:xfrm>
          <a:prstGeom prst="line">
            <a:avLst/>
          </a:prstGeom>
          <a:noFill/>
          <a:ln w="22225">
            <a:solidFill>
              <a:srgbClr val="0066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pic>
        <p:nvPicPr>
          <p:cNvPr id="2" name="Picture 46" descr="logo intercent-er"/>
          <p:cNvPicPr>
            <a:picLocks noChangeAspect="1" noChangeArrowheads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504"/>
          <a:stretch>
            <a:fillRect/>
          </a:stretch>
        </p:blipFill>
        <p:spPr bwMode="auto">
          <a:xfrm>
            <a:off x="9188450" y="6496050"/>
            <a:ext cx="525463" cy="28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1965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4" r:id="rId1"/>
    <p:sldLayoutId id="2147484025" r:id="rId2"/>
    <p:sldLayoutId id="2147484026" r:id="rId3"/>
    <p:sldLayoutId id="2147484027" r:id="rId4"/>
    <p:sldLayoutId id="2147484028" r:id="rId5"/>
    <p:sldLayoutId id="2147484029" r:id="rId6"/>
    <p:sldLayoutId id="2147484030" r:id="rId7"/>
    <p:sldLayoutId id="2147484031" r:id="rId8"/>
    <p:sldLayoutId id="2147484032" r:id="rId9"/>
    <p:sldLayoutId id="2147484033" r:id="rId10"/>
    <p:sldLayoutId id="2147484034" r:id="rId11"/>
    <p:sldLayoutId id="2147484035" r:id="rId12"/>
    <p:sldLayoutId id="2147484036" r:id="rId13"/>
    <p:sldLayoutId id="2147484037" r:id="rId14"/>
    <p:sldLayoutId id="2147484038" r:id="rId15"/>
    <p:sldLayoutId id="2147484039" r:id="rId16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6600"/>
          </a:solidFill>
          <a:latin typeface="Arial" charset="0"/>
        </a:defRPr>
      </a:lvl9pPr>
    </p:titleStyle>
    <p:bodyStyle>
      <a:lvl1pPr marL="179388" indent="-17938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>
          <a:solidFill>
            <a:schemeClr val="tx1"/>
          </a:solidFill>
          <a:latin typeface="Tahoma" pitchFamily="34" charset="0"/>
          <a:ea typeface="+mn-ea"/>
          <a:cs typeface="+mn-cs"/>
        </a:defRPr>
      </a:lvl1pPr>
      <a:lvl2pPr marL="539750" indent="-180975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SzPct val="55000"/>
        <a:buFont typeface="Wingdings" pitchFamily="2" charset="2"/>
        <a:buChar char="¡"/>
        <a:defRPr>
          <a:solidFill>
            <a:schemeClr val="tx1"/>
          </a:solidFill>
          <a:latin typeface="Tahoma" pitchFamily="34" charset="0"/>
        </a:defRPr>
      </a:lvl2pPr>
      <a:lvl3pPr marL="11684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SzPct val="70000"/>
        <a:buFont typeface="Wingdings" pitchFamily="2" charset="2"/>
        <a:buChar char="o"/>
        <a:defRPr sz="1600">
          <a:solidFill>
            <a:schemeClr val="tx1"/>
          </a:solidFill>
          <a:latin typeface="Trebuchet MS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SzPct val="70000"/>
        <a:buFont typeface="Wingdings" pitchFamily="2" charset="2"/>
        <a:buChar char="n"/>
        <a:defRPr sz="1600">
          <a:solidFill>
            <a:schemeClr val="tx1"/>
          </a:solidFill>
          <a:latin typeface="Trebuchet MS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SzPct val="70000"/>
        <a:buFont typeface="Wingdings" pitchFamily="2" charset="2"/>
        <a:buChar char="o"/>
        <a:defRPr sz="1600">
          <a:solidFill>
            <a:schemeClr val="tx1"/>
          </a:solidFill>
          <a:latin typeface="Trebuchet MS" pitchFamily="34" charset="0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SzPct val="70000"/>
        <a:buFont typeface="Wingdings" pitchFamily="2" charset="2"/>
        <a:buChar char="o"/>
        <a:defRPr sz="1600">
          <a:solidFill>
            <a:schemeClr val="tx1"/>
          </a:solidFill>
          <a:latin typeface="Trebuchet MS" pitchFamily="34" charset="0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SzPct val="70000"/>
        <a:buFont typeface="Wingdings" pitchFamily="2" charset="2"/>
        <a:buChar char="o"/>
        <a:defRPr sz="1600">
          <a:solidFill>
            <a:schemeClr val="tx1"/>
          </a:solidFill>
          <a:latin typeface="Trebuchet MS" pitchFamily="34" charset="0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SzPct val="70000"/>
        <a:buFont typeface="Wingdings" pitchFamily="2" charset="2"/>
        <a:buChar char="o"/>
        <a:defRPr sz="1600">
          <a:solidFill>
            <a:schemeClr val="tx1"/>
          </a:solidFill>
          <a:latin typeface="Trebuchet MS" pitchFamily="34" charset="0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SzPct val="70000"/>
        <a:buFont typeface="Wingdings" pitchFamily="2" charset="2"/>
        <a:buChar char="o"/>
        <a:defRPr sz="1600">
          <a:solidFill>
            <a:schemeClr val="tx1"/>
          </a:solidFill>
          <a:latin typeface="Trebuchet MS" pitchFamily="34" charset="0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6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7897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/Macintosh%20HD/Users/staff7/Desktop/PPT%20intercentER/OMINI.png" TargetMode="Externa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notier.regione.emilia-romagna.it/docs/profiles/3-order-only/BIS_OrderOnly.htm#truecodice-identificativo-di-gara-cig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7.png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intercenter.regione.emilia-romagna.it/agenzia/utilizzo-del-sistema/guide/guide_operatori_economici" TargetMode="Externa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notier.regione.emilia-romagna.it/docs/" TargetMode="Externa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hyperlink" Target="mailto:Support.Notier@regione.emilia-romagna.it" TargetMode="External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.xml"/><Relationship Id="rId4" Type="http://schemas.microsoft.com/office/2007/relationships/hdphoto" Target="../media/hdphoto1.wdp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9.png"/><Relationship Id="rId4" Type="http://schemas.openxmlformats.org/officeDocument/2006/relationships/hyperlink" Target="https://notier.regione.emilia-romagna.it/notier/pub/countDocumenti.html" TargetMode="Externa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1.pn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hyperlink" Target="mailto:Support.Notier@regione.emilia-romagna.it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hyperlink" Target="mailto:NodoIntercenter@regione.emilia-romagna.it" TargetMode="External"/><Relationship Id="rId5" Type="http://schemas.openxmlformats.org/officeDocument/2006/relationships/image" Target="../media/image6.jpeg"/><Relationship Id="rId4" Type="http://schemas.openxmlformats.org/officeDocument/2006/relationships/image" Target="/Macintosh%20HD/Users/staff7/Desktop/PPT%20intercentER/OMINI.png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>
            <a:extLst>
              <a:ext uri="{FF2B5EF4-FFF2-40B4-BE49-F238E27FC236}">
                <a16:creationId xmlns:a16="http://schemas.microsoft.com/office/drawing/2014/main" id="{F637BD02-07C9-4D7B-8E71-428A7B5E54BC}"/>
              </a:ext>
            </a:extLst>
          </p:cNvPr>
          <p:cNvSpPr>
            <a:spLocks noChangeArrowheads="1"/>
          </p:cNvSpPr>
          <p:nvPr/>
        </p:nvSpPr>
        <p:spPr bwMode="auto">
          <a:xfrm rot="-5400000">
            <a:off x="-3268662" y="3268662"/>
            <a:ext cx="6858000" cy="320675"/>
          </a:xfrm>
          <a:prstGeom prst="rect">
            <a:avLst/>
          </a:prstGeom>
          <a:gradFill rotWithShape="1">
            <a:gsLst>
              <a:gs pos="0">
                <a:srgbClr val="006600"/>
              </a:gs>
              <a:gs pos="100000">
                <a:srgbClr val="00800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anchor="ctr"/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buSzPct val="70000"/>
              <a:buFont typeface="Wingdings" panose="05000000000000000000" pitchFamily="2" charset="2"/>
              <a:buNone/>
            </a:pPr>
            <a:endParaRPr lang="it-IT" altLang="it-IT">
              <a:latin typeface="Arial" panose="020B0604020202020204" pitchFamily="34" charset="0"/>
            </a:endParaRPr>
          </a:p>
        </p:txBody>
      </p:sp>
      <p:pic>
        <p:nvPicPr>
          <p:cNvPr id="4099" name="Picture 13" descr="Macintosh HD:Users:staff7:Desktop:PPT intercentER:OMINI.png">
            <a:extLst>
              <a:ext uri="{FF2B5EF4-FFF2-40B4-BE49-F238E27FC236}">
                <a16:creationId xmlns:a16="http://schemas.microsoft.com/office/drawing/2014/main" id="{611FFC48-9E6B-4082-AE91-8512E5D408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r:link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54" t="-10054" r="37219"/>
          <a:stretch>
            <a:fillRect/>
          </a:stretch>
        </p:blipFill>
        <p:spPr bwMode="auto">
          <a:xfrm>
            <a:off x="0" y="1670050"/>
            <a:ext cx="1949450" cy="5430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10" descr="Logo Intercent-ER_RGB">
            <a:extLst>
              <a:ext uri="{FF2B5EF4-FFF2-40B4-BE49-F238E27FC236}">
                <a16:creationId xmlns:a16="http://schemas.microsoft.com/office/drawing/2014/main" id="{1531D8D7-58B5-4B3D-B9D6-0FD405CDB3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4" t="9985"/>
          <a:stretch>
            <a:fillRect/>
          </a:stretch>
        </p:blipFill>
        <p:spPr bwMode="auto">
          <a:xfrm>
            <a:off x="6878638" y="477838"/>
            <a:ext cx="2541587" cy="957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1" name="Text Box 11">
            <a:extLst>
              <a:ext uri="{FF2B5EF4-FFF2-40B4-BE49-F238E27FC236}">
                <a16:creationId xmlns:a16="http://schemas.microsoft.com/office/drawing/2014/main" id="{470D016A-DF58-409F-A35D-2BAE6BAC3B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23889" y="4259398"/>
            <a:ext cx="8196336" cy="1938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it-IT" altLang="it-IT" sz="2000" b="1" dirty="0">
                <a:solidFill>
                  <a:srgbClr val="006600"/>
                </a:solidFill>
                <a:latin typeface="Calibri" panose="020F0502020204030204" pitchFamily="34" charset="0"/>
              </a:rPr>
              <a:t> </a:t>
            </a:r>
            <a:endParaRPr lang="it-IT" altLang="it-IT" sz="3600" b="1" dirty="0">
              <a:solidFill>
                <a:srgbClr val="006600"/>
              </a:solidFill>
              <a:latin typeface="Bebas Neue" pitchFamily="34" charset="0"/>
            </a:endParaRPr>
          </a:p>
          <a:p>
            <a:pPr algn="r">
              <a:spcBef>
                <a:spcPct val="0"/>
              </a:spcBef>
              <a:buClrTx/>
              <a:buFontTx/>
              <a:buNone/>
            </a:pPr>
            <a:endParaRPr lang="it-IT" altLang="it-IT" sz="3600" b="1" dirty="0">
              <a:solidFill>
                <a:srgbClr val="006600"/>
              </a:solidFill>
              <a:latin typeface="Bebas Neue" pitchFamily="34" charset="0"/>
            </a:endParaRPr>
          </a:p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it-IT" altLang="it-IT" sz="2000" b="1" dirty="0">
                <a:solidFill>
                  <a:srgbClr val="006600"/>
                </a:solidFill>
                <a:latin typeface="Bebas Neue" pitchFamily="34" charset="0"/>
              </a:rPr>
              <a:t>Agenzia Intercent-ER</a:t>
            </a:r>
          </a:p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it-IT" altLang="it-IT" sz="1600" b="1" i="1" dirty="0">
                <a:solidFill>
                  <a:schemeClr val="accent2"/>
                </a:solidFill>
                <a:latin typeface="Calibri" panose="020F0502020204030204" pitchFamily="34" charset="0"/>
              </a:rPr>
              <a:t>Servizio ICT</a:t>
            </a:r>
          </a:p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it-IT" altLang="it-IT" sz="2800" b="1" i="1" dirty="0">
                <a:solidFill>
                  <a:schemeClr val="accent2"/>
                </a:solidFill>
                <a:latin typeface="Calibri" panose="020F0502020204030204" pitchFamily="34" charset="0"/>
              </a:rPr>
              <a:t>Bologna, </a:t>
            </a:r>
            <a:r>
              <a:rPr lang="it-IT" altLang="it-IT" sz="2800" b="1" i="1" dirty="0" smtClean="0">
                <a:solidFill>
                  <a:schemeClr val="accent2"/>
                </a:solidFill>
                <a:latin typeface="Calibri" panose="020F0502020204030204" pitchFamily="34" charset="0"/>
              </a:rPr>
              <a:t>24 Maggio 2019</a:t>
            </a:r>
            <a:endParaRPr lang="it-IT" altLang="it-IT" sz="2800" b="1" i="1" dirty="0">
              <a:solidFill>
                <a:schemeClr val="accent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 Box 11">
            <a:extLst>
              <a:ext uri="{FF2B5EF4-FFF2-40B4-BE49-F238E27FC236}">
                <a16:creationId xmlns:a16="http://schemas.microsoft.com/office/drawing/2014/main" id="{D6143EDE-DD84-471B-8F40-158CC14C61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49450" y="2508250"/>
            <a:ext cx="7508876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spcAft>
                <a:spcPts val="1200"/>
              </a:spcAft>
              <a:buClr>
                <a:srgbClr val="CC0000"/>
              </a:buClr>
              <a:buSzPct val="70000"/>
            </a:pPr>
            <a:r>
              <a:rPr lang="it-IT" sz="3200" b="1" dirty="0">
                <a:solidFill>
                  <a:srgbClr val="007E00"/>
                </a:solidFill>
              </a:rPr>
              <a:t>Incontro di monitoraggio progetto dematerializzazione del ciclo acquisti</a:t>
            </a:r>
          </a:p>
          <a:p>
            <a:pPr algn="r">
              <a:spcAft>
                <a:spcPts val="1200"/>
              </a:spcAft>
              <a:buClr>
                <a:srgbClr val="CC0000"/>
              </a:buClr>
              <a:buSzPct val="70000"/>
            </a:pPr>
            <a:endParaRPr lang="it-IT" sz="3200" b="1" dirty="0">
              <a:solidFill>
                <a:srgbClr val="007E00"/>
              </a:solidFill>
            </a:endParaRPr>
          </a:p>
        </p:txBody>
      </p:sp>
      <p:sp>
        <p:nvSpPr>
          <p:cNvPr id="2" name="AutoShape 2" descr="PEPPOL Access point">
            <a:extLst>
              <a:ext uri="{FF2B5EF4-FFF2-40B4-BE49-F238E27FC236}">
                <a16:creationId xmlns:a16="http://schemas.microsoft.com/office/drawing/2014/main" id="{AEA32938-77C8-4C91-AB2F-9DA4DA1B753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631546" y="620714"/>
            <a:ext cx="417930" cy="417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43012" name="Picture 4" descr="PEPPOL Access point">
            <a:extLst>
              <a:ext uri="{FF2B5EF4-FFF2-40B4-BE49-F238E27FC236}">
                <a16:creationId xmlns:a16="http://schemas.microsoft.com/office/drawing/2014/main" id="{6BDB78B5-BC1A-4E2F-B159-6F21F0F39C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8120" y="477838"/>
            <a:ext cx="2429217" cy="809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angle 4"/>
          <p:cNvSpPr>
            <a:spLocks noChangeArrowheads="1"/>
          </p:cNvSpPr>
          <p:nvPr/>
        </p:nvSpPr>
        <p:spPr bwMode="auto">
          <a:xfrm>
            <a:off x="1047750" y="222250"/>
            <a:ext cx="8513763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eaLnBrk="0" hangingPunct="0">
              <a:buClr>
                <a:srgbClr val="CC0000"/>
              </a:buClr>
              <a:buSzPct val="70000"/>
              <a:buFont typeface="Wingdings" pitchFamily="2" charset="2"/>
              <a:buNone/>
            </a:pPr>
            <a:r>
              <a:rPr lang="it-IT" sz="2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l Nodo Smistamento Ordini </a:t>
            </a:r>
            <a:r>
              <a:rPr lang="it-IT" sz="28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it-IT" sz="2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it-IT" sz="28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3)</a:t>
            </a:r>
            <a:endParaRPr lang="it-IT" sz="1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8" name="Segnaposto numero diapositiva 2"/>
          <p:cNvSpPr txBox="1">
            <a:spLocks noGrp="1"/>
          </p:cNvSpPr>
          <p:nvPr/>
        </p:nvSpPr>
        <p:spPr bwMode="auto">
          <a:xfrm>
            <a:off x="3946299" y="6507163"/>
            <a:ext cx="2060575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buClr>
                <a:srgbClr val="CC0000"/>
              </a:buClr>
              <a:buSzPct val="70000"/>
              <a:buFont typeface="Wingdings" pitchFamily="2" charset="2"/>
              <a:buNone/>
            </a:pPr>
            <a:r>
              <a:rPr lang="it-IT" altLang="it-IT" sz="1200" b="1" dirty="0" smtClean="0">
                <a:solidFill>
                  <a:srgbClr val="336600"/>
                </a:solidFill>
                <a:latin typeface="Tahoma" pitchFamily="34" charset="0"/>
              </a:rPr>
              <a:t>10</a:t>
            </a:r>
            <a:endParaRPr lang="it-IT" altLang="it-IT" sz="1200" b="1" dirty="0">
              <a:solidFill>
                <a:srgbClr val="336600"/>
              </a:solidFill>
              <a:latin typeface="Tahoma" pitchFamily="34" charset="0"/>
            </a:endParaRPr>
          </a:p>
        </p:txBody>
      </p:sp>
      <p:cxnSp>
        <p:nvCxnSpPr>
          <p:cNvPr id="69" name="Straight Connector 68"/>
          <p:cNvCxnSpPr/>
          <p:nvPr/>
        </p:nvCxnSpPr>
        <p:spPr>
          <a:xfrm>
            <a:off x="1140089" y="3939450"/>
            <a:ext cx="8424000" cy="23432"/>
          </a:xfrm>
          <a:prstGeom prst="line">
            <a:avLst/>
          </a:prstGeom>
          <a:ln w="19050">
            <a:solidFill>
              <a:srgbClr val="A1A1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Oval 70"/>
          <p:cNvSpPr/>
          <p:nvPr/>
        </p:nvSpPr>
        <p:spPr bwMode="gray">
          <a:xfrm>
            <a:off x="1364387" y="3883049"/>
            <a:ext cx="144000" cy="144000"/>
          </a:xfrm>
          <a:prstGeom prst="ellipse">
            <a:avLst/>
          </a:prstGeom>
          <a:solidFill>
            <a:srgbClr val="01216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900" b="1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75" name="Straight Connector 74"/>
          <p:cNvCxnSpPr>
            <a:stCxn id="71" idx="0"/>
          </p:cNvCxnSpPr>
          <p:nvPr/>
        </p:nvCxnSpPr>
        <p:spPr>
          <a:xfrm flipH="1" flipV="1">
            <a:off x="1419265" y="2479577"/>
            <a:ext cx="17122" cy="1403472"/>
          </a:xfrm>
          <a:prstGeom prst="line">
            <a:avLst/>
          </a:prstGeom>
          <a:ln w="19050">
            <a:solidFill>
              <a:srgbClr val="0121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Oval 77"/>
          <p:cNvSpPr/>
          <p:nvPr/>
        </p:nvSpPr>
        <p:spPr bwMode="gray">
          <a:xfrm>
            <a:off x="6710733" y="3738550"/>
            <a:ext cx="408935" cy="420273"/>
          </a:xfrm>
          <a:prstGeom prst="ellipse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800" b="1" dirty="0" smtClean="0">
              <a:solidFill>
                <a:srgbClr val="2F559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1475078" y="2457207"/>
            <a:ext cx="172243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800" b="1" dirty="0" err="1" smtClean="0">
                <a:solidFill>
                  <a:srgbClr val="01216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visione</a:t>
            </a:r>
            <a:r>
              <a:rPr lang="en-GB" sz="1800" b="1" dirty="0" smtClean="0">
                <a:solidFill>
                  <a:srgbClr val="01216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b="1" dirty="0" err="1" smtClean="0">
                <a:solidFill>
                  <a:srgbClr val="01216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cumentazione</a:t>
            </a:r>
            <a:endParaRPr lang="en-GB" sz="1800" b="1" dirty="0" smtClean="0">
              <a:solidFill>
                <a:srgbClr val="01216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Oval 79"/>
          <p:cNvSpPr/>
          <p:nvPr/>
        </p:nvSpPr>
        <p:spPr bwMode="gray">
          <a:xfrm>
            <a:off x="4404844" y="3892285"/>
            <a:ext cx="144000" cy="144000"/>
          </a:xfrm>
          <a:prstGeom prst="ellipse">
            <a:avLst/>
          </a:prstGeom>
          <a:solidFill>
            <a:srgbClr val="00A3E0"/>
          </a:solidFill>
          <a:ln w="19050" algn="ctr">
            <a:solidFill>
              <a:srgbClr val="00A3E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800" b="1" dirty="0" smtClean="0">
              <a:solidFill>
                <a:srgbClr val="DE6A1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1" name="Straight Connector 80"/>
          <p:cNvCxnSpPr>
            <a:stCxn id="80" idx="0"/>
          </p:cNvCxnSpPr>
          <p:nvPr/>
        </p:nvCxnSpPr>
        <p:spPr>
          <a:xfrm flipH="1" flipV="1">
            <a:off x="4459724" y="2488813"/>
            <a:ext cx="17120" cy="1403472"/>
          </a:xfrm>
          <a:prstGeom prst="line">
            <a:avLst/>
          </a:prstGeom>
          <a:ln w="19050">
            <a:solidFill>
              <a:srgbClr val="00A3E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/>
          <p:cNvSpPr txBox="1"/>
          <p:nvPr/>
        </p:nvSpPr>
        <p:spPr>
          <a:xfrm>
            <a:off x="4503375" y="2457207"/>
            <a:ext cx="1200979" cy="63094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1600" b="1" dirty="0" smtClean="0">
                <a:solidFill>
                  <a:srgbClr val="00A3E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5</a:t>
            </a:r>
            <a:r>
              <a:rPr lang="en-GB" sz="1800" b="1" dirty="0" smtClean="0">
                <a:solidFill>
                  <a:srgbClr val="00A3E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>
              <a:spcBef>
                <a:spcPts val="600"/>
              </a:spcBef>
              <a:buSzPct val="100000"/>
            </a:pPr>
            <a:r>
              <a:rPr lang="en-GB" sz="1800" b="1" dirty="0" err="1" smtClean="0">
                <a:solidFill>
                  <a:srgbClr val="00A3E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dine</a:t>
            </a:r>
            <a:endParaRPr lang="en-GB" sz="1800" b="1" dirty="0">
              <a:solidFill>
                <a:srgbClr val="00A3E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9" name="Oval 118"/>
          <p:cNvSpPr/>
          <p:nvPr/>
        </p:nvSpPr>
        <p:spPr bwMode="gray">
          <a:xfrm>
            <a:off x="8002475" y="3897158"/>
            <a:ext cx="144000" cy="144000"/>
          </a:xfrm>
          <a:prstGeom prst="ellipse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800" b="1" dirty="0" smtClean="0">
              <a:solidFill>
                <a:srgbClr val="2F559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20" name="Straight Connector 119"/>
          <p:cNvCxnSpPr/>
          <p:nvPr/>
        </p:nvCxnSpPr>
        <p:spPr>
          <a:xfrm flipH="1" flipV="1">
            <a:off x="8068882" y="2521400"/>
            <a:ext cx="0" cy="1404252"/>
          </a:xfrm>
          <a:prstGeom prst="line">
            <a:avLst/>
          </a:prstGeom>
          <a:ln w="19050">
            <a:solidFill>
              <a:srgbClr val="86BC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/>
        </p:nvSpPr>
        <p:spPr>
          <a:xfrm>
            <a:off x="8118393" y="2452076"/>
            <a:ext cx="1199691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1600" b="1" dirty="0" smtClean="0">
                <a:solidFill>
                  <a:srgbClr val="86BC2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</a:t>
            </a:r>
            <a:endParaRPr lang="en-GB" sz="1800" b="1" dirty="0" smtClean="0">
              <a:solidFill>
                <a:srgbClr val="86BC2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GB" sz="1800" b="1" dirty="0" err="1" smtClean="0">
                <a:solidFill>
                  <a:srgbClr val="86BC2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dine</a:t>
            </a:r>
            <a:endParaRPr lang="en-GB" sz="1800" b="1" dirty="0" smtClean="0">
              <a:solidFill>
                <a:srgbClr val="86BC2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GB" sz="1800" b="1" dirty="0" smtClean="0">
                <a:solidFill>
                  <a:srgbClr val="86BC2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-</a:t>
            </a:r>
            <a:r>
              <a:rPr lang="en-GB" sz="1800" b="1" dirty="0" err="1" smtClean="0">
                <a:solidFill>
                  <a:srgbClr val="86BC2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cordato</a:t>
            </a:r>
            <a:endParaRPr lang="en-GB" sz="1800" b="1" dirty="0" smtClean="0">
              <a:solidFill>
                <a:srgbClr val="86BC2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3" name="Oval 122"/>
          <p:cNvSpPr/>
          <p:nvPr/>
        </p:nvSpPr>
        <p:spPr bwMode="gray">
          <a:xfrm>
            <a:off x="5695118" y="3897158"/>
            <a:ext cx="144000" cy="144000"/>
          </a:xfrm>
          <a:prstGeom prst="ellipse">
            <a:avLst/>
          </a:prstGeom>
          <a:solidFill>
            <a:srgbClr val="00A3E0"/>
          </a:solidFill>
          <a:ln w="19050" algn="ctr">
            <a:solidFill>
              <a:srgbClr val="00A3E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800" b="1" dirty="0" smtClean="0">
              <a:solidFill>
                <a:srgbClr val="DE6A1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5814962" y="4120914"/>
            <a:ext cx="957313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1600" b="1" dirty="0" smtClean="0">
                <a:solidFill>
                  <a:srgbClr val="00A3E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</a:t>
            </a:r>
          </a:p>
          <a:p>
            <a:r>
              <a:rPr lang="en-GB" sz="1800" b="1" dirty="0" err="1" smtClean="0">
                <a:solidFill>
                  <a:srgbClr val="00A3E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dine</a:t>
            </a:r>
            <a:r>
              <a:rPr lang="en-GB" sz="1800" b="1" dirty="0" smtClean="0">
                <a:solidFill>
                  <a:srgbClr val="00A3E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n</a:t>
            </a:r>
          </a:p>
          <a:p>
            <a:r>
              <a:rPr lang="en-GB" sz="1800" b="1" dirty="0" err="1" smtClean="0">
                <a:solidFill>
                  <a:srgbClr val="00A3E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sposta</a:t>
            </a:r>
            <a:endParaRPr lang="en-GB" sz="1800" b="1" dirty="0">
              <a:solidFill>
                <a:srgbClr val="00A3E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7" name="TextBox 126"/>
          <p:cNvSpPr txBox="1"/>
          <p:nvPr/>
        </p:nvSpPr>
        <p:spPr>
          <a:xfrm rot="16200000">
            <a:off x="6539579" y="4433707"/>
            <a:ext cx="7512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</a:pPr>
            <a:r>
              <a:rPr lang="en-GB" sz="1800" b="1" dirty="0" err="1" smtClean="0">
                <a:solidFill>
                  <a:srgbClr val="86BC2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ugno</a:t>
            </a:r>
            <a:endParaRPr lang="en-GB" sz="1800" dirty="0">
              <a:solidFill>
                <a:srgbClr val="86BC2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8" name="Oval 127"/>
          <p:cNvSpPr/>
          <p:nvPr/>
        </p:nvSpPr>
        <p:spPr bwMode="gray">
          <a:xfrm>
            <a:off x="2970547" y="3729269"/>
            <a:ext cx="432000" cy="432000"/>
          </a:xfrm>
          <a:prstGeom prst="ellipse">
            <a:avLst/>
          </a:prstGeom>
          <a:solidFill>
            <a:srgbClr val="00A3E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800" b="1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0" name="TextBox 129"/>
          <p:cNvSpPr txBox="1"/>
          <p:nvPr/>
        </p:nvSpPr>
        <p:spPr>
          <a:xfrm rot="16200000">
            <a:off x="2786359" y="4527246"/>
            <a:ext cx="78525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</a:pPr>
            <a:r>
              <a:rPr lang="en-GB" sz="1800" b="1" dirty="0" smtClean="0">
                <a:solidFill>
                  <a:srgbClr val="00A3E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ggio</a:t>
            </a:r>
            <a:endParaRPr lang="en-GB" sz="1800" dirty="0">
              <a:solidFill>
                <a:srgbClr val="00A3E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31" name="Straight Connector 130"/>
          <p:cNvCxnSpPr/>
          <p:nvPr/>
        </p:nvCxnSpPr>
        <p:spPr>
          <a:xfrm flipV="1">
            <a:off x="5763307" y="3986537"/>
            <a:ext cx="0" cy="1081077"/>
          </a:xfrm>
          <a:prstGeom prst="line">
            <a:avLst/>
          </a:prstGeom>
          <a:ln w="19050">
            <a:solidFill>
              <a:srgbClr val="00A3E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78679" y="4972147"/>
            <a:ext cx="1640489" cy="906175"/>
          </a:xfrm>
          <a:prstGeom prst="rect">
            <a:avLst/>
          </a:prstGeom>
        </p:spPr>
      </p:pic>
      <p:sp>
        <p:nvSpPr>
          <p:cNvPr id="150" name="Rectangle 149"/>
          <p:cNvSpPr/>
          <p:nvPr/>
        </p:nvSpPr>
        <p:spPr>
          <a:xfrm>
            <a:off x="1167827" y="1145844"/>
            <a:ext cx="83936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La </a:t>
            </a:r>
            <a:r>
              <a:rPr lang="it-IT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r</a:t>
            </a:r>
            <a:r>
              <a:rPr lang="it-IT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oadmap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del Ministero dell’Economia e delle Finanze per la 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pubblicazione delle regole tecniche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riferite all’emissione e trasmissione degli ordini elettronici.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Oval 22"/>
          <p:cNvSpPr/>
          <p:nvPr/>
        </p:nvSpPr>
        <p:spPr bwMode="gray">
          <a:xfrm>
            <a:off x="6706538" y="3731759"/>
            <a:ext cx="408935" cy="420273"/>
          </a:xfrm>
          <a:prstGeom prst="ellipse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800" b="1" dirty="0" smtClean="0">
              <a:solidFill>
                <a:srgbClr val="2F559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Oval 23"/>
          <p:cNvSpPr/>
          <p:nvPr/>
        </p:nvSpPr>
        <p:spPr bwMode="gray">
          <a:xfrm>
            <a:off x="2962988" y="3720032"/>
            <a:ext cx="432000" cy="432000"/>
          </a:xfrm>
          <a:prstGeom prst="ellipse">
            <a:avLst/>
          </a:prstGeom>
          <a:solidFill>
            <a:srgbClr val="00A3E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800" b="1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0963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11</a:t>
            </a:fld>
            <a:endParaRPr lang="it-IT" altLang="it-IT" dirty="0"/>
          </a:p>
        </p:txBody>
      </p:sp>
      <p:sp>
        <p:nvSpPr>
          <p:cNvPr id="5" name="CustomShape 3">
            <a:extLst>
              <a:ext uri="{FF2B5EF4-FFF2-40B4-BE49-F238E27FC236}">
                <a16:creationId xmlns:a16="http://schemas.microsoft.com/office/drawing/2014/main" id="{4BC9C766-0171-4316-9FE5-1742D5543257}"/>
              </a:ext>
            </a:extLst>
          </p:cNvPr>
          <p:cNvSpPr/>
          <p:nvPr/>
        </p:nvSpPr>
        <p:spPr>
          <a:xfrm>
            <a:off x="1047600" y="222120"/>
            <a:ext cx="8665560" cy="516600"/>
          </a:xfrm>
          <a:prstGeom prst="rect">
            <a:avLst/>
          </a:prstGeom>
          <a:noFill/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r">
              <a:lnSpc>
                <a:spcPct val="100000"/>
              </a:lnSpc>
            </a:pPr>
            <a:r>
              <a:rPr lang="it-IT" sz="2800" b="1" strike="noStrike" spc="-1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Modifiche </a:t>
            </a:r>
            <a:r>
              <a:rPr lang="it-IT" sz="2800" b="1" spc="-1" dirty="0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regole tecniche</a:t>
            </a:r>
            <a:r>
              <a:rPr lang="it-IT" sz="2800" b="1" strike="noStrike" spc="-1" dirty="0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 NSO (</a:t>
            </a:r>
            <a:r>
              <a:rPr lang="it-IT" sz="2800" b="1" strike="noStrike" spc="-1" dirty="0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1/4)</a:t>
            </a:r>
            <a:endParaRPr lang="it-IT" sz="1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167827" y="1145844"/>
            <a:ext cx="83936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In riferimento al documento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del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MEF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sul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Nodo di smistamento degli ordini di acquisto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 delle amministrazioni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pubbliche si evidenziano le seguenti modifiche: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895600" y="1836815"/>
            <a:ext cx="6665913" cy="1081842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ysDash"/>
            <a:miter lim="800000"/>
          </a:ln>
          <a:effectLst/>
        </p:spPr>
        <p:txBody>
          <a:bodyPr lIns="91413" tIns="36000" rIns="91413" bIns="35990" anchor="ctr"/>
          <a:lstStyle/>
          <a:p>
            <a:pPr marR="0" lvl="0" algn="just" defTabSz="7997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L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’ordine si identifica univocamente tramite i seguenti campi: </a:t>
            </a:r>
          </a:p>
          <a:p>
            <a:pPr marL="800100" lvl="1" indent="-342900" algn="just" defTabSz="7997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Numero ordine «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ID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»;</a:t>
            </a:r>
          </a:p>
          <a:p>
            <a:pPr marL="800100" lvl="1" indent="-342900" algn="just" defTabSz="7997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Data ordine «</a:t>
            </a:r>
            <a:r>
              <a:rPr lang="it-IT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IssueDate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»;</a:t>
            </a:r>
          </a:p>
          <a:p>
            <a:pPr marL="800100" lvl="1" indent="-342900" algn="just" defTabSz="7997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Identificativo dell’Acquirente «</a:t>
            </a:r>
            <a:r>
              <a:rPr lang="it-IT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EndpointID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».</a:t>
            </a:r>
            <a:endParaRPr lang="it-IT" sz="1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173164" y="1836815"/>
            <a:ext cx="1617661" cy="1081842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dentificazione dell’ordine</a:t>
            </a:r>
            <a:endParaRPr kumimoji="0" lang="it-IT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10281" y="3163959"/>
            <a:ext cx="6939748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defTabSz="7997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800" b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ESEMPIO XML</a:t>
            </a:r>
          </a:p>
          <a:p>
            <a:pPr lvl="1" defTabSz="7997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8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algn="just" defTabSz="7997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b="1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it-IT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</a:t>
            </a:r>
            <a:r>
              <a:rPr lang="it-IT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	…</a:t>
            </a:r>
            <a:endParaRPr lang="it-IT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algn="just" defTabSz="7997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&lt;</a:t>
            </a:r>
            <a:r>
              <a:rPr lang="it-IT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bc:ID</a:t>
            </a:r>
            <a:r>
              <a:rPr lang="it-IT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r>
              <a:rPr lang="it-IT" sz="1200" dirty="0">
                <a:latin typeface="Calibri" panose="020F0502020204030204" pitchFamily="34" charset="0"/>
                <a:cs typeface="Calibri" panose="020F0502020204030204" pitchFamily="34" charset="0"/>
              </a:rPr>
              <a:t>2018/10021125</a:t>
            </a:r>
            <a:r>
              <a:rPr lang="it-IT" sz="1200" b="1" dirty="0">
                <a:latin typeface="Calibri" panose="020F0502020204030204" pitchFamily="34" charset="0"/>
                <a:cs typeface="Calibri" panose="020F0502020204030204" pitchFamily="34" charset="0"/>
              </a:rPr>
              <a:t>&lt;/</a:t>
            </a:r>
            <a:r>
              <a:rPr lang="it-IT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bc:ID</a:t>
            </a:r>
            <a:r>
              <a:rPr lang="it-IT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pPr lvl="1" algn="just" defTabSz="7997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&lt;</a:t>
            </a:r>
            <a:r>
              <a:rPr lang="it-IT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bc:IssueDate</a:t>
            </a:r>
            <a:r>
              <a:rPr lang="it-IT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r>
              <a:rPr lang="it-IT" sz="1200" dirty="0">
                <a:latin typeface="Calibri" panose="020F0502020204030204" pitchFamily="34" charset="0"/>
                <a:cs typeface="Calibri" panose="020F0502020204030204" pitchFamily="34" charset="0"/>
              </a:rPr>
              <a:t>2018-10-07</a:t>
            </a:r>
            <a:r>
              <a:rPr lang="it-IT" sz="1200" b="1" dirty="0">
                <a:latin typeface="Calibri" panose="020F0502020204030204" pitchFamily="34" charset="0"/>
                <a:cs typeface="Calibri" panose="020F0502020204030204" pitchFamily="34" charset="0"/>
              </a:rPr>
              <a:t>&lt;/</a:t>
            </a:r>
            <a:r>
              <a:rPr lang="it-IT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bc:IssueDate</a:t>
            </a:r>
            <a:r>
              <a:rPr lang="it-IT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pPr lvl="1" algn="just" defTabSz="7997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200" b="1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it-IT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	…</a:t>
            </a:r>
            <a:endParaRPr lang="it-IT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algn="just" defTabSz="7997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&lt;</a:t>
            </a:r>
            <a:r>
              <a:rPr lang="it-IT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ac:BuyerCustomerParty</a:t>
            </a:r>
            <a:r>
              <a:rPr lang="it-IT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pPr lvl="1" algn="just" defTabSz="7997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200" b="1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it-IT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&lt;</a:t>
            </a:r>
            <a:r>
              <a:rPr lang="it-IT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ac:Party</a:t>
            </a:r>
            <a:r>
              <a:rPr lang="it-IT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pPr lvl="1" algn="just" defTabSz="7997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200" b="1" dirty="0">
                <a:latin typeface="Calibri" panose="020F0502020204030204" pitchFamily="34" charset="0"/>
                <a:cs typeface="Calibri" panose="020F0502020204030204" pitchFamily="34" charset="0"/>
              </a:rPr>
              <a:t>         </a:t>
            </a:r>
            <a:r>
              <a:rPr lang="it-IT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	&lt;</a:t>
            </a:r>
            <a:r>
              <a:rPr lang="it-IT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bc:EndpointID</a:t>
            </a:r>
            <a:r>
              <a:rPr lang="it-IT" sz="12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schemeID</a:t>
            </a:r>
            <a:r>
              <a:rPr lang="it-IT" sz="1200" b="1" dirty="0">
                <a:latin typeface="Calibri" panose="020F0502020204030204" pitchFamily="34" charset="0"/>
                <a:cs typeface="Calibri" panose="020F0502020204030204" pitchFamily="34" charset="0"/>
              </a:rPr>
              <a:t>="9921</a:t>
            </a:r>
            <a:r>
              <a:rPr lang="it-IT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"&gt;</a:t>
            </a:r>
            <a:r>
              <a:rPr lang="it-IT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UFLCTZ</a:t>
            </a:r>
            <a:r>
              <a:rPr lang="it-IT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&lt;/</a:t>
            </a:r>
            <a:r>
              <a:rPr lang="it-IT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bc:EndpointID</a:t>
            </a:r>
            <a:r>
              <a:rPr lang="it-IT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pPr lvl="1" algn="just" defTabSz="7997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200" b="1" dirty="0">
                <a:latin typeface="Calibri" panose="020F0502020204030204" pitchFamily="34" charset="0"/>
                <a:cs typeface="Calibri" panose="020F0502020204030204" pitchFamily="34" charset="0"/>
              </a:rPr>
              <a:t>                            </a:t>
            </a:r>
            <a:r>
              <a:rPr lang="it-IT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	…</a:t>
            </a:r>
            <a:endParaRPr lang="it-IT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algn="just" defTabSz="7997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200" b="1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it-IT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&lt;/</a:t>
            </a:r>
            <a:r>
              <a:rPr lang="it-IT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ac:Party</a:t>
            </a:r>
            <a:r>
              <a:rPr lang="it-IT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pPr lvl="1" algn="just" defTabSz="7997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&lt;/</a:t>
            </a:r>
            <a:r>
              <a:rPr lang="it-IT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ac:BuyerCustomerParty</a:t>
            </a:r>
            <a:r>
              <a:rPr lang="it-IT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endParaRPr lang="en-US" sz="900" dirty="0"/>
          </a:p>
        </p:txBody>
      </p:sp>
      <p:grpSp>
        <p:nvGrpSpPr>
          <p:cNvPr id="19" name="Group 650"/>
          <p:cNvGrpSpPr>
            <a:grpSpLocks noChangeAspect="1"/>
          </p:cNvGrpSpPr>
          <p:nvPr/>
        </p:nvGrpSpPr>
        <p:grpSpPr bwMode="auto">
          <a:xfrm>
            <a:off x="2900218" y="3060756"/>
            <a:ext cx="540000" cy="540000"/>
            <a:chOff x="6224" y="2372"/>
            <a:chExt cx="340" cy="340"/>
          </a:xfrm>
          <a:solidFill>
            <a:srgbClr val="C00000"/>
          </a:solidFill>
        </p:grpSpPr>
        <p:sp>
          <p:nvSpPr>
            <p:cNvPr id="20" name="Freeform 651"/>
            <p:cNvSpPr>
              <a:spLocks noEditPoints="1"/>
            </p:cNvSpPr>
            <p:nvPr/>
          </p:nvSpPr>
          <p:spPr bwMode="auto">
            <a:xfrm>
              <a:off x="6330" y="2450"/>
              <a:ext cx="128" cy="184"/>
            </a:xfrm>
            <a:custGeom>
              <a:avLst/>
              <a:gdLst>
                <a:gd name="T0" fmla="*/ 117 w 192"/>
                <a:gd name="T1" fmla="*/ 64 h 277"/>
                <a:gd name="T2" fmla="*/ 117 w 192"/>
                <a:gd name="T3" fmla="*/ 0 h 277"/>
                <a:gd name="T4" fmla="*/ 0 w 192"/>
                <a:gd name="T5" fmla="*/ 0 h 277"/>
                <a:gd name="T6" fmla="*/ 0 w 192"/>
                <a:gd name="T7" fmla="*/ 277 h 277"/>
                <a:gd name="T8" fmla="*/ 192 w 192"/>
                <a:gd name="T9" fmla="*/ 277 h 277"/>
                <a:gd name="T10" fmla="*/ 192 w 192"/>
                <a:gd name="T11" fmla="*/ 75 h 277"/>
                <a:gd name="T12" fmla="*/ 128 w 192"/>
                <a:gd name="T13" fmla="*/ 75 h 277"/>
                <a:gd name="T14" fmla="*/ 117 w 192"/>
                <a:gd name="T15" fmla="*/ 64 h 277"/>
                <a:gd name="T16" fmla="*/ 21 w 192"/>
                <a:gd name="T17" fmla="*/ 128 h 277"/>
                <a:gd name="T18" fmla="*/ 26 w 192"/>
                <a:gd name="T19" fmla="*/ 119 h 277"/>
                <a:gd name="T20" fmla="*/ 58 w 192"/>
                <a:gd name="T21" fmla="*/ 98 h 277"/>
                <a:gd name="T22" fmla="*/ 73 w 192"/>
                <a:gd name="T23" fmla="*/ 101 h 277"/>
                <a:gd name="T24" fmla="*/ 70 w 192"/>
                <a:gd name="T25" fmla="*/ 116 h 277"/>
                <a:gd name="T26" fmla="*/ 51 w 192"/>
                <a:gd name="T27" fmla="*/ 128 h 277"/>
                <a:gd name="T28" fmla="*/ 70 w 192"/>
                <a:gd name="T29" fmla="*/ 140 h 277"/>
                <a:gd name="T30" fmla="*/ 73 w 192"/>
                <a:gd name="T31" fmla="*/ 155 h 277"/>
                <a:gd name="T32" fmla="*/ 64 w 192"/>
                <a:gd name="T33" fmla="*/ 160 h 277"/>
                <a:gd name="T34" fmla="*/ 58 w 192"/>
                <a:gd name="T35" fmla="*/ 158 h 277"/>
                <a:gd name="T36" fmla="*/ 26 w 192"/>
                <a:gd name="T37" fmla="*/ 137 h 277"/>
                <a:gd name="T38" fmla="*/ 21 w 192"/>
                <a:gd name="T39" fmla="*/ 128 h 277"/>
                <a:gd name="T40" fmla="*/ 170 w 192"/>
                <a:gd name="T41" fmla="*/ 203 h 277"/>
                <a:gd name="T42" fmla="*/ 166 w 192"/>
                <a:gd name="T43" fmla="*/ 212 h 277"/>
                <a:gd name="T44" fmla="*/ 134 w 192"/>
                <a:gd name="T45" fmla="*/ 233 h 277"/>
                <a:gd name="T46" fmla="*/ 128 w 192"/>
                <a:gd name="T47" fmla="*/ 235 h 277"/>
                <a:gd name="T48" fmla="*/ 119 w 192"/>
                <a:gd name="T49" fmla="*/ 230 h 277"/>
                <a:gd name="T50" fmla="*/ 122 w 192"/>
                <a:gd name="T51" fmla="*/ 215 h 277"/>
                <a:gd name="T52" fmla="*/ 140 w 192"/>
                <a:gd name="T53" fmla="*/ 203 h 277"/>
                <a:gd name="T54" fmla="*/ 122 w 192"/>
                <a:gd name="T55" fmla="*/ 190 h 277"/>
                <a:gd name="T56" fmla="*/ 119 w 192"/>
                <a:gd name="T57" fmla="*/ 175 h 277"/>
                <a:gd name="T58" fmla="*/ 134 w 192"/>
                <a:gd name="T59" fmla="*/ 172 h 277"/>
                <a:gd name="T60" fmla="*/ 166 w 192"/>
                <a:gd name="T61" fmla="*/ 194 h 277"/>
                <a:gd name="T62" fmla="*/ 170 w 192"/>
                <a:gd name="T63" fmla="*/ 203 h 277"/>
                <a:gd name="T64" fmla="*/ 134 w 192"/>
                <a:gd name="T65" fmla="*/ 108 h 277"/>
                <a:gd name="T66" fmla="*/ 137 w 192"/>
                <a:gd name="T67" fmla="*/ 123 h 277"/>
                <a:gd name="T68" fmla="*/ 73 w 192"/>
                <a:gd name="T69" fmla="*/ 219 h 277"/>
                <a:gd name="T70" fmla="*/ 64 w 192"/>
                <a:gd name="T71" fmla="*/ 224 h 277"/>
                <a:gd name="T72" fmla="*/ 58 w 192"/>
                <a:gd name="T73" fmla="*/ 222 h 277"/>
                <a:gd name="T74" fmla="*/ 55 w 192"/>
                <a:gd name="T75" fmla="*/ 207 h 277"/>
                <a:gd name="T76" fmla="*/ 119 w 192"/>
                <a:gd name="T77" fmla="*/ 111 h 277"/>
                <a:gd name="T78" fmla="*/ 134 w 192"/>
                <a:gd name="T79" fmla="*/ 108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2" h="277">
                  <a:moveTo>
                    <a:pt x="117" y="64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192" y="277"/>
                    <a:pt x="192" y="277"/>
                    <a:pt x="192" y="277"/>
                  </a:cubicBezTo>
                  <a:cubicBezTo>
                    <a:pt x="192" y="75"/>
                    <a:pt x="192" y="75"/>
                    <a:pt x="192" y="75"/>
                  </a:cubicBezTo>
                  <a:cubicBezTo>
                    <a:pt x="128" y="75"/>
                    <a:pt x="128" y="75"/>
                    <a:pt x="128" y="75"/>
                  </a:cubicBezTo>
                  <a:cubicBezTo>
                    <a:pt x="122" y="75"/>
                    <a:pt x="117" y="70"/>
                    <a:pt x="117" y="64"/>
                  </a:cubicBezTo>
                  <a:close/>
                  <a:moveTo>
                    <a:pt x="21" y="128"/>
                  </a:moveTo>
                  <a:cubicBezTo>
                    <a:pt x="21" y="124"/>
                    <a:pt x="23" y="121"/>
                    <a:pt x="26" y="119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63" y="95"/>
                    <a:pt x="69" y="96"/>
                    <a:pt x="73" y="101"/>
                  </a:cubicBezTo>
                  <a:cubicBezTo>
                    <a:pt x="76" y="106"/>
                    <a:pt x="74" y="112"/>
                    <a:pt x="70" y="116"/>
                  </a:cubicBezTo>
                  <a:cubicBezTo>
                    <a:pt x="51" y="128"/>
                    <a:pt x="51" y="128"/>
                    <a:pt x="51" y="128"/>
                  </a:cubicBezTo>
                  <a:cubicBezTo>
                    <a:pt x="70" y="140"/>
                    <a:pt x="70" y="140"/>
                    <a:pt x="70" y="140"/>
                  </a:cubicBezTo>
                  <a:cubicBezTo>
                    <a:pt x="74" y="144"/>
                    <a:pt x="76" y="150"/>
                    <a:pt x="73" y="155"/>
                  </a:cubicBezTo>
                  <a:cubicBezTo>
                    <a:pt x="70" y="158"/>
                    <a:pt x="67" y="160"/>
                    <a:pt x="64" y="160"/>
                  </a:cubicBezTo>
                  <a:cubicBezTo>
                    <a:pt x="62" y="160"/>
                    <a:pt x="60" y="159"/>
                    <a:pt x="58" y="158"/>
                  </a:cubicBezTo>
                  <a:cubicBezTo>
                    <a:pt x="26" y="137"/>
                    <a:pt x="26" y="137"/>
                    <a:pt x="26" y="137"/>
                  </a:cubicBezTo>
                  <a:cubicBezTo>
                    <a:pt x="23" y="135"/>
                    <a:pt x="21" y="132"/>
                    <a:pt x="21" y="128"/>
                  </a:cubicBezTo>
                  <a:close/>
                  <a:moveTo>
                    <a:pt x="170" y="203"/>
                  </a:moveTo>
                  <a:cubicBezTo>
                    <a:pt x="170" y="206"/>
                    <a:pt x="169" y="210"/>
                    <a:pt x="166" y="212"/>
                  </a:cubicBezTo>
                  <a:cubicBezTo>
                    <a:pt x="134" y="233"/>
                    <a:pt x="134" y="233"/>
                    <a:pt x="134" y="233"/>
                  </a:cubicBezTo>
                  <a:cubicBezTo>
                    <a:pt x="132" y="234"/>
                    <a:pt x="130" y="235"/>
                    <a:pt x="128" y="235"/>
                  </a:cubicBezTo>
                  <a:cubicBezTo>
                    <a:pt x="124" y="235"/>
                    <a:pt x="121" y="233"/>
                    <a:pt x="119" y="230"/>
                  </a:cubicBezTo>
                  <a:cubicBezTo>
                    <a:pt x="116" y="225"/>
                    <a:pt x="117" y="218"/>
                    <a:pt x="122" y="21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17" y="187"/>
                    <a:pt x="116" y="180"/>
                    <a:pt x="119" y="175"/>
                  </a:cubicBezTo>
                  <a:cubicBezTo>
                    <a:pt x="122" y="171"/>
                    <a:pt x="129" y="169"/>
                    <a:pt x="134" y="172"/>
                  </a:cubicBezTo>
                  <a:cubicBezTo>
                    <a:pt x="166" y="194"/>
                    <a:pt x="166" y="194"/>
                    <a:pt x="166" y="194"/>
                  </a:cubicBezTo>
                  <a:cubicBezTo>
                    <a:pt x="169" y="196"/>
                    <a:pt x="170" y="199"/>
                    <a:pt x="170" y="203"/>
                  </a:cubicBezTo>
                  <a:close/>
                  <a:moveTo>
                    <a:pt x="134" y="108"/>
                  </a:moveTo>
                  <a:cubicBezTo>
                    <a:pt x="138" y="112"/>
                    <a:pt x="140" y="118"/>
                    <a:pt x="137" y="123"/>
                  </a:cubicBezTo>
                  <a:cubicBezTo>
                    <a:pt x="73" y="219"/>
                    <a:pt x="73" y="219"/>
                    <a:pt x="73" y="219"/>
                  </a:cubicBezTo>
                  <a:cubicBezTo>
                    <a:pt x="70" y="222"/>
                    <a:pt x="67" y="224"/>
                    <a:pt x="64" y="224"/>
                  </a:cubicBezTo>
                  <a:cubicBezTo>
                    <a:pt x="62" y="224"/>
                    <a:pt x="60" y="223"/>
                    <a:pt x="58" y="222"/>
                  </a:cubicBezTo>
                  <a:cubicBezTo>
                    <a:pt x="53" y="219"/>
                    <a:pt x="52" y="212"/>
                    <a:pt x="55" y="207"/>
                  </a:cubicBezTo>
                  <a:cubicBezTo>
                    <a:pt x="119" y="111"/>
                    <a:pt x="119" y="111"/>
                    <a:pt x="119" y="111"/>
                  </a:cubicBezTo>
                  <a:cubicBezTo>
                    <a:pt x="122" y="107"/>
                    <a:pt x="129" y="105"/>
                    <a:pt x="134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652"/>
            <p:cNvSpPr>
              <a:spLocks noEditPoints="1"/>
            </p:cNvSpPr>
            <p:nvPr/>
          </p:nvSpPr>
          <p:spPr bwMode="auto">
            <a:xfrm>
              <a:off x="6224" y="2372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73 w 512"/>
                <a:gd name="T11" fmla="*/ 181 h 512"/>
                <a:gd name="T12" fmla="*/ 373 w 512"/>
                <a:gd name="T13" fmla="*/ 405 h 512"/>
                <a:gd name="T14" fmla="*/ 362 w 512"/>
                <a:gd name="T15" fmla="*/ 416 h 512"/>
                <a:gd name="T16" fmla="*/ 149 w 512"/>
                <a:gd name="T17" fmla="*/ 416 h 512"/>
                <a:gd name="T18" fmla="*/ 138 w 512"/>
                <a:gd name="T19" fmla="*/ 405 h 512"/>
                <a:gd name="T20" fmla="*/ 138 w 512"/>
                <a:gd name="T21" fmla="*/ 106 h 512"/>
                <a:gd name="T22" fmla="*/ 149 w 512"/>
                <a:gd name="T23" fmla="*/ 96 h 512"/>
                <a:gd name="T24" fmla="*/ 288 w 512"/>
                <a:gd name="T25" fmla="*/ 96 h 512"/>
                <a:gd name="T26" fmla="*/ 295 w 512"/>
                <a:gd name="T27" fmla="*/ 98 h 512"/>
                <a:gd name="T28" fmla="*/ 295 w 512"/>
                <a:gd name="T29" fmla="*/ 98 h 512"/>
                <a:gd name="T30" fmla="*/ 295 w 512"/>
                <a:gd name="T31" fmla="*/ 98 h 512"/>
                <a:gd name="T32" fmla="*/ 295 w 512"/>
                <a:gd name="T33" fmla="*/ 99 h 512"/>
                <a:gd name="T34" fmla="*/ 370 w 512"/>
                <a:gd name="T35" fmla="*/ 173 h 512"/>
                <a:gd name="T36" fmla="*/ 372 w 512"/>
                <a:gd name="T37" fmla="*/ 177 h 512"/>
                <a:gd name="T38" fmla="*/ 373 w 512"/>
                <a:gd name="T39" fmla="*/ 181 h 512"/>
                <a:gd name="T40" fmla="*/ 373 w 512"/>
                <a:gd name="T41" fmla="*/ 18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73" y="181"/>
                  </a:moveTo>
                  <a:cubicBezTo>
                    <a:pt x="373" y="405"/>
                    <a:pt x="373" y="405"/>
                    <a:pt x="373" y="405"/>
                  </a:cubicBez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106"/>
                    <a:pt x="138" y="106"/>
                    <a:pt x="138" y="106"/>
                  </a:cubicBezTo>
                  <a:cubicBezTo>
                    <a:pt x="138" y="100"/>
                    <a:pt x="143" y="96"/>
                    <a:pt x="149" y="96"/>
                  </a:cubicBezTo>
                  <a:cubicBezTo>
                    <a:pt x="288" y="96"/>
                    <a:pt x="288" y="96"/>
                    <a:pt x="288" y="96"/>
                  </a:cubicBezTo>
                  <a:cubicBezTo>
                    <a:pt x="290" y="96"/>
                    <a:pt x="293" y="97"/>
                    <a:pt x="295" y="98"/>
                  </a:cubicBezTo>
                  <a:cubicBezTo>
                    <a:pt x="295" y="98"/>
                    <a:pt x="295" y="98"/>
                    <a:pt x="295" y="98"/>
                  </a:cubicBezTo>
                  <a:cubicBezTo>
                    <a:pt x="295" y="98"/>
                    <a:pt x="295" y="98"/>
                    <a:pt x="295" y="98"/>
                  </a:cubicBezTo>
                  <a:cubicBezTo>
                    <a:pt x="295" y="99"/>
                    <a:pt x="295" y="99"/>
                    <a:pt x="295" y="99"/>
                  </a:cubicBezTo>
                  <a:cubicBezTo>
                    <a:pt x="370" y="173"/>
                    <a:pt x="370" y="173"/>
                    <a:pt x="370" y="173"/>
                  </a:cubicBezTo>
                  <a:cubicBezTo>
                    <a:pt x="371" y="174"/>
                    <a:pt x="372" y="176"/>
                    <a:pt x="372" y="177"/>
                  </a:cubicBezTo>
                  <a:cubicBezTo>
                    <a:pt x="373" y="178"/>
                    <a:pt x="373" y="180"/>
                    <a:pt x="373" y="181"/>
                  </a:cubicBezTo>
                  <a:cubicBezTo>
                    <a:pt x="373" y="181"/>
                    <a:pt x="373" y="181"/>
                    <a:pt x="373" y="1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653"/>
            <p:cNvSpPr>
              <a:spLocks/>
            </p:cNvSpPr>
            <p:nvPr/>
          </p:nvSpPr>
          <p:spPr bwMode="auto">
            <a:xfrm>
              <a:off x="6422" y="2460"/>
              <a:ext cx="26" cy="25"/>
            </a:xfrm>
            <a:custGeom>
              <a:avLst/>
              <a:gdLst>
                <a:gd name="T0" fmla="*/ 0 w 26"/>
                <a:gd name="T1" fmla="*/ 0 h 25"/>
                <a:gd name="T2" fmla="*/ 0 w 26"/>
                <a:gd name="T3" fmla="*/ 25 h 25"/>
                <a:gd name="T4" fmla="*/ 26 w 26"/>
                <a:gd name="T5" fmla="*/ 25 h 25"/>
                <a:gd name="T6" fmla="*/ 0 w 26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5">
                  <a:moveTo>
                    <a:pt x="0" y="0"/>
                  </a:moveTo>
                  <a:lnTo>
                    <a:pt x="0" y="25"/>
                  </a:lnTo>
                  <a:lnTo>
                    <a:pt x="26" y="2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952966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12</a:t>
            </a:fld>
            <a:endParaRPr lang="it-IT" altLang="it-IT" dirty="0"/>
          </a:p>
        </p:txBody>
      </p:sp>
      <p:sp>
        <p:nvSpPr>
          <p:cNvPr id="5" name="CustomShape 3">
            <a:extLst>
              <a:ext uri="{FF2B5EF4-FFF2-40B4-BE49-F238E27FC236}">
                <a16:creationId xmlns:a16="http://schemas.microsoft.com/office/drawing/2014/main" id="{4BC9C766-0171-4316-9FE5-1742D5543257}"/>
              </a:ext>
            </a:extLst>
          </p:cNvPr>
          <p:cNvSpPr/>
          <p:nvPr/>
        </p:nvSpPr>
        <p:spPr>
          <a:xfrm>
            <a:off x="1047600" y="222120"/>
            <a:ext cx="8665560" cy="516600"/>
          </a:xfrm>
          <a:prstGeom prst="rect">
            <a:avLst/>
          </a:prstGeom>
          <a:noFill/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r">
              <a:lnSpc>
                <a:spcPct val="100000"/>
              </a:lnSpc>
            </a:pPr>
            <a:r>
              <a:rPr lang="it-IT" sz="2800" b="1" strike="noStrike" spc="-1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Modifiche </a:t>
            </a:r>
            <a:r>
              <a:rPr lang="it-IT" sz="2800" b="1" spc="-1" dirty="0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regole tecniche</a:t>
            </a:r>
            <a:r>
              <a:rPr lang="it-IT" sz="2800" b="1" strike="noStrike" spc="-1" dirty="0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 NSO </a:t>
            </a:r>
            <a:r>
              <a:rPr lang="it-IT" sz="2800" b="1" strike="noStrike" spc="-1" dirty="0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(2/4)</a:t>
            </a:r>
            <a:endParaRPr lang="it-IT" sz="1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62202" y="1975136"/>
            <a:ext cx="5125376" cy="2063463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>
          <a:xfrm>
            <a:off x="2895600" y="1162959"/>
            <a:ext cx="6665913" cy="2866115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ysDash"/>
            <a:miter lim="800000"/>
          </a:ln>
          <a:effectLst/>
        </p:spPr>
        <p:txBody>
          <a:bodyPr lIns="91413" tIns="36000" rIns="91413" bIns="35990" anchor="ctr"/>
          <a:lstStyle/>
          <a:p>
            <a:pPr marR="0" lvl="0" algn="just" defTabSz="7997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endParaRPr lang="it-IT" sz="1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173164" y="1162960"/>
            <a:ext cx="1617661" cy="2866114"/>
          </a:xfrm>
          <a:prstGeom prst="rect">
            <a:avLst/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dicazione tipo ordine</a:t>
            </a:r>
            <a:endParaRPr kumimoji="0" lang="it-IT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895599" y="4241850"/>
            <a:ext cx="6665913" cy="203132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chemeClr val="bg1">
                <a:lumMod val="50000"/>
              </a:schemeClr>
            </a:solidFill>
            <a:prstDash val="sysDash"/>
            <a:miter lim="800000"/>
          </a:ln>
          <a:effectLst/>
        </p:spPr>
        <p:txBody>
          <a:bodyPr lIns="91413" tIns="36000" rIns="91413" bIns="35990" anchor="ctr"/>
          <a:lstStyle/>
          <a:p>
            <a:pPr algn="just"/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173163" y="4241850"/>
            <a:ext cx="1617661" cy="2031325"/>
          </a:xfrm>
          <a:prstGeom prst="rect">
            <a:avLst/>
          </a:prstGeom>
          <a:solidFill>
            <a:srgbClr val="0076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800" b="1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bligo inserimento CIG</a:t>
            </a:r>
            <a:endParaRPr kumimoji="0" lang="it-IT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903879" y="4241850"/>
            <a:ext cx="665763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E’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obbligatorio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 riportare il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CIG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 in uno dei seguenti campi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Ordine</a:t>
            </a:r>
          </a:p>
          <a:p>
            <a:r>
              <a:rPr lang="it-IT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OriginatorDocumentReference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/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ID</a:t>
            </a:r>
            <a:endParaRPr lang="it-IT" sz="18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Riga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d’ordine</a:t>
            </a:r>
            <a:endParaRPr lang="it-IT" sz="18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it-IT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OrderLine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/</a:t>
            </a:r>
            <a:r>
              <a:rPr lang="it-IT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LineItem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/Item/</a:t>
            </a:r>
            <a:r>
              <a:rPr lang="it-IT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ItemSpecificationDocumentReference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/ID</a:t>
            </a:r>
            <a:endParaRPr lang="it-IT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Nei casi di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esclusione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il CIG deve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essere valorizzato utilizzando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le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codifiche previste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dalle nuove regole di utilizzo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it-IT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903880" y="1162959"/>
            <a:ext cx="665763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just" defTabSz="7997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it-IT" alt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Il </a:t>
            </a:r>
            <a:r>
              <a:rPr lang="it-IT" alt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codice tipo ordine</a:t>
            </a:r>
            <a:r>
              <a:rPr lang="it-IT" alt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 deve essere valorizzato nell’elemento </a:t>
            </a:r>
            <a:r>
              <a:rPr lang="it-IT" altLang="it-IT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OrderTypeCode</a:t>
            </a:r>
            <a:r>
              <a:rPr lang="it-IT" alt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. Il </a:t>
            </a:r>
            <a:r>
              <a:rPr lang="it-IT" alt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codice sotto-tipo ordine</a:t>
            </a:r>
            <a:r>
              <a:rPr lang="it-IT" alt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 è facoltativo e deve essere indicato nel campo </a:t>
            </a:r>
            <a:r>
              <a:rPr lang="it-IT" altLang="it-IT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SpecialTerms</a:t>
            </a:r>
            <a:r>
              <a:rPr lang="it-IT" alt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 dell’elemento </a:t>
            </a:r>
            <a:r>
              <a:rPr lang="it-IT" altLang="it-IT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DeliveryTerms</a:t>
            </a:r>
            <a:r>
              <a:rPr lang="it-IT" alt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it-IT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6036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CustomShape 1"/>
          <p:cNvSpPr/>
          <p:nvPr/>
        </p:nvSpPr>
        <p:spPr>
          <a:xfrm>
            <a:off x="325440" y="106200"/>
            <a:ext cx="9579600" cy="508680"/>
          </a:xfrm>
          <a:prstGeom prst="rect">
            <a:avLst/>
          </a:prstGeom>
          <a:noFill/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76" name="CustomShape 2"/>
          <p:cNvSpPr/>
          <p:nvPr/>
        </p:nvSpPr>
        <p:spPr>
          <a:xfrm>
            <a:off x="3935520" y="6512040"/>
            <a:ext cx="2059560" cy="249840"/>
          </a:xfrm>
          <a:prstGeom prst="rect">
            <a:avLst/>
          </a:prstGeom>
          <a:noFill/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fld id="{6BA8943D-A37A-49D3-8579-C1130D867C27}" type="slidenum">
              <a:rPr lang="it-IT" sz="1200" b="1" strike="noStrike" spc="-1">
                <a:solidFill>
                  <a:srgbClr val="336600"/>
                </a:solidFill>
                <a:uFill>
                  <a:solidFill>
                    <a:srgbClr val="FFFFFF"/>
                  </a:solidFill>
                </a:uFill>
                <a:latin typeface="Tahoma"/>
                <a:ea typeface="DejaVu Sans"/>
              </a:rPr>
              <a:t>13</a:t>
            </a:fld>
            <a:endParaRPr lang="it-IT" sz="18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5" name="CustomShape 3">
            <a:extLst>
              <a:ext uri="{FF2B5EF4-FFF2-40B4-BE49-F238E27FC236}">
                <a16:creationId xmlns:a16="http://schemas.microsoft.com/office/drawing/2014/main" id="{4BC9C766-0171-4316-9FE5-1742D5543257}"/>
              </a:ext>
            </a:extLst>
          </p:cNvPr>
          <p:cNvSpPr/>
          <p:nvPr/>
        </p:nvSpPr>
        <p:spPr>
          <a:xfrm>
            <a:off x="1047600" y="222120"/>
            <a:ext cx="8665560" cy="516600"/>
          </a:xfrm>
          <a:prstGeom prst="rect">
            <a:avLst/>
          </a:prstGeom>
          <a:noFill/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r">
              <a:lnSpc>
                <a:spcPct val="100000"/>
              </a:lnSpc>
            </a:pPr>
            <a:r>
              <a:rPr lang="it-IT" sz="2800" b="1" strike="noStrike" spc="-1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Modifiche </a:t>
            </a:r>
            <a:r>
              <a:rPr lang="it-IT" sz="2800" b="1" strike="noStrike" spc="-1" dirty="0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regole tecniche NSO </a:t>
            </a:r>
            <a:r>
              <a:rPr lang="it-IT" sz="2800" b="1" strike="noStrike" spc="-1" dirty="0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(</a:t>
            </a:r>
            <a:r>
              <a:rPr lang="it-IT" sz="2800" b="1" spc="-1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3</a:t>
            </a:r>
            <a:r>
              <a:rPr lang="it-IT" sz="2800" b="1" strike="noStrike" spc="-1" dirty="0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/4)</a:t>
            </a:r>
            <a:endParaRPr lang="it-IT" sz="1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144589" y="1164869"/>
            <a:ext cx="1617661" cy="1206725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lassificazione</a:t>
            </a:r>
            <a:r>
              <a:rPr kumimoji="0" lang="it-IT" sz="1800" b="1" i="0" u="none" strike="noStrike" kern="0" cap="none" spc="0" normalizeH="0" noProof="0" dirty="0" smtClean="0">
                <a:ln>
                  <a:noFill/>
                </a:ln>
                <a:solidFill>
                  <a:schemeClr val="bg1"/>
                </a:solidFill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bene o servizio</a:t>
            </a:r>
            <a:endParaRPr kumimoji="0" lang="it-IT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867025" y="1164868"/>
            <a:ext cx="6665913" cy="1206727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ysDash"/>
            <a:miter lim="800000"/>
          </a:ln>
          <a:effectLst/>
        </p:spPr>
        <p:txBody>
          <a:bodyPr lIns="91413" tIns="36000" rIns="91413" bIns="35990" anchor="ctr"/>
          <a:lstStyle/>
          <a:p>
            <a:pPr marR="0" lvl="0" algn="just" defTabSz="7997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Per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ciascun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prodotto, nella linea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d’ordine è possibile specificare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uno o più codici di classificazione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, valorizzando il campo </a:t>
            </a:r>
            <a:r>
              <a:rPr lang="it-IT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ItemClassificationCode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/ID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dell’elemento </a:t>
            </a:r>
            <a:r>
              <a:rPr lang="it-IT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CommodityClassification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(indicando una classe standard: CPV, ATC, CND, GPC, ISBN o ZZZ).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867025" y="2582052"/>
            <a:ext cx="6665913" cy="899886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ysDash"/>
            <a:miter lim="800000"/>
          </a:ln>
          <a:effectLst/>
        </p:spPr>
        <p:txBody>
          <a:bodyPr lIns="91413" tIns="36000" rIns="91413" bIns="35990" anchor="ctr"/>
          <a:lstStyle/>
          <a:p>
            <a:pPr marR="0" lvl="0" algn="just" defTabSz="7997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it-IT" alt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Specificare i valori </a:t>
            </a:r>
            <a:r>
              <a:rPr lang="it-IT" alt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DM1</a:t>
            </a:r>
            <a:r>
              <a:rPr lang="it-IT" alt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it-IT" alt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DM2</a:t>
            </a:r>
            <a:r>
              <a:rPr lang="it-IT" alt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 o </a:t>
            </a:r>
            <a:r>
              <a:rPr lang="it-IT" alt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DM0</a:t>
            </a:r>
            <a:r>
              <a:rPr lang="it-IT" alt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(quando non sono applicabili i primi due) </a:t>
            </a:r>
            <a:r>
              <a:rPr lang="it-IT" alt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nel </a:t>
            </a:r>
            <a:r>
              <a:rPr lang="it-IT" alt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sistema definito mutualmente tra le </a:t>
            </a:r>
            <a:r>
              <a:rPr lang="it-IT" alt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parti</a:t>
            </a:r>
            <a:r>
              <a:rPr lang="it-IT" alt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indicando la codifica </a:t>
            </a:r>
            <a:r>
              <a:rPr lang="it-IT" alt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ZZZ</a:t>
            </a:r>
            <a:r>
              <a:rPr lang="it-IT" alt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dello standard di classificazione.</a:t>
            </a:r>
            <a:endParaRPr lang="it-IT" sz="1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144589" y="2582052"/>
            <a:ext cx="1617661" cy="899886"/>
          </a:xfrm>
          <a:prstGeom prst="rect">
            <a:avLst/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ispositivi Medici</a:t>
            </a:r>
            <a:endParaRPr kumimoji="0" lang="it-IT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867025" y="3644983"/>
            <a:ext cx="6665913" cy="224058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chemeClr val="bg1">
                <a:lumMod val="50000"/>
              </a:schemeClr>
            </a:solidFill>
            <a:prstDash val="sysDash"/>
            <a:miter lim="800000"/>
          </a:ln>
          <a:effectLst/>
        </p:spPr>
        <p:txBody>
          <a:bodyPr lIns="91413" tIns="36000" rIns="91413" bIns="35990" anchor="ctr"/>
          <a:lstStyle/>
          <a:p>
            <a:pPr algn="just"/>
            <a:endParaRPr lang="en-US" sz="1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144589" y="3644982"/>
            <a:ext cx="1617661" cy="2240587"/>
          </a:xfrm>
          <a:prstGeom prst="rect">
            <a:avLst/>
          </a:prstGeom>
          <a:solidFill>
            <a:srgbClr val="0076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800" b="1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dentificazione ordini </a:t>
            </a:r>
            <a:r>
              <a:rPr lang="it-IT" sz="1800" b="1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 revoca o sostitutivi</a:t>
            </a:r>
            <a:endParaRPr lang="it-IT" sz="1800" b="1" kern="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875304" y="3577245"/>
            <a:ext cx="665763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Il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segmento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OrderDocumentReference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/ID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dev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esser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valorizzato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con la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seguent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concatenazion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ID #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IssueDat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#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EndpointID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# 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Cancelled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o 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Revised</a:t>
            </a:r>
          </a:p>
          <a:p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L’operazione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finale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deve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riferisi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alla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cancellazione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o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alla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modifica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just"/>
            <a:r>
              <a:rPr lang="it-IT" sz="1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’</a:t>
            </a:r>
            <a:r>
              <a:rPr lang="it-IT" sz="18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dine di </a:t>
            </a:r>
            <a:r>
              <a:rPr lang="it-IT" sz="18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voca</a:t>
            </a:r>
            <a:r>
              <a:rPr lang="it-IT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ve </a:t>
            </a:r>
            <a:r>
              <a:rPr lang="it-IT" sz="1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enere anche i seguenti campi su riga: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it-IT" sz="1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D valorizzato con </a:t>
            </a:r>
            <a:r>
              <a:rPr lang="it-IT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</a:t>
            </a:r>
            <a:r>
              <a:rPr lang="it-IT" sz="18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</a:t>
            </a:r>
            <a:r>
              <a:rPr lang="it-IT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; </a:t>
            </a:r>
            <a:endParaRPr lang="it-IT" sz="1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antity </a:t>
            </a:r>
            <a:r>
              <a:rPr lang="en-US" sz="18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lorizzato</a:t>
            </a:r>
            <a:r>
              <a:rPr lang="en-US" sz="1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n </a:t>
            </a:r>
            <a:r>
              <a:rPr lang="it-IT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</a:t>
            </a:r>
            <a:r>
              <a:rPr lang="en-US" sz="18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it-IT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</a:t>
            </a:r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; </a:t>
            </a:r>
            <a:endParaRPr lang="en-US" sz="1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me </a:t>
            </a:r>
            <a:r>
              <a:rPr lang="en-US" sz="18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lorizzato</a:t>
            </a:r>
            <a:r>
              <a:rPr lang="en-US" sz="1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n </a:t>
            </a:r>
            <a:r>
              <a:rPr lang="it-IT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</a:t>
            </a:r>
            <a:r>
              <a:rPr lang="en-US" sz="18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</a:t>
            </a:r>
            <a:r>
              <a:rPr lang="it-IT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</a:t>
            </a:r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it-IT" sz="1800" dirty="0" smtClea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7622063"/>
      </p:ext>
    </p:extLst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14</a:t>
            </a:fld>
            <a:endParaRPr lang="it-IT" altLang="it-IT" dirty="0"/>
          </a:p>
        </p:txBody>
      </p:sp>
      <p:sp>
        <p:nvSpPr>
          <p:cNvPr id="3" name="CustomShape 3">
            <a:extLst>
              <a:ext uri="{FF2B5EF4-FFF2-40B4-BE49-F238E27FC236}">
                <a16:creationId xmlns:a16="http://schemas.microsoft.com/office/drawing/2014/main" id="{4BC9C766-0171-4316-9FE5-1742D5543257}"/>
              </a:ext>
            </a:extLst>
          </p:cNvPr>
          <p:cNvSpPr/>
          <p:nvPr/>
        </p:nvSpPr>
        <p:spPr>
          <a:xfrm>
            <a:off x="1047600" y="222120"/>
            <a:ext cx="8665560" cy="516600"/>
          </a:xfrm>
          <a:prstGeom prst="rect">
            <a:avLst/>
          </a:prstGeom>
          <a:noFill/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r">
              <a:lnSpc>
                <a:spcPct val="100000"/>
              </a:lnSpc>
            </a:pPr>
            <a:r>
              <a:rPr lang="it-IT" sz="2800" b="1" strike="noStrike" spc="-1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Modifiche </a:t>
            </a:r>
            <a:r>
              <a:rPr lang="it-IT" sz="2800" b="1" strike="noStrike" spc="-1" dirty="0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regole tecniche NSO </a:t>
            </a:r>
            <a:r>
              <a:rPr lang="it-IT" sz="2800" b="1" strike="noStrike" spc="-1" dirty="0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(</a:t>
            </a:r>
            <a:r>
              <a:rPr lang="it-IT" sz="2800" b="1" spc="-1" dirty="0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4</a:t>
            </a:r>
            <a:r>
              <a:rPr lang="it-IT" sz="2800" b="1" spc="-1" dirty="0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/4</a:t>
            </a:r>
            <a:r>
              <a:rPr lang="it-IT" sz="2800" b="1" strike="noStrike" spc="-1" dirty="0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)</a:t>
            </a:r>
            <a:endParaRPr lang="it-IT" sz="1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895600" y="1174126"/>
            <a:ext cx="6665913" cy="166923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chemeClr val="bg1">
                <a:lumMod val="50000"/>
              </a:schemeClr>
            </a:solidFill>
            <a:prstDash val="sysDash"/>
            <a:miter lim="800000"/>
          </a:ln>
          <a:effectLst/>
        </p:spPr>
        <p:txBody>
          <a:bodyPr lIns="91413" tIns="36000" rIns="91413" bIns="35990" anchor="ctr"/>
          <a:lstStyle/>
          <a:p>
            <a:pPr algn="just"/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173164" y="1174125"/>
            <a:ext cx="1617661" cy="1669239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800" b="1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nità base nella confezione</a:t>
            </a:r>
            <a:endParaRPr kumimoji="0" lang="it-IT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895600" y="1124869"/>
            <a:ext cx="666591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A seconda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dell’ordine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, l’articolo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può riferirsi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alla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singola unità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 «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C62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» o alla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confezione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 «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XPK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» di cui si raccomanda fortemente l’utilizzo.</a:t>
            </a:r>
            <a:endParaRPr lang="it-IT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it-IT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PackSizeNumeric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 e </a:t>
            </a:r>
            <a:r>
              <a:rPr lang="it-IT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PackQuantity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 non vengono indicati più come campi strutturati ma vengono riportati nel seguente segmento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cac:AdditionalItemProperty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cbc:Nam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=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PackSizeNumeric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it-IT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cac:AdditionalItemProperty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it-IT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cbc:Name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=</a:t>
            </a:r>
            <a:r>
              <a:rPr lang="it-IT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ackQuantity</a:t>
            </a:r>
            <a:r>
              <a:rPr lang="it-IT" dirty="0" smtClean="0"/>
              <a:t> 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gray">
          <a:xfrm>
            <a:off x="1173163" y="3075894"/>
            <a:ext cx="8392051" cy="724582"/>
          </a:xfrm>
          <a:prstGeom prst="rect">
            <a:avLst/>
          </a:prstGeom>
          <a:solidFill>
            <a:srgbClr val="E8F6CF"/>
          </a:solidFill>
          <a:ln w="19050" algn="ctr">
            <a:solidFill>
              <a:srgbClr val="007E00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just" fontAlgn="t">
              <a:lnSpc>
                <a:spcPct val="107000"/>
              </a:lnSpc>
              <a:spcAft>
                <a:spcPts val="600"/>
              </a:spcAft>
            </a:pP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Nelle righe d’ordine è necessario indicare la 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quantità del prodotto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specificando l’opportuna 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unità di misura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attenendosi a 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Codifiche e Identificatori PEPPOL 3.0</a:t>
            </a:r>
            <a:endParaRPr lang="it-IT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5600" y="3874198"/>
            <a:ext cx="4642135" cy="2263452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3452813" y="6137650"/>
            <a:ext cx="626745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b="1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Sottoinsieme della codifica Unità di Misura UNECERec20</a:t>
            </a:r>
            <a:endParaRPr lang="en-US" sz="1050" b="1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Oval 32"/>
          <p:cNvSpPr/>
          <p:nvPr/>
        </p:nvSpPr>
        <p:spPr bwMode="auto">
          <a:xfrm>
            <a:off x="866775" y="2879195"/>
            <a:ext cx="476250" cy="33073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grpSp>
        <p:nvGrpSpPr>
          <p:cNvPr id="29" name="Group 925"/>
          <p:cNvGrpSpPr>
            <a:grpSpLocks noChangeAspect="1"/>
          </p:cNvGrpSpPr>
          <p:nvPr/>
        </p:nvGrpSpPr>
        <p:grpSpPr bwMode="auto">
          <a:xfrm>
            <a:off x="917301" y="2880799"/>
            <a:ext cx="378373" cy="356628"/>
            <a:chOff x="1152" y="3440"/>
            <a:chExt cx="348" cy="328"/>
          </a:xfrm>
          <a:solidFill>
            <a:srgbClr val="007600"/>
          </a:solidFill>
        </p:grpSpPr>
        <p:sp>
          <p:nvSpPr>
            <p:cNvPr id="30" name="Freeform 926"/>
            <p:cNvSpPr>
              <a:spLocks/>
            </p:cNvSpPr>
            <p:nvPr/>
          </p:nvSpPr>
          <p:spPr bwMode="auto">
            <a:xfrm>
              <a:off x="1259" y="3539"/>
              <a:ext cx="71" cy="71"/>
            </a:xfrm>
            <a:custGeom>
              <a:avLst/>
              <a:gdLst>
                <a:gd name="T0" fmla="*/ 96 w 107"/>
                <a:gd name="T1" fmla="*/ 43 h 107"/>
                <a:gd name="T2" fmla="*/ 64 w 107"/>
                <a:gd name="T3" fmla="*/ 43 h 107"/>
                <a:gd name="T4" fmla="*/ 64 w 107"/>
                <a:gd name="T5" fmla="*/ 11 h 107"/>
                <a:gd name="T6" fmla="*/ 53 w 107"/>
                <a:gd name="T7" fmla="*/ 0 h 107"/>
                <a:gd name="T8" fmla="*/ 43 w 107"/>
                <a:gd name="T9" fmla="*/ 11 h 107"/>
                <a:gd name="T10" fmla="*/ 43 w 107"/>
                <a:gd name="T11" fmla="*/ 43 h 107"/>
                <a:gd name="T12" fmla="*/ 11 w 107"/>
                <a:gd name="T13" fmla="*/ 43 h 107"/>
                <a:gd name="T14" fmla="*/ 0 w 107"/>
                <a:gd name="T15" fmla="*/ 53 h 107"/>
                <a:gd name="T16" fmla="*/ 11 w 107"/>
                <a:gd name="T17" fmla="*/ 64 h 107"/>
                <a:gd name="T18" fmla="*/ 43 w 107"/>
                <a:gd name="T19" fmla="*/ 64 h 107"/>
                <a:gd name="T20" fmla="*/ 43 w 107"/>
                <a:gd name="T21" fmla="*/ 96 h 107"/>
                <a:gd name="T22" fmla="*/ 53 w 107"/>
                <a:gd name="T23" fmla="*/ 107 h 107"/>
                <a:gd name="T24" fmla="*/ 64 w 107"/>
                <a:gd name="T25" fmla="*/ 96 h 107"/>
                <a:gd name="T26" fmla="*/ 64 w 107"/>
                <a:gd name="T27" fmla="*/ 64 h 107"/>
                <a:gd name="T28" fmla="*/ 96 w 107"/>
                <a:gd name="T29" fmla="*/ 64 h 107"/>
                <a:gd name="T30" fmla="*/ 107 w 107"/>
                <a:gd name="T31" fmla="*/ 53 h 107"/>
                <a:gd name="T32" fmla="*/ 96 w 107"/>
                <a:gd name="T33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7" h="107">
                  <a:moveTo>
                    <a:pt x="96" y="43"/>
                  </a:moveTo>
                  <a:cubicBezTo>
                    <a:pt x="64" y="43"/>
                    <a:pt x="64" y="43"/>
                    <a:pt x="64" y="43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4" y="5"/>
                    <a:pt x="59" y="0"/>
                    <a:pt x="53" y="0"/>
                  </a:cubicBezTo>
                  <a:cubicBezTo>
                    <a:pt x="47" y="0"/>
                    <a:pt x="43" y="5"/>
                    <a:pt x="43" y="11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5" y="43"/>
                    <a:pt x="0" y="47"/>
                    <a:pt x="0" y="53"/>
                  </a:cubicBezTo>
                  <a:cubicBezTo>
                    <a:pt x="0" y="59"/>
                    <a:pt x="5" y="64"/>
                    <a:pt x="11" y="64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43" y="96"/>
                    <a:pt x="43" y="96"/>
                    <a:pt x="43" y="96"/>
                  </a:cubicBezTo>
                  <a:cubicBezTo>
                    <a:pt x="43" y="102"/>
                    <a:pt x="47" y="107"/>
                    <a:pt x="53" y="107"/>
                  </a:cubicBezTo>
                  <a:cubicBezTo>
                    <a:pt x="59" y="107"/>
                    <a:pt x="64" y="102"/>
                    <a:pt x="64" y="96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96" y="64"/>
                    <a:pt x="96" y="64"/>
                    <a:pt x="96" y="64"/>
                  </a:cubicBezTo>
                  <a:cubicBezTo>
                    <a:pt x="102" y="64"/>
                    <a:pt x="107" y="59"/>
                    <a:pt x="107" y="53"/>
                  </a:cubicBezTo>
                  <a:cubicBezTo>
                    <a:pt x="107" y="47"/>
                    <a:pt x="102" y="43"/>
                    <a:pt x="96" y="43"/>
                  </a:cubicBezTo>
                  <a:close/>
                </a:path>
              </a:pathLst>
            </a:custGeom>
            <a:grpFill/>
            <a:ln>
              <a:solidFill>
                <a:srgbClr val="007600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927"/>
            <p:cNvSpPr>
              <a:spLocks noEditPoints="1"/>
            </p:cNvSpPr>
            <p:nvPr/>
          </p:nvSpPr>
          <p:spPr bwMode="auto">
            <a:xfrm>
              <a:off x="1224" y="3504"/>
              <a:ext cx="192" cy="191"/>
            </a:xfrm>
            <a:custGeom>
              <a:avLst/>
              <a:gdLst>
                <a:gd name="T0" fmla="*/ 189 w 289"/>
                <a:gd name="T1" fmla="*/ 174 h 288"/>
                <a:gd name="T2" fmla="*/ 213 w 289"/>
                <a:gd name="T3" fmla="*/ 106 h 288"/>
                <a:gd name="T4" fmla="*/ 106 w 289"/>
                <a:gd name="T5" fmla="*/ 0 h 288"/>
                <a:gd name="T6" fmla="*/ 0 w 289"/>
                <a:gd name="T7" fmla="*/ 106 h 288"/>
                <a:gd name="T8" fmla="*/ 106 w 289"/>
                <a:gd name="T9" fmla="*/ 213 h 288"/>
                <a:gd name="T10" fmla="*/ 174 w 289"/>
                <a:gd name="T11" fmla="*/ 189 h 288"/>
                <a:gd name="T12" fmla="*/ 269 w 289"/>
                <a:gd name="T13" fmla="*/ 285 h 288"/>
                <a:gd name="T14" fmla="*/ 277 w 289"/>
                <a:gd name="T15" fmla="*/ 288 h 288"/>
                <a:gd name="T16" fmla="*/ 285 w 289"/>
                <a:gd name="T17" fmla="*/ 285 h 288"/>
                <a:gd name="T18" fmla="*/ 285 w 289"/>
                <a:gd name="T19" fmla="*/ 269 h 288"/>
                <a:gd name="T20" fmla="*/ 189 w 289"/>
                <a:gd name="T21" fmla="*/ 174 h 288"/>
                <a:gd name="T22" fmla="*/ 106 w 289"/>
                <a:gd name="T23" fmla="*/ 192 h 288"/>
                <a:gd name="T24" fmla="*/ 21 w 289"/>
                <a:gd name="T25" fmla="*/ 106 h 288"/>
                <a:gd name="T26" fmla="*/ 106 w 289"/>
                <a:gd name="T27" fmla="*/ 21 h 288"/>
                <a:gd name="T28" fmla="*/ 192 w 289"/>
                <a:gd name="T29" fmla="*/ 106 h 288"/>
                <a:gd name="T30" fmla="*/ 106 w 289"/>
                <a:gd name="T31" fmla="*/ 19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9" h="288">
                  <a:moveTo>
                    <a:pt x="189" y="174"/>
                  </a:moveTo>
                  <a:cubicBezTo>
                    <a:pt x="204" y="155"/>
                    <a:pt x="213" y="132"/>
                    <a:pt x="213" y="106"/>
                  </a:cubicBezTo>
                  <a:cubicBezTo>
                    <a:pt x="213" y="48"/>
                    <a:pt x="165" y="0"/>
                    <a:pt x="106" y="0"/>
                  </a:cubicBezTo>
                  <a:cubicBezTo>
                    <a:pt x="48" y="0"/>
                    <a:pt x="0" y="48"/>
                    <a:pt x="0" y="106"/>
                  </a:cubicBezTo>
                  <a:cubicBezTo>
                    <a:pt x="0" y="165"/>
                    <a:pt x="48" y="213"/>
                    <a:pt x="106" y="213"/>
                  </a:cubicBezTo>
                  <a:cubicBezTo>
                    <a:pt x="132" y="213"/>
                    <a:pt x="155" y="204"/>
                    <a:pt x="174" y="189"/>
                  </a:cubicBezTo>
                  <a:cubicBezTo>
                    <a:pt x="269" y="285"/>
                    <a:pt x="269" y="285"/>
                    <a:pt x="269" y="285"/>
                  </a:cubicBezTo>
                  <a:cubicBezTo>
                    <a:pt x="272" y="287"/>
                    <a:pt x="274" y="288"/>
                    <a:pt x="277" y="288"/>
                  </a:cubicBezTo>
                  <a:cubicBezTo>
                    <a:pt x="280" y="288"/>
                    <a:pt x="282" y="287"/>
                    <a:pt x="285" y="285"/>
                  </a:cubicBezTo>
                  <a:cubicBezTo>
                    <a:pt x="289" y="280"/>
                    <a:pt x="289" y="274"/>
                    <a:pt x="285" y="269"/>
                  </a:cubicBezTo>
                  <a:lnTo>
                    <a:pt x="189" y="174"/>
                  </a:lnTo>
                  <a:close/>
                  <a:moveTo>
                    <a:pt x="106" y="192"/>
                  </a:moveTo>
                  <a:cubicBezTo>
                    <a:pt x="59" y="192"/>
                    <a:pt x="21" y="153"/>
                    <a:pt x="21" y="106"/>
                  </a:cubicBezTo>
                  <a:cubicBezTo>
                    <a:pt x="21" y="59"/>
                    <a:pt x="59" y="21"/>
                    <a:pt x="106" y="21"/>
                  </a:cubicBezTo>
                  <a:cubicBezTo>
                    <a:pt x="153" y="21"/>
                    <a:pt x="192" y="59"/>
                    <a:pt x="192" y="106"/>
                  </a:cubicBezTo>
                  <a:cubicBezTo>
                    <a:pt x="192" y="153"/>
                    <a:pt x="153" y="192"/>
                    <a:pt x="106" y="192"/>
                  </a:cubicBezTo>
                  <a:close/>
                </a:path>
              </a:pathLst>
            </a:custGeom>
            <a:grpFill/>
            <a:ln>
              <a:solidFill>
                <a:srgbClr val="007600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928"/>
            <p:cNvSpPr>
              <a:spLocks noEditPoints="1"/>
            </p:cNvSpPr>
            <p:nvPr/>
          </p:nvSpPr>
          <p:spPr bwMode="auto">
            <a:xfrm>
              <a:off x="1152" y="3440"/>
              <a:ext cx="348" cy="328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solidFill>
                <a:srgbClr val="007600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56729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 bwMode="auto">
          <a:xfrm>
            <a:off x="3066471" y="2382984"/>
            <a:ext cx="4320000" cy="193964"/>
          </a:xfrm>
          <a:prstGeom prst="rect">
            <a:avLst/>
          </a:prstGeom>
          <a:solidFill>
            <a:srgbClr val="FFEDB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15</a:t>
            </a:fld>
            <a:endParaRPr lang="it-IT" altLang="it-IT" dirty="0"/>
          </a:p>
        </p:txBody>
      </p:sp>
      <p:sp>
        <p:nvSpPr>
          <p:cNvPr id="3" name="CustomShape 3">
            <a:extLst>
              <a:ext uri="{FF2B5EF4-FFF2-40B4-BE49-F238E27FC236}">
                <a16:creationId xmlns:a16="http://schemas.microsoft.com/office/drawing/2014/main" id="{4BC9C766-0171-4316-9FE5-1742D5543257}"/>
              </a:ext>
            </a:extLst>
          </p:cNvPr>
          <p:cNvSpPr/>
          <p:nvPr/>
        </p:nvSpPr>
        <p:spPr>
          <a:xfrm>
            <a:off x="1047600" y="222120"/>
            <a:ext cx="8665560" cy="516600"/>
          </a:xfrm>
          <a:prstGeom prst="rect">
            <a:avLst/>
          </a:prstGeom>
          <a:noFill/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r">
              <a:lnSpc>
                <a:spcPct val="100000"/>
              </a:lnSpc>
            </a:pPr>
            <a:r>
              <a:rPr lang="it-IT" sz="2800" b="1" strike="noStrike" spc="-1" dirty="0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Indicazioni relative ai luoghi di consegna</a:t>
            </a:r>
            <a:endParaRPr lang="it-IT" sz="1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67826" y="951879"/>
            <a:ext cx="854533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 indicare il corretto punto di consegna, nell’ordine </a:t>
            </a:r>
            <a:r>
              <a:rPr lang="it-IT" sz="1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è necessario </a:t>
            </a:r>
            <a:r>
              <a:rPr lang="it-IT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lorizzare il segmento principale </a:t>
            </a:r>
            <a:r>
              <a:rPr lang="it-IT" sz="18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ivery.</a:t>
            </a:r>
            <a:endParaRPr lang="en-US" sz="1800" b="1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681016" y="5389956"/>
            <a:ext cx="7499927" cy="900000"/>
          </a:xfrm>
          <a:prstGeom prst="rect">
            <a:avLst/>
          </a:prstGeom>
          <a:solidFill>
            <a:srgbClr val="FFEDB3"/>
          </a:solidFill>
          <a:ln w="28575">
            <a:solidFill>
              <a:srgbClr val="FFC000"/>
            </a:solidFill>
            <a:prstDash val="solid"/>
          </a:ln>
        </p:spPr>
        <p:txBody>
          <a:bodyPr wrap="square">
            <a:spAutoFit/>
          </a:bodyPr>
          <a:lstStyle/>
          <a:p>
            <a:pPr algn="just"/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917510" y="1966369"/>
            <a:ext cx="5866263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lt;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ac:Delivery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    </a:t>
            </a:r>
            <a:r>
              <a:rPr lang="en-US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&lt;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ac:DeliveryLocation</a:t>
            </a:r>
            <a:r>
              <a:rPr lang="en-US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&lt;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ac:ID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schemeID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="0088</a:t>
            </a:r>
            <a:r>
              <a:rPr lang="en-US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"&gt;</a:t>
            </a:r>
            <a:r>
              <a:rPr lang="en-US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12345678901-acdg45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lt;/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ac:ID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r>
              <a:rPr lang="en-US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      &lt;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ac:Address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r>
              <a:rPr lang="en-US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           &lt;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bc:StreetName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Via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Attanasio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Soldati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80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lt;/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bc:StreetName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r>
              <a:rPr lang="en-US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           &lt;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bc:AdditionalStreetName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Località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Rustica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lt;/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bc:AdditionalStreetName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r>
              <a:rPr lang="en-US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           &lt;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bc:CityName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Roma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lt;/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bc:CityName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r>
              <a:rPr lang="en-US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           &lt;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bc:PostalZone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00155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lt;/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bc:PostalZone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r>
              <a:rPr lang="en-US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           &lt;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bc:CountrySbentity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Lazio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lt;/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bc:CountrySubentity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r>
              <a:rPr lang="en-US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                &lt;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ac:AddressLine</a:t>
            </a:r>
            <a:r>
              <a:rPr lang="en-US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                    &lt;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bc:Line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Edificio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C, </a:t>
            </a:r>
            <a:r>
              <a:rPr lang="en-US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Quarto 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piano, Stanza 01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lt;/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bc:Line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               &lt;/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ac:AddressLine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                    &lt;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ac:Country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                         &lt;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bc:IdentificationCode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IT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lt;/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bc:IdentificationCode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r>
              <a:rPr lang="en-US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                     &lt;/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ac:Country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r>
              <a:rPr lang="en-US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 &lt;/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ac:Address</a:t>
            </a:r>
            <a:r>
              <a:rPr lang="en-US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&lt;/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ac:DeliveryLocation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  <a:p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lt;/</a:t>
            </a:r>
            <a:r>
              <a:rPr lang="en-US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cac:Delivery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</p:txBody>
      </p:sp>
      <p:sp>
        <p:nvSpPr>
          <p:cNvPr id="10" name="Rectangle 9"/>
          <p:cNvSpPr/>
          <p:nvPr/>
        </p:nvSpPr>
        <p:spPr>
          <a:xfrm>
            <a:off x="2369990" y="1674297"/>
            <a:ext cx="17485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it-IT" sz="1800" b="1" u="sng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18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</a:t>
            </a:r>
            <a:r>
              <a:rPr lang="it-IT" sz="1800" b="1" u="sng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EMPIO </a:t>
            </a:r>
            <a:r>
              <a:rPr lang="it-IT" sz="1800" b="1" u="sng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ML</a:t>
            </a:r>
            <a:endParaRPr lang="en-US" sz="1800" b="1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" name="Group 650"/>
          <p:cNvGrpSpPr>
            <a:grpSpLocks noChangeAspect="1"/>
          </p:cNvGrpSpPr>
          <p:nvPr/>
        </p:nvGrpSpPr>
        <p:grpSpPr bwMode="auto">
          <a:xfrm>
            <a:off x="2020615" y="1602304"/>
            <a:ext cx="540000" cy="540000"/>
            <a:chOff x="6224" y="2372"/>
            <a:chExt cx="340" cy="340"/>
          </a:xfrm>
          <a:solidFill>
            <a:srgbClr val="C00000"/>
          </a:solidFill>
        </p:grpSpPr>
        <p:sp>
          <p:nvSpPr>
            <p:cNvPr id="15" name="Freeform 651"/>
            <p:cNvSpPr>
              <a:spLocks noEditPoints="1"/>
            </p:cNvSpPr>
            <p:nvPr/>
          </p:nvSpPr>
          <p:spPr bwMode="auto">
            <a:xfrm>
              <a:off x="6330" y="2450"/>
              <a:ext cx="128" cy="184"/>
            </a:xfrm>
            <a:custGeom>
              <a:avLst/>
              <a:gdLst>
                <a:gd name="T0" fmla="*/ 117 w 192"/>
                <a:gd name="T1" fmla="*/ 64 h 277"/>
                <a:gd name="T2" fmla="*/ 117 w 192"/>
                <a:gd name="T3" fmla="*/ 0 h 277"/>
                <a:gd name="T4" fmla="*/ 0 w 192"/>
                <a:gd name="T5" fmla="*/ 0 h 277"/>
                <a:gd name="T6" fmla="*/ 0 w 192"/>
                <a:gd name="T7" fmla="*/ 277 h 277"/>
                <a:gd name="T8" fmla="*/ 192 w 192"/>
                <a:gd name="T9" fmla="*/ 277 h 277"/>
                <a:gd name="T10" fmla="*/ 192 w 192"/>
                <a:gd name="T11" fmla="*/ 75 h 277"/>
                <a:gd name="T12" fmla="*/ 128 w 192"/>
                <a:gd name="T13" fmla="*/ 75 h 277"/>
                <a:gd name="T14" fmla="*/ 117 w 192"/>
                <a:gd name="T15" fmla="*/ 64 h 277"/>
                <a:gd name="T16" fmla="*/ 21 w 192"/>
                <a:gd name="T17" fmla="*/ 128 h 277"/>
                <a:gd name="T18" fmla="*/ 26 w 192"/>
                <a:gd name="T19" fmla="*/ 119 h 277"/>
                <a:gd name="T20" fmla="*/ 58 w 192"/>
                <a:gd name="T21" fmla="*/ 98 h 277"/>
                <a:gd name="T22" fmla="*/ 73 w 192"/>
                <a:gd name="T23" fmla="*/ 101 h 277"/>
                <a:gd name="T24" fmla="*/ 70 w 192"/>
                <a:gd name="T25" fmla="*/ 116 h 277"/>
                <a:gd name="T26" fmla="*/ 51 w 192"/>
                <a:gd name="T27" fmla="*/ 128 h 277"/>
                <a:gd name="T28" fmla="*/ 70 w 192"/>
                <a:gd name="T29" fmla="*/ 140 h 277"/>
                <a:gd name="T30" fmla="*/ 73 w 192"/>
                <a:gd name="T31" fmla="*/ 155 h 277"/>
                <a:gd name="T32" fmla="*/ 64 w 192"/>
                <a:gd name="T33" fmla="*/ 160 h 277"/>
                <a:gd name="T34" fmla="*/ 58 w 192"/>
                <a:gd name="T35" fmla="*/ 158 h 277"/>
                <a:gd name="T36" fmla="*/ 26 w 192"/>
                <a:gd name="T37" fmla="*/ 137 h 277"/>
                <a:gd name="T38" fmla="*/ 21 w 192"/>
                <a:gd name="T39" fmla="*/ 128 h 277"/>
                <a:gd name="T40" fmla="*/ 170 w 192"/>
                <a:gd name="T41" fmla="*/ 203 h 277"/>
                <a:gd name="T42" fmla="*/ 166 w 192"/>
                <a:gd name="T43" fmla="*/ 212 h 277"/>
                <a:gd name="T44" fmla="*/ 134 w 192"/>
                <a:gd name="T45" fmla="*/ 233 h 277"/>
                <a:gd name="T46" fmla="*/ 128 w 192"/>
                <a:gd name="T47" fmla="*/ 235 h 277"/>
                <a:gd name="T48" fmla="*/ 119 w 192"/>
                <a:gd name="T49" fmla="*/ 230 h 277"/>
                <a:gd name="T50" fmla="*/ 122 w 192"/>
                <a:gd name="T51" fmla="*/ 215 h 277"/>
                <a:gd name="T52" fmla="*/ 140 w 192"/>
                <a:gd name="T53" fmla="*/ 203 h 277"/>
                <a:gd name="T54" fmla="*/ 122 w 192"/>
                <a:gd name="T55" fmla="*/ 190 h 277"/>
                <a:gd name="T56" fmla="*/ 119 w 192"/>
                <a:gd name="T57" fmla="*/ 175 h 277"/>
                <a:gd name="T58" fmla="*/ 134 w 192"/>
                <a:gd name="T59" fmla="*/ 172 h 277"/>
                <a:gd name="T60" fmla="*/ 166 w 192"/>
                <a:gd name="T61" fmla="*/ 194 h 277"/>
                <a:gd name="T62" fmla="*/ 170 w 192"/>
                <a:gd name="T63" fmla="*/ 203 h 277"/>
                <a:gd name="T64" fmla="*/ 134 w 192"/>
                <a:gd name="T65" fmla="*/ 108 h 277"/>
                <a:gd name="T66" fmla="*/ 137 w 192"/>
                <a:gd name="T67" fmla="*/ 123 h 277"/>
                <a:gd name="T68" fmla="*/ 73 w 192"/>
                <a:gd name="T69" fmla="*/ 219 h 277"/>
                <a:gd name="T70" fmla="*/ 64 w 192"/>
                <a:gd name="T71" fmla="*/ 224 h 277"/>
                <a:gd name="T72" fmla="*/ 58 w 192"/>
                <a:gd name="T73" fmla="*/ 222 h 277"/>
                <a:gd name="T74" fmla="*/ 55 w 192"/>
                <a:gd name="T75" fmla="*/ 207 h 277"/>
                <a:gd name="T76" fmla="*/ 119 w 192"/>
                <a:gd name="T77" fmla="*/ 111 h 277"/>
                <a:gd name="T78" fmla="*/ 134 w 192"/>
                <a:gd name="T79" fmla="*/ 108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2" h="277">
                  <a:moveTo>
                    <a:pt x="117" y="64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192" y="277"/>
                    <a:pt x="192" y="277"/>
                    <a:pt x="192" y="277"/>
                  </a:cubicBezTo>
                  <a:cubicBezTo>
                    <a:pt x="192" y="75"/>
                    <a:pt x="192" y="75"/>
                    <a:pt x="192" y="75"/>
                  </a:cubicBezTo>
                  <a:cubicBezTo>
                    <a:pt x="128" y="75"/>
                    <a:pt x="128" y="75"/>
                    <a:pt x="128" y="75"/>
                  </a:cubicBezTo>
                  <a:cubicBezTo>
                    <a:pt x="122" y="75"/>
                    <a:pt x="117" y="70"/>
                    <a:pt x="117" y="64"/>
                  </a:cubicBezTo>
                  <a:close/>
                  <a:moveTo>
                    <a:pt x="21" y="128"/>
                  </a:moveTo>
                  <a:cubicBezTo>
                    <a:pt x="21" y="124"/>
                    <a:pt x="23" y="121"/>
                    <a:pt x="26" y="119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63" y="95"/>
                    <a:pt x="69" y="96"/>
                    <a:pt x="73" y="101"/>
                  </a:cubicBezTo>
                  <a:cubicBezTo>
                    <a:pt x="76" y="106"/>
                    <a:pt x="74" y="112"/>
                    <a:pt x="70" y="116"/>
                  </a:cubicBezTo>
                  <a:cubicBezTo>
                    <a:pt x="51" y="128"/>
                    <a:pt x="51" y="128"/>
                    <a:pt x="51" y="128"/>
                  </a:cubicBezTo>
                  <a:cubicBezTo>
                    <a:pt x="70" y="140"/>
                    <a:pt x="70" y="140"/>
                    <a:pt x="70" y="140"/>
                  </a:cubicBezTo>
                  <a:cubicBezTo>
                    <a:pt x="74" y="144"/>
                    <a:pt x="76" y="150"/>
                    <a:pt x="73" y="155"/>
                  </a:cubicBezTo>
                  <a:cubicBezTo>
                    <a:pt x="70" y="158"/>
                    <a:pt x="67" y="160"/>
                    <a:pt x="64" y="160"/>
                  </a:cubicBezTo>
                  <a:cubicBezTo>
                    <a:pt x="62" y="160"/>
                    <a:pt x="60" y="159"/>
                    <a:pt x="58" y="158"/>
                  </a:cubicBezTo>
                  <a:cubicBezTo>
                    <a:pt x="26" y="137"/>
                    <a:pt x="26" y="137"/>
                    <a:pt x="26" y="137"/>
                  </a:cubicBezTo>
                  <a:cubicBezTo>
                    <a:pt x="23" y="135"/>
                    <a:pt x="21" y="132"/>
                    <a:pt x="21" y="128"/>
                  </a:cubicBezTo>
                  <a:close/>
                  <a:moveTo>
                    <a:pt x="170" y="203"/>
                  </a:moveTo>
                  <a:cubicBezTo>
                    <a:pt x="170" y="206"/>
                    <a:pt x="169" y="210"/>
                    <a:pt x="166" y="212"/>
                  </a:cubicBezTo>
                  <a:cubicBezTo>
                    <a:pt x="134" y="233"/>
                    <a:pt x="134" y="233"/>
                    <a:pt x="134" y="233"/>
                  </a:cubicBezTo>
                  <a:cubicBezTo>
                    <a:pt x="132" y="234"/>
                    <a:pt x="130" y="235"/>
                    <a:pt x="128" y="235"/>
                  </a:cubicBezTo>
                  <a:cubicBezTo>
                    <a:pt x="124" y="235"/>
                    <a:pt x="121" y="233"/>
                    <a:pt x="119" y="230"/>
                  </a:cubicBezTo>
                  <a:cubicBezTo>
                    <a:pt x="116" y="225"/>
                    <a:pt x="117" y="218"/>
                    <a:pt x="122" y="21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17" y="187"/>
                    <a:pt x="116" y="180"/>
                    <a:pt x="119" y="175"/>
                  </a:cubicBezTo>
                  <a:cubicBezTo>
                    <a:pt x="122" y="171"/>
                    <a:pt x="129" y="169"/>
                    <a:pt x="134" y="172"/>
                  </a:cubicBezTo>
                  <a:cubicBezTo>
                    <a:pt x="166" y="194"/>
                    <a:pt x="166" y="194"/>
                    <a:pt x="166" y="194"/>
                  </a:cubicBezTo>
                  <a:cubicBezTo>
                    <a:pt x="169" y="196"/>
                    <a:pt x="170" y="199"/>
                    <a:pt x="170" y="203"/>
                  </a:cubicBezTo>
                  <a:close/>
                  <a:moveTo>
                    <a:pt x="134" y="108"/>
                  </a:moveTo>
                  <a:cubicBezTo>
                    <a:pt x="138" y="112"/>
                    <a:pt x="140" y="118"/>
                    <a:pt x="137" y="123"/>
                  </a:cubicBezTo>
                  <a:cubicBezTo>
                    <a:pt x="73" y="219"/>
                    <a:pt x="73" y="219"/>
                    <a:pt x="73" y="219"/>
                  </a:cubicBezTo>
                  <a:cubicBezTo>
                    <a:pt x="70" y="222"/>
                    <a:pt x="67" y="224"/>
                    <a:pt x="64" y="224"/>
                  </a:cubicBezTo>
                  <a:cubicBezTo>
                    <a:pt x="62" y="224"/>
                    <a:pt x="60" y="223"/>
                    <a:pt x="58" y="222"/>
                  </a:cubicBezTo>
                  <a:cubicBezTo>
                    <a:pt x="53" y="219"/>
                    <a:pt x="52" y="212"/>
                    <a:pt x="55" y="207"/>
                  </a:cubicBezTo>
                  <a:cubicBezTo>
                    <a:pt x="119" y="111"/>
                    <a:pt x="119" y="111"/>
                    <a:pt x="119" y="111"/>
                  </a:cubicBezTo>
                  <a:cubicBezTo>
                    <a:pt x="122" y="107"/>
                    <a:pt x="129" y="105"/>
                    <a:pt x="134" y="108"/>
                  </a:cubicBezTo>
                  <a:close/>
                </a:path>
              </a:pathLst>
            </a:custGeom>
            <a:solidFill>
              <a:srgbClr val="007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652"/>
            <p:cNvSpPr>
              <a:spLocks noEditPoints="1"/>
            </p:cNvSpPr>
            <p:nvPr/>
          </p:nvSpPr>
          <p:spPr bwMode="auto">
            <a:xfrm>
              <a:off x="6224" y="2372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73 w 512"/>
                <a:gd name="T11" fmla="*/ 181 h 512"/>
                <a:gd name="T12" fmla="*/ 373 w 512"/>
                <a:gd name="T13" fmla="*/ 405 h 512"/>
                <a:gd name="T14" fmla="*/ 362 w 512"/>
                <a:gd name="T15" fmla="*/ 416 h 512"/>
                <a:gd name="T16" fmla="*/ 149 w 512"/>
                <a:gd name="T17" fmla="*/ 416 h 512"/>
                <a:gd name="T18" fmla="*/ 138 w 512"/>
                <a:gd name="T19" fmla="*/ 405 h 512"/>
                <a:gd name="T20" fmla="*/ 138 w 512"/>
                <a:gd name="T21" fmla="*/ 106 h 512"/>
                <a:gd name="T22" fmla="*/ 149 w 512"/>
                <a:gd name="T23" fmla="*/ 96 h 512"/>
                <a:gd name="T24" fmla="*/ 288 w 512"/>
                <a:gd name="T25" fmla="*/ 96 h 512"/>
                <a:gd name="T26" fmla="*/ 295 w 512"/>
                <a:gd name="T27" fmla="*/ 98 h 512"/>
                <a:gd name="T28" fmla="*/ 295 w 512"/>
                <a:gd name="T29" fmla="*/ 98 h 512"/>
                <a:gd name="T30" fmla="*/ 295 w 512"/>
                <a:gd name="T31" fmla="*/ 98 h 512"/>
                <a:gd name="T32" fmla="*/ 295 w 512"/>
                <a:gd name="T33" fmla="*/ 99 h 512"/>
                <a:gd name="T34" fmla="*/ 370 w 512"/>
                <a:gd name="T35" fmla="*/ 173 h 512"/>
                <a:gd name="T36" fmla="*/ 372 w 512"/>
                <a:gd name="T37" fmla="*/ 177 h 512"/>
                <a:gd name="T38" fmla="*/ 373 w 512"/>
                <a:gd name="T39" fmla="*/ 181 h 512"/>
                <a:gd name="T40" fmla="*/ 373 w 512"/>
                <a:gd name="T41" fmla="*/ 18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73" y="181"/>
                  </a:moveTo>
                  <a:cubicBezTo>
                    <a:pt x="373" y="405"/>
                    <a:pt x="373" y="405"/>
                    <a:pt x="373" y="405"/>
                  </a:cubicBez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106"/>
                    <a:pt x="138" y="106"/>
                    <a:pt x="138" y="106"/>
                  </a:cubicBezTo>
                  <a:cubicBezTo>
                    <a:pt x="138" y="100"/>
                    <a:pt x="143" y="96"/>
                    <a:pt x="149" y="96"/>
                  </a:cubicBezTo>
                  <a:cubicBezTo>
                    <a:pt x="288" y="96"/>
                    <a:pt x="288" y="96"/>
                    <a:pt x="288" y="96"/>
                  </a:cubicBezTo>
                  <a:cubicBezTo>
                    <a:pt x="290" y="96"/>
                    <a:pt x="293" y="97"/>
                    <a:pt x="295" y="98"/>
                  </a:cubicBezTo>
                  <a:cubicBezTo>
                    <a:pt x="295" y="98"/>
                    <a:pt x="295" y="98"/>
                    <a:pt x="295" y="98"/>
                  </a:cubicBezTo>
                  <a:cubicBezTo>
                    <a:pt x="295" y="98"/>
                    <a:pt x="295" y="98"/>
                    <a:pt x="295" y="98"/>
                  </a:cubicBezTo>
                  <a:cubicBezTo>
                    <a:pt x="295" y="99"/>
                    <a:pt x="295" y="99"/>
                    <a:pt x="295" y="99"/>
                  </a:cubicBezTo>
                  <a:cubicBezTo>
                    <a:pt x="370" y="173"/>
                    <a:pt x="370" y="173"/>
                    <a:pt x="370" y="173"/>
                  </a:cubicBezTo>
                  <a:cubicBezTo>
                    <a:pt x="371" y="174"/>
                    <a:pt x="372" y="176"/>
                    <a:pt x="372" y="177"/>
                  </a:cubicBezTo>
                  <a:cubicBezTo>
                    <a:pt x="373" y="178"/>
                    <a:pt x="373" y="180"/>
                    <a:pt x="373" y="181"/>
                  </a:cubicBezTo>
                  <a:cubicBezTo>
                    <a:pt x="373" y="181"/>
                    <a:pt x="373" y="181"/>
                    <a:pt x="373" y="181"/>
                  </a:cubicBezTo>
                  <a:close/>
                </a:path>
              </a:pathLst>
            </a:custGeom>
            <a:solidFill>
              <a:srgbClr val="007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653"/>
            <p:cNvSpPr>
              <a:spLocks/>
            </p:cNvSpPr>
            <p:nvPr/>
          </p:nvSpPr>
          <p:spPr bwMode="auto">
            <a:xfrm>
              <a:off x="6422" y="2460"/>
              <a:ext cx="26" cy="25"/>
            </a:xfrm>
            <a:custGeom>
              <a:avLst/>
              <a:gdLst>
                <a:gd name="T0" fmla="*/ 0 w 26"/>
                <a:gd name="T1" fmla="*/ 0 h 25"/>
                <a:gd name="T2" fmla="*/ 0 w 26"/>
                <a:gd name="T3" fmla="*/ 25 h 25"/>
                <a:gd name="T4" fmla="*/ 26 w 26"/>
                <a:gd name="T5" fmla="*/ 25 h 25"/>
                <a:gd name="T6" fmla="*/ 0 w 26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5">
                  <a:moveTo>
                    <a:pt x="0" y="0"/>
                  </a:moveTo>
                  <a:lnTo>
                    <a:pt x="0" y="25"/>
                  </a:lnTo>
                  <a:lnTo>
                    <a:pt x="26" y="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1" name="Rectangle 30"/>
          <p:cNvSpPr/>
          <p:nvPr/>
        </p:nvSpPr>
        <p:spPr>
          <a:xfrm>
            <a:off x="2096653" y="5406984"/>
            <a:ext cx="70104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L'elemento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facoltativo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ID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present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nel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segmento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DeliveryLocation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dev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esser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valorizzato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con la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coppia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CodiceFiscale-IDshipto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dove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IDshipto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rappresenta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il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codic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univoco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del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punto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 di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consegna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di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un'azienda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sp>
        <p:nvSpPr>
          <p:cNvPr id="33" name="Oval 32"/>
          <p:cNvSpPr/>
          <p:nvPr/>
        </p:nvSpPr>
        <p:spPr bwMode="auto">
          <a:xfrm>
            <a:off x="1411016" y="5598649"/>
            <a:ext cx="540000" cy="5400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32" name="Freeform 153"/>
          <p:cNvSpPr>
            <a:spLocks noChangeAspect="1" noEditPoints="1"/>
          </p:cNvSpPr>
          <p:nvPr/>
        </p:nvSpPr>
        <p:spPr bwMode="auto">
          <a:xfrm>
            <a:off x="1421652" y="5598649"/>
            <a:ext cx="540000" cy="540000"/>
          </a:xfrm>
          <a:custGeom>
            <a:avLst/>
            <a:gdLst>
              <a:gd name="T0" fmla="*/ 378 w 512"/>
              <a:gd name="T1" fmla="*/ 181 h 512"/>
              <a:gd name="T2" fmla="*/ 256 w 512"/>
              <a:gd name="T3" fmla="*/ 233 h 512"/>
              <a:gd name="T4" fmla="*/ 208 w 512"/>
              <a:gd name="T5" fmla="*/ 213 h 512"/>
              <a:gd name="T6" fmla="*/ 330 w 512"/>
              <a:gd name="T7" fmla="*/ 161 h 512"/>
              <a:gd name="T8" fmla="*/ 378 w 512"/>
              <a:gd name="T9" fmla="*/ 181 h 512"/>
              <a:gd name="T10" fmla="*/ 303 w 512"/>
              <a:gd name="T11" fmla="*/ 149 h 512"/>
              <a:gd name="T12" fmla="*/ 256 w 512"/>
              <a:gd name="T13" fmla="*/ 129 h 512"/>
              <a:gd name="T14" fmla="*/ 133 w 512"/>
              <a:gd name="T15" fmla="*/ 181 h 512"/>
              <a:gd name="T16" fmla="*/ 181 w 512"/>
              <a:gd name="T17" fmla="*/ 201 h 512"/>
              <a:gd name="T18" fmla="*/ 303 w 512"/>
              <a:gd name="T19" fmla="*/ 149 h 512"/>
              <a:gd name="T20" fmla="*/ 117 w 512"/>
              <a:gd name="T21" fmla="*/ 324 h 512"/>
              <a:gd name="T22" fmla="*/ 245 w 512"/>
              <a:gd name="T23" fmla="*/ 388 h 512"/>
              <a:gd name="T24" fmla="*/ 245 w 512"/>
              <a:gd name="T25" fmla="*/ 252 h 512"/>
              <a:gd name="T26" fmla="*/ 117 w 512"/>
              <a:gd name="T27" fmla="*/ 197 h 512"/>
              <a:gd name="T28" fmla="*/ 117 w 512"/>
              <a:gd name="T29" fmla="*/ 324 h 512"/>
              <a:gd name="T30" fmla="*/ 334 w 512"/>
              <a:gd name="T31" fmla="*/ 292 h 512"/>
              <a:gd name="T32" fmla="*/ 309 w 512"/>
              <a:gd name="T33" fmla="*/ 302 h 512"/>
              <a:gd name="T34" fmla="*/ 309 w 512"/>
              <a:gd name="T35" fmla="*/ 325 h 512"/>
              <a:gd name="T36" fmla="*/ 334 w 512"/>
              <a:gd name="T37" fmla="*/ 314 h 512"/>
              <a:gd name="T38" fmla="*/ 334 w 512"/>
              <a:gd name="T39" fmla="*/ 292 h 512"/>
              <a:gd name="T40" fmla="*/ 266 w 512"/>
              <a:gd name="T41" fmla="*/ 252 h 512"/>
              <a:gd name="T42" fmla="*/ 394 w 512"/>
              <a:gd name="T43" fmla="*/ 197 h 512"/>
              <a:gd name="T44" fmla="*/ 394 w 512"/>
              <a:gd name="T45" fmla="*/ 334 h 512"/>
              <a:gd name="T46" fmla="*/ 266 w 512"/>
              <a:gd name="T47" fmla="*/ 389 h 512"/>
              <a:gd name="T48" fmla="*/ 266 w 512"/>
              <a:gd name="T49" fmla="*/ 252 h 512"/>
              <a:gd name="T50" fmla="*/ 288 w 512"/>
              <a:gd name="T51" fmla="*/ 341 h 512"/>
              <a:gd name="T52" fmla="*/ 292 w 512"/>
              <a:gd name="T53" fmla="*/ 350 h 512"/>
              <a:gd name="T54" fmla="*/ 298 w 512"/>
              <a:gd name="T55" fmla="*/ 352 h 512"/>
              <a:gd name="T56" fmla="*/ 303 w 512"/>
              <a:gd name="T57" fmla="*/ 351 h 512"/>
              <a:gd name="T58" fmla="*/ 348 w 512"/>
              <a:gd name="T59" fmla="*/ 331 h 512"/>
              <a:gd name="T60" fmla="*/ 355 w 512"/>
              <a:gd name="T61" fmla="*/ 321 h 512"/>
              <a:gd name="T62" fmla="*/ 355 w 512"/>
              <a:gd name="T63" fmla="*/ 275 h 512"/>
              <a:gd name="T64" fmla="*/ 350 w 512"/>
              <a:gd name="T65" fmla="*/ 267 h 512"/>
              <a:gd name="T66" fmla="*/ 340 w 512"/>
              <a:gd name="T67" fmla="*/ 266 h 512"/>
              <a:gd name="T68" fmla="*/ 294 w 512"/>
              <a:gd name="T69" fmla="*/ 285 h 512"/>
              <a:gd name="T70" fmla="*/ 288 w 512"/>
              <a:gd name="T71" fmla="*/ 295 h 512"/>
              <a:gd name="T72" fmla="*/ 288 w 512"/>
              <a:gd name="T73" fmla="*/ 341 h 512"/>
              <a:gd name="T74" fmla="*/ 512 w 512"/>
              <a:gd name="T75" fmla="*/ 256 h 512"/>
              <a:gd name="T76" fmla="*/ 256 w 512"/>
              <a:gd name="T77" fmla="*/ 512 h 512"/>
              <a:gd name="T78" fmla="*/ 0 w 512"/>
              <a:gd name="T79" fmla="*/ 256 h 512"/>
              <a:gd name="T80" fmla="*/ 256 w 512"/>
              <a:gd name="T81" fmla="*/ 0 h 512"/>
              <a:gd name="T82" fmla="*/ 512 w 512"/>
              <a:gd name="T83" fmla="*/ 256 h 512"/>
              <a:gd name="T84" fmla="*/ 416 w 512"/>
              <a:gd name="T85" fmla="*/ 181 h 512"/>
              <a:gd name="T86" fmla="*/ 409 w 512"/>
              <a:gd name="T87" fmla="*/ 171 h 512"/>
              <a:gd name="T88" fmla="*/ 260 w 512"/>
              <a:gd name="T89" fmla="*/ 107 h 512"/>
              <a:gd name="T90" fmla="*/ 251 w 512"/>
              <a:gd name="T91" fmla="*/ 107 h 512"/>
              <a:gd name="T92" fmla="*/ 102 w 512"/>
              <a:gd name="T93" fmla="*/ 171 h 512"/>
              <a:gd name="T94" fmla="*/ 102 w 512"/>
              <a:gd name="T95" fmla="*/ 171 h 512"/>
              <a:gd name="T96" fmla="*/ 102 w 512"/>
              <a:gd name="T97" fmla="*/ 171 h 512"/>
              <a:gd name="T98" fmla="*/ 102 w 512"/>
              <a:gd name="T99" fmla="*/ 171 h 512"/>
              <a:gd name="T100" fmla="*/ 96 w 512"/>
              <a:gd name="T101" fmla="*/ 181 h 512"/>
              <a:gd name="T102" fmla="*/ 96 w 512"/>
              <a:gd name="T103" fmla="*/ 330 h 512"/>
              <a:gd name="T104" fmla="*/ 102 w 512"/>
              <a:gd name="T105" fmla="*/ 340 h 512"/>
              <a:gd name="T106" fmla="*/ 251 w 512"/>
              <a:gd name="T107" fmla="*/ 415 h 512"/>
              <a:gd name="T108" fmla="*/ 256 w 512"/>
              <a:gd name="T109" fmla="*/ 416 h 512"/>
              <a:gd name="T110" fmla="*/ 256 w 512"/>
              <a:gd name="T111" fmla="*/ 416 h 512"/>
              <a:gd name="T112" fmla="*/ 256 w 512"/>
              <a:gd name="T113" fmla="*/ 416 h 512"/>
              <a:gd name="T114" fmla="*/ 256 w 512"/>
              <a:gd name="T115" fmla="*/ 416 h 512"/>
              <a:gd name="T116" fmla="*/ 259 w 512"/>
              <a:gd name="T117" fmla="*/ 415 h 512"/>
              <a:gd name="T118" fmla="*/ 260 w 512"/>
              <a:gd name="T119" fmla="*/ 415 h 512"/>
              <a:gd name="T120" fmla="*/ 409 w 512"/>
              <a:gd name="T121" fmla="*/ 351 h 512"/>
              <a:gd name="T122" fmla="*/ 416 w 512"/>
              <a:gd name="T123" fmla="*/ 341 h 512"/>
              <a:gd name="T124" fmla="*/ 416 w 512"/>
              <a:gd name="T125" fmla="*/ 18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2" h="512">
                <a:moveTo>
                  <a:pt x="378" y="181"/>
                </a:moveTo>
                <a:cubicBezTo>
                  <a:pt x="256" y="233"/>
                  <a:pt x="256" y="233"/>
                  <a:pt x="256" y="233"/>
                </a:cubicBezTo>
                <a:cubicBezTo>
                  <a:pt x="208" y="213"/>
                  <a:pt x="208" y="213"/>
                  <a:pt x="208" y="213"/>
                </a:cubicBezTo>
                <a:cubicBezTo>
                  <a:pt x="330" y="161"/>
                  <a:pt x="330" y="161"/>
                  <a:pt x="330" y="161"/>
                </a:cubicBezTo>
                <a:lnTo>
                  <a:pt x="378" y="181"/>
                </a:lnTo>
                <a:close/>
                <a:moveTo>
                  <a:pt x="303" y="149"/>
                </a:moveTo>
                <a:cubicBezTo>
                  <a:pt x="256" y="129"/>
                  <a:pt x="256" y="129"/>
                  <a:pt x="256" y="129"/>
                </a:cubicBezTo>
                <a:cubicBezTo>
                  <a:pt x="133" y="181"/>
                  <a:pt x="133" y="181"/>
                  <a:pt x="133" y="181"/>
                </a:cubicBezTo>
                <a:cubicBezTo>
                  <a:pt x="181" y="201"/>
                  <a:pt x="181" y="201"/>
                  <a:pt x="181" y="201"/>
                </a:cubicBezTo>
                <a:lnTo>
                  <a:pt x="303" y="149"/>
                </a:lnTo>
                <a:close/>
                <a:moveTo>
                  <a:pt x="117" y="324"/>
                </a:moveTo>
                <a:cubicBezTo>
                  <a:pt x="245" y="388"/>
                  <a:pt x="245" y="388"/>
                  <a:pt x="245" y="388"/>
                </a:cubicBezTo>
                <a:cubicBezTo>
                  <a:pt x="245" y="252"/>
                  <a:pt x="245" y="252"/>
                  <a:pt x="245" y="252"/>
                </a:cubicBezTo>
                <a:cubicBezTo>
                  <a:pt x="117" y="197"/>
                  <a:pt x="117" y="197"/>
                  <a:pt x="117" y="197"/>
                </a:cubicBezTo>
                <a:lnTo>
                  <a:pt x="117" y="324"/>
                </a:lnTo>
                <a:close/>
                <a:moveTo>
                  <a:pt x="334" y="292"/>
                </a:moveTo>
                <a:cubicBezTo>
                  <a:pt x="309" y="302"/>
                  <a:pt x="309" y="302"/>
                  <a:pt x="309" y="302"/>
                </a:cubicBezTo>
                <a:cubicBezTo>
                  <a:pt x="309" y="325"/>
                  <a:pt x="309" y="325"/>
                  <a:pt x="309" y="325"/>
                </a:cubicBezTo>
                <a:cubicBezTo>
                  <a:pt x="334" y="314"/>
                  <a:pt x="334" y="314"/>
                  <a:pt x="334" y="314"/>
                </a:cubicBezTo>
                <a:lnTo>
                  <a:pt x="334" y="292"/>
                </a:lnTo>
                <a:close/>
                <a:moveTo>
                  <a:pt x="266" y="252"/>
                </a:moveTo>
                <a:cubicBezTo>
                  <a:pt x="394" y="197"/>
                  <a:pt x="394" y="197"/>
                  <a:pt x="394" y="197"/>
                </a:cubicBezTo>
                <a:cubicBezTo>
                  <a:pt x="394" y="223"/>
                  <a:pt x="394" y="334"/>
                  <a:pt x="394" y="334"/>
                </a:cubicBezTo>
                <a:cubicBezTo>
                  <a:pt x="266" y="389"/>
                  <a:pt x="266" y="389"/>
                  <a:pt x="266" y="389"/>
                </a:cubicBezTo>
                <a:lnTo>
                  <a:pt x="266" y="252"/>
                </a:lnTo>
                <a:close/>
                <a:moveTo>
                  <a:pt x="288" y="341"/>
                </a:moveTo>
                <a:cubicBezTo>
                  <a:pt x="288" y="345"/>
                  <a:pt x="289" y="348"/>
                  <a:pt x="292" y="350"/>
                </a:cubicBezTo>
                <a:cubicBezTo>
                  <a:pt x="294" y="351"/>
                  <a:pt x="296" y="352"/>
                  <a:pt x="298" y="352"/>
                </a:cubicBezTo>
                <a:cubicBezTo>
                  <a:pt x="300" y="352"/>
                  <a:pt x="301" y="351"/>
                  <a:pt x="303" y="351"/>
                </a:cubicBezTo>
                <a:cubicBezTo>
                  <a:pt x="348" y="331"/>
                  <a:pt x="348" y="331"/>
                  <a:pt x="348" y="331"/>
                </a:cubicBezTo>
                <a:cubicBezTo>
                  <a:pt x="352" y="329"/>
                  <a:pt x="355" y="326"/>
                  <a:pt x="355" y="321"/>
                </a:cubicBezTo>
                <a:cubicBezTo>
                  <a:pt x="355" y="275"/>
                  <a:pt x="355" y="275"/>
                  <a:pt x="355" y="275"/>
                </a:cubicBezTo>
                <a:cubicBezTo>
                  <a:pt x="355" y="272"/>
                  <a:pt x="353" y="269"/>
                  <a:pt x="350" y="267"/>
                </a:cubicBezTo>
                <a:cubicBezTo>
                  <a:pt x="347" y="265"/>
                  <a:pt x="343" y="264"/>
                  <a:pt x="340" y="266"/>
                </a:cubicBezTo>
                <a:cubicBezTo>
                  <a:pt x="294" y="285"/>
                  <a:pt x="294" y="285"/>
                  <a:pt x="294" y="285"/>
                </a:cubicBezTo>
                <a:cubicBezTo>
                  <a:pt x="290" y="287"/>
                  <a:pt x="288" y="291"/>
                  <a:pt x="288" y="295"/>
                </a:cubicBezTo>
                <a:lnTo>
                  <a:pt x="288" y="341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181"/>
                </a:moveTo>
                <a:cubicBezTo>
                  <a:pt x="416" y="177"/>
                  <a:pt x="413" y="173"/>
                  <a:pt x="409" y="171"/>
                </a:cubicBezTo>
                <a:cubicBezTo>
                  <a:pt x="260" y="107"/>
                  <a:pt x="260" y="107"/>
                  <a:pt x="260" y="107"/>
                </a:cubicBezTo>
                <a:cubicBezTo>
                  <a:pt x="257" y="106"/>
                  <a:pt x="254" y="106"/>
                  <a:pt x="251" y="107"/>
                </a:cubicBezTo>
                <a:cubicBezTo>
                  <a:pt x="102" y="171"/>
                  <a:pt x="102" y="171"/>
                  <a:pt x="102" y="171"/>
                </a:cubicBezTo>
                <a:cubicBezTo>
                  <a:pt x="102" y="171"/>
                  <a:pt x="102" y="171"/>
                  <a:pt x="102" y="171"/>
                </a:cubicBezTo>
                <a:cubicBezTo>
                  <a:pt x="102" y="171"/>
                  <a:pt x="102" y="171"/>
                  <a:pt x="102" y="171"/>
                </a:cubicBezTo>
                <a:cubicBezTo>
                  <a:pt x="102" y="171"/>
                  <a:pt x="102" y="171"/>
                  <a:pt x="102" y="171"/>
                </a:cubicBezTo>
                <a:cubicBezTo>
                  <a:pt x="98" y="173"/>
                  <a:pt x="96" y="177"/>
                  <a:pt x="96" y="181"/>
                </a:cubicBezTo>
                <a:cubicBezTo>
                  <a:pt x="96" y="330"/>
                  <a:pt x="96" y="330"/>
                  <a:pt x="96" y="330"/>
                </a:cubicBezTo>
                <a:cubicBezTo>
                  <a:pt x="96" y="334"/>
                  <a:pt x="98" y="338"/>
                  <a:pt x="102" y="340"/>
                </a:cubicBezTo>
                <a:cubicBezTo>
                  <a:pt x="251" y="415"/>
                  <a:pt x="251" y="415"/>
                  <a:pt x="251" y="415"/>
                </a:cubicBezTo>
                <a:cubicBezTo>
                  <a:pt x="252" y="415"/>
                  <a:pt x="254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7" y="416"/>
                  <a:pt x="258" y="415"/>
                  <a:pt x="259" y="415"/>
                </a:cubicBezTo>
                <a:cubicBezTo>
                  <a:pt x="260" y="415"/>
                  <a:pt x="260" y="415"/>
                  <a:pt x="260" y="415"/>
                </a:cubicBezTo>
                <a:cubicBezTo>
                  <a:pt x="409" y="351"/>
                  <a:pt x="409" y="351"/>
                  <a:pt x="409" y="351"/>
                </a:cubicBezTo>
                <a:cubicBezTo>
                  <a:pt x="413" y="349"/>
                  <a:pt x="416" y="345"/>
                  <a:pt x="416" y="341"/>
                </a:cubicBezTo>
                <a:lnTo>
                  <a:pt x="416" y="181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6430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6" name="CustomShape 3">
            <a:extLst>
              <a:ext uri="{FF2B5EF4-FFF2-40B4-BE49-F238E27FC236}">
                <a16:creationId xmlns:a16="http://schemas.microsoft.com/office/drawing/2014/main" id="{4BC9C766-0171-4316-9FE5-1742D5543257}"/>
              </a:ext>
            </a:extLst>
          </p:cNvPr>
          <p:cNvSpPr/>
          <p:nvPr/>
        </p:nvSpPr>
        <p:spPr>
          <a:xfrm>
            <a:off x="1047600" y="222120"/>
            <a:ext cx="8665560" cy="516600"/>
          </a:xfrm>
          <a:prstGeom prst="rect">
            <a:avLst/>
          </a:prstGeom>
          <a:noFill/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r">
              <a:lnSpc>
                <a:spcPct val="100000"/>
              </a:lnSpc>
            </a:pPr>
            <a:r>
              <a:rPr lang="it-IT" sz="2800" b="1" spc="-1" dirty="0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Variazioni t</a:t>
            </a:r>
            <a:r>
              <a:rPr lang="it-IT" sz="2800" b="1" strike="noStrike" spc="-1" dirty="0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racciato xml PEPPOL BIS 3.0</a:t>
            </a:r>
            <a:endParaRPr lang="it-IT" sz="1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1374851" y="1020259"/>
            <a:ext cx="8338309" cy="540000"/>
            <a:chOff x="1374851" y="1020259"/>
            <a:chExt cx="8338309" cy="540000"/>
          </a:xfrm>
        </p:grpSpPr>
        <p:sp>
          <p:nvSpPr>
            <p:cNvPr id="127" name="CasellaDiTesto 34">
              <a:extLst>
                <a:ext uri="{FF2B5EF4-FFF2-40B4-BE49-F238E27FC236}">
                  <a16:creationId xmlns:a16="http://schemas.microsoft.com/office/drawing/2014/main" id="{D796B015-2ED9-6447-ADD1-E2E4EF317C31}"/>
                </a:ext>
              </a:extLst>
            </p:cNvPr>
            <p:cNvSpPr txBox="1"/>
            <p:nvPr/>
          </p:nvSpPr>
          <p:spPr>
            <a:xfrm>
              <a:off x="1967494" y="1077570"/>
              <a:ext cx="774566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20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Segmenti/Attributi ed il loro ambito di utilizzo </a:t>
              </a:r>
              <a:endParaRPr lang="it-IT" sz="20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0" name="Freeform 324"/>
            <p:cNvSpPr>
              <a:spLocks noChangeAspect="1" noEditPoints="1"/>
            </p:cNvSpPr>
            <p:nvPr/>
          </p:nvSpPr>
          <p:spPr bwMode="auto">
            <a:xfrm>
              <a:off x="1374851" y="1020259"/>
              <a:ext cx="540000" cy="540000"/>
            </a:xfrm>
            <a:custGeom>
              <a:avLst/>
              <a:gdLst>
                <a:gd name="T0" fmla="*/ 264 w 512"/>
                <a:gd name="T1" fmla="*/ 120 h 512"/>
                <a:gd name="T2" fmla="*/ 343 w 512"/>
                <a:gd name="T3" fmla="*/ 151 h 512"/>
                <a:gd name="T4" fmla="*/ 341 w 512"/>
                <a:gd name="T5" fmla="*/ 156 h 512"/>
                <a:gd name="T6" fmla="*/ 331 w 512"/>
                <a:gd name="T7" fmla="*/ 161 h 512"/>
                <a:gd name="T8" fmla="*/ 326 w 512"/>
                <a:gd name="T9" fmla="*/ 167 h 512"/>
                <a:gd name="T10" fmla="*/ 291 w 512"/>
                <a:gd name="T11" fmla="*/ 256 h 512"/>
                <a:gd name="T12" fmla="*/ 294 w 512"/>
                <a:gd name="T13" fmla="*/ 268 h 512"/>
                <a:gd name="T14" fmla="*/ 315 w 512"/>
                <a:gd name="T15" fmla="*/ 285 h 512"/>
                <a:gd name="T16" fmla="*/ 306 w 512"/>
                <a:gd name="T17" fmla="*/ 308 h 512"/>
                <a:gd name="T18" fmla="*/ 186 w 512"/>
                <a:gd name="T19" fmla="*/ 262 h 512"/>
                <a:gd name="T20" fmla="*/ 195 w 512"/>
                <a:gd name="T21" fmla="*/ 239 h 512"/>
                <a:gd name="T22" fmla="*/ 221 w 512"/>
                <a:gd name="T23" fmla="*/ 240 h 512"/>
                <a:gd name="T24" fmla="*/ 232 w 512"/>
                <a:gd name="T25" fmla="*/ 233 h 512"/>
                <a:gd name="T26" fmla="*/ 266 w 512"/>
                <a:gd name="T27" fmla="*/ 144 h 512"/>
                <a:gd name="T28" fmla="*/ 266 w 512"/>
                <a:gd name="T29" fmla="*/ 136 h 512"/>
                <a:gd name="T30" fmla="*/ 261 w 512"/>
                <a:gd name="T31" fmla="*/ 126 h 512"/>
                <a:gd name="T32" fmla="*/ 264 w 512"/>
                <a:gd name="T33" fmla="*/ 120 h 512"/>
                <a:gd name="T34" fmla="*/ 512 w 512"/>
                <a:gd name="T35" fmla="*/ 256 h 512"/>
                <a:gd name="T36" fmla="*/ 256 w 512"/>
                <a:gd name="T37" fmla="*/ 512 h 512"/>
                <a:gd name="T38" fmla="*/ 0 w 512"/>
                <a:gd name="T39" fmla="*/ 256 h 512"/>
                <a:gd name="T40" fmla="*/ 256 w 512"/>
                <a:gd name="T41" fmla="*/ 0 h 512"/>
                <a:gd name="T42" fmla="*/ 512 w 512"/>
                <a:gd name="T43" fmla="*/ 256 h 512"/>
                <a:gd name="T44" fmla="*/ 361 w 512"/>
                <a:gd name="T45" fmla="*/ 134 h 512"/>
                <a:gd name="T46" fmla="*/ 261 w 512"/>
                <a:gd name="T47" fmla="*/ 96 h 512"/>
                <a:gd name="T48" fmla="*/ 247 w 512"/>
                <a:gd name="T49" fmla="*/ 102 h 512"/>
                <a:gd name="T50" fmla="*/ 240 w 512"/>
                <a:gd name="T51" fmla="*/ 122 h 512"/>
                <a:gd name="T52" fmla="*/ 240 w 512"/>
                <a:gd name="T53" fmla="*/ 131 h 512"/>
                <a:gd name="T54" fmla="*/ 244 w 512"/>
                <a:gd name="T55" fmla="*/ 140 h 512"/>
                <a:gd name="T56" fmla="*/ 214 w 512"/>
                <a:gd name="T57" fmla="*/ 219 h 512"/>
                <a:gd name="T58" fmla="*/ 188 w 512"/>
                <a:gd name="T59" fmla="*/ 218 h 512"/>
                <a:gd name="T60" fmla="*/ 178 w 512"/>
                <a:gd name="T61" fmla="*/ 224 h 512"/>
                <a:gd name="T62" fmla="*/ 163 w 512"/>
                <a:gd name="T63" fmla="*/ 264 h 512"/>
                <a:gd name="T64" fmla="*/ 163 w 512"/>
                <a:gd name="T65" fmla="*/ 272 h 512"/>
                <a:gd name="T66" fmla="*/ 169 w 512"/>
                <a:gd name="T67" fmla="*/ 278 h 512"/>
                <a:gd name="T68" fmla="*/ 229 w 512"/>
                <a:gd name="T69" fmla="*/ 301 h 512"/>
                <a:gd name="T70" fmla="*/ 194 w 512"/>
                <a:gd name="T71" fmla="*/ 391 h 512"/>
                <a:gd name="T72" fmla="*/ 200 w 512"/>
                <a:gd name="T73" fmla="*/ 404 h 512"/>
                <a:gd name="T74" fmla="*/ 204 w 512"/>
                <a:gd name="T75" fmla="*/ 405 h 512"/>
                <a:gd name="T76" fmla="*/ 214 w 512"/>
                <a:gd name="T77" fmla="*/ 398 h 512"/>
                <a:gd name="T78" fmla="*/ 248 w 512"/>
                <a:gd name="T79" fmla="*/ 308 h 512"/>
                <a:gd name="T80" fmla="*/ 308 w 512"/>
                <a:gd name="T81" fmla="*/ 331 h 512"/>
                <a:gd name="T82" fmla="*/ 312 w 512"/>
                <a:gd name="T83" fmla="*/ 332 h 512"/>
                <a:gd name="T84" fmla="*/ 322 w 512"/>
                <a:gd name="T85" fmla="*/ 325 h 512"/>
                <a:gd name="T86" fmla="*/ 337 w 512"/>
                <a:gd name="T87" fmla="*/ 285 h 512"/>
                <a:gd name="T88" fmla="*/ 334 w 512"/>
                <a:gd name="T89" fmla="*/ 273 h 512"/>
                <a:gd name="T90" fmla="*/ 314 w 512"/>
                <a:gd name="T91" fmla="*/ 257 h 512"/>
                <a:gd name="T92" fmla="*/ 344 w 512"/>
                <a:gd name="T93" fmla="*/ 178 h 512"/>
                <a:gd name="T94" fmla="*/ 354 w 512"/>
                <a:gd name="T95" fmla="*/ 174 h 512"/>
                <a:gd name="T96" fmla="*/ 359 w 512"/>
                <a:gd name="T97" fmla="*/ 168 h 512"/>
                <a:gd name="T98" fmla="*/ 367 w 512"/>
                <a:gd name="T99" fmla="*/ 148 h 512"/>
                <a:gd name="T100" fmla="*/ 361 w 512"/>
                <a:gd name="T101" fmla="*/ 13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12" h="512">
                  <a:moveTo>
                    <a:pt x="264" y="120"/>
                  </a:moveTo>
                  <a:cubicBezTo>
                    <a:pt x="343" y="151"/>
                    <a:pt x="343" y="151"/>
                    <a:pt x="343" y="151"/>
                  </a:cubicBezTo>
                  <a:cubicBezTo>
                    <a:pt x="341" y="156"/>
                    <a:pt x="341" y="156"/>
                    <a:pt x="341" y="156"/>
                  </a:cubicBezTo>
                  <a:cubicBezTo>
                    <a:pt x="331" y="161"/>
                    <a:pt x="331" y="161"/>
                    <a:pt x="331" y="161"/>
                  </a:cubicBezTo>
                  <a:cubicBezTo>
                    <a:pt x="329" y="162"/>
                    <a:pt x="327" y="164"/>
                    <a:pt x="326" y="167"/>
                  </a:cubicBezTo>
                  <a:cubicBezTo>
                    <a:pt x="291" y="256"/>
                    <a:pt x="291" y="256"/>
                    <a:pt x="291" y="256"/>
                  </a:cubicBezTo>
                  <a:cubicBezTo>
                    <a:pt x="290" y="261"/>
                    <a:pt x="291" y="266"/>
                    <a:pt x="294" y="268"/>
                  </a:cubicBezTo>
                  <a:cubicBezTo>
                    <a:pt x="315" y="285"/>
                    <a:pt x="315" y="285"/>
                    <a:pt x="315" y="285"/>
                  </a:cubicBezTo>
                  <a:cubicBezTo>
                    <a:pt x="306" y="308"/>
                    <a:pt x="306" y="308"/>
                    <a:pt x="306" y="308"/>
                  </a:cubicBezTo>
                  <a:cubicBezTo>
                    <a:pt x="186" y="262"/>
                    <a:pt x="186" y="262"/>
                    <a:pt x="186" y="262"/>
                  </a:cubicBezTo>
                  <a:cubicBezTo>
                    <a:pt x="195" y="239"/>
                    <a:pt x="195" y="239"/>
                    <a:pt x="195" y="239"/>
                  </a:cubicBezTo>
                  <a:cubicBezTo>
                    <a:pt x="221" y="240"/>
                    <a:pt x="221" y="240"/>
                    <a:pt x="221" y="240"/>
                  </a:cubicBezTo>
                  <a:cubicBezTo>
                    <a:pt x="226" y="241"/>
                    <a:pt x="230" y="238"/>
                    <a:pt x="232" y="233"/>
                  </a:cubicBezTo>
                  <a:cubicBezTo>
                    <a:pt x="266" y="144"/>
                    <a:pt x="266" y="144"/>
                    <a:pt x="266" y="144"/>
                  </a:cubicBezTo>
                  <a:cubicBezTo>
                    <a:pt x="267" y="141"/>
                    <a:pt x="267" y="138"/>
                    <a:pt x="266" y="136"/>
                  </a:cubicBezTo>
                  <a:cubicBezTo>
                    <a:pt x="261" y="126"/>
                    <a:pt x="261" y="126"/>
                    <a:pt x="261" y="126"/>
                  </a:cubicBezTo>
                  <a:lnTo>
                    <a:pt x="264" y="120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61" y="134"/>
                  </a:moveTo>
                  <a:cubicBezTo>
                    <a:pt x="261" y="96"/>
                    <a:pt x="261" y="96"/>
                    <a:pt x="261" y="96"/>
                  </a:cubicBezTo>
                  <a:cubicBezTo>
                    <a:pt x="256" y="94"/>
                    <a:pt x="250" y="97"/>
                    <a:pt x="247" y="102"/>
                  </a:cubicBezTo>
                  <a:cubicBezTo>
                    <a:pt x="240" y="122"/>
                    <a:pt x="240" y="122"/>
                    <a:pt x="240" y="122"/>
                  </a:cubicBezTo>
                  <a:cubicBezTo>
                    <a:pt x="239" y="125"/>
                    <a:pt x="239" y="128"/>
                    <a:pt x="240" y="131"/>
                  </a:cubicBezTo>
                  <a:cubicBezTo>
                    <a:pt x="244" y="140"/>
                    <a:pt x="244" y="140"/>
                    <a:pt x="244" y="140"/>
                  </a:cubicBezTo>
                  <a:cubicBezTo>
                    <a:pt x="214" y="219"/>
                    <a:pt x="214" y="219"/>
                    <a:pt x="214" y="219"/>
                  </a:cubicBezTo>
                  <a:cubicBezTo>
                    <a:pt x="188" y="218"/>
                    <a:pt x="188" y="218"/>
                    <a:pt x="188" y="218"/>
                  </a:cubicBezTo>
                  <a:cubicBezTo>
                    <a:pt x="184" y="217"/>
                    <a:pt x="180" y="220"/>
                    <a:pt x="178" y="224"/>
                  </a:cubicBezTo>
                  <a:cubicBezTo>
                    <a:pt x="163" y="264"/>
                    <a:pt x="163" y="264"/>
                    <a:pt x="163" y="264"/>
                  </a:cubicBezTo>
                  <a:cubicBezTo>
                    <a:pt x="162" y="267"/>
                    <a:pt x="162" y="270"/>
                    <a:pt x="163" y="272"/>
                  </a:cubicBezTo>
                  <a:cubicBezTo>
                    <a:pt x="164" y="275"/>
                    <a:pt x="166" y="277"/>
                    <a:pt x="169" y="278"/>
                  </a:cubicBezTo>
                  <a:cubicBezTo>
                    <a:pt x="229" y="301"/>
                    <a:pt x="229" y="301"/>
                    <a:pt x="229" y="301"/>
                  </a:cubicBezTo>
                  <a:cubicBezTo>
                    <a:pt x="194" y="391"/>
                    <a:pt x="194" y="391"/>
                    <a:pt x="194" y="391"/>
                  </a:cubicBezTo>
                  <a:cubicBezTo>
                    <a:pt x="192" y="396"/>
                    <a:pt x="195" y="402"/>
                    <a:pt x="200" y="404"/>
                  </a:cubicBezTo>
                  <a:cubicBezTo>
                    <a:pt x="202" y="405"/>
                    <a:pt x="203" y="405"/>
                    <a:pt x="204" y="405"/>
                  </a:cubicBezTo>
                  <a:cubicBezTo>
                    <a:pt x="208" y="405"/>
                    <a:pt x="212" y="402"/>
                    <a:pt x="214" y="398"/>
                  </a:cubicBezTo>
                  <a:cubicBezTo>
                    <a:pt x="248" y="308"/>
                    <a:pt x="248" y="308"/>
                    <a:pt x="248" y="308"/>
                  </a:cubicBezTo>
                  <a:cubicBezTo>
                    <a:pt x="308" y="331"/>
                    <a:pt x="308" y="331"/>
                    <a:pt x="308" y="331"/>
                  </a:cubicBezTo>
                  <a:cubicBezTo>
                    <a:pt x="309" y="332"/>
                    <a:pt x="311" y="332"/>
                    <a:pt x="312" y="332"/>
                  </a:cubicBezTo>
                  <a:cubicBezTo>
                    <a:pt x="316" y="332"/>
                    <a:pt x="320" y="329"/>
                    <a:pt x="322" y="325"/>
                  </a:cubicBezTo>
                  <a:cubicBezTo>
                    <a:pt x="337" y="285"/>
                    <a:pt x="337" y="285"/>
                    <a:pt x="337" y="285"/>
                  </a:cubicBezTo>
                  <a:cubicBezTo>
                    <a:pt x="339" y="281"/>
                    <a:pt x="338" y="276"/>
                    <a:pt x="334" y="273"/>
                  </a:cubicBezTo>
                  <a:cubicBezTo>
                    <a:pt x="314" y="257"/>
                    <a:pt x="314" y="257"/>
                    <a:pt x="314" y="257"/>
                  </a:cubicBezTo>
                  <a:cubicBezTo>
                    <a:pt x="344" y="178"/>
                    <a:pt x="344" y="178"/>
                    <a:pt x="344" y="178"/>
                  </a:cubicBezTo>
                  <a:cubicBezTo>
                    <a:pt x="354" y="174"/>
                    <a:pt x="354" y="174"/>
                    <a:pt x="354" y="174"/>
                  </a:cubicBezTo>
                  <a:cubicBezTo>
                    <a:pt x="356" y="173"/>
                    <a:pt x="358" y="171"/>
                    <a:pt x="359" y="168"/>
                  </a:cubicBezTo>
                  <a:cubicBezTo>
                    <a:pt x="367" y="148"/>
                    <a:pt x="367" y="148"/>
                    <a:pt x="367" y="148"/>
                  </a:cubicBezTo>
                  <a:cubicBezTo>
                    <a:pt x="369" y="143"/>
                    <a:pt x="366" y="137"/>
                    <a:pt x="361" y="134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768601" y="1733120"/>
            <a:ext cx="9047209" cy="4361901"/>
            <a:chOff x="768601" y="1733120"/>
            <a:chExt cx="9047209" cy="4361901"/>
          </a:xfrm>
        </p:grpSpPr>
        <p:grpSp>
          <p:nvGrpSpPr>
            <p:cNvPr id="73" name="Group 72"/>
            <p:cNvGrpSpPr/>
            <p:nvPr/>
          </p:nvGrpSpPr>
          <p:grpSpPr>
            <a:xfrm>
              <a:off x="768601" y="1814812"/>
              <a:ext cx="236727" cy="236727"/>
              <a:chOff x="885681" y="3268681"/>
              <a:chExt cx="291356" cy="291356"/>
            </a:xfrm>
            <a:solidFill>
              <a:srgbClr val="C00000"/>
            </a:solidFill>
          </p:grpSpPr>
          <p:sp>
            <p:nvSpPr>
              <p:cNvPr id="74" name="Oval 73"/>
              <p:cNvSpPr>
                <a:spLocks noChangeAspect="1"/>
              </p:cNvSpPr>
              <p:nvPr/>
            </p:nvSpPr>
            <p:spPr>
              <a:xfrm>
                <a:off x="885681" y="3268681"/>
                <a:ext cx="291356" cy="29135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76" name="Straight Connector 75"/>
              <p:cNvCxnSpPr/>
              <p:nvPr/>
            </p:nvCxnSpPr>
            <p:spPr>
              <a:xfrm flipV="1">
                <a:off x="941359" y="3414359"/>
                <a:ext cx="180000" cy="2"/>
              </a:xfrm>
              <a:prstGeom prst="line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8" name="Group 77"/>
            <p:cNvGrpSpPr/>
            <p:nvPr/>
          </p:nvGrpSpPr>
          <p:grpSpPr>
            <a:xfrm>
              <a:off x="768601" y="2309336"/>
              <a:ext cx="236727" cy="236727"/>
              <a:chOff x="885681" y="3268681"/>
              <a:chExt cx="291356" cy="291356"/>
            </a:xfrm>
            <a:solidFill>
              <a:srgbClr val="C00000"/>
            </a:solidFill>
          </p:grpSpPr>
          <p:sp>
            <p:nvSpPr>
              <p:cNvPr id="79" name="Oval 78"/>
              <p:cNvSpPr>
                <a:spLocks noChangeAspect="1"/>
              </p:cNvSpPr>
              <p:nvPr/>
            </p:nvSpPr>
            <p:spPr>
              <a:xfrm>
                <a:off x="885681" y="3268681"/>
                <a:ext cx="291356" cy="29135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80" name="Straight Connector 79"/>
              <p:cNvCxnSpPr/>
              <p:nvPr/>
            </p:nvCxnSpPr>
            <p:spPr>
              <a:xfrm flipV="1">
                <a:off x="941359" y="3414359"/>
                <a:ext cx="180000" cy="2"/>
              </a:xfrm>
              <a:prstGeom prst="line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5" name="Group 94"/>
            <p:cNvGrpSpPr/>
            <p:nvPr/>
          </p:nvGrpSpPr>
          <p:grpSpPr>
            <a:xfrm>
              <a:off x="768601" y="2803860"/>
              <a:ext cx="236727" cy="236727"/>
              <a:chOff x="885681" y="3268681"/>
              <a:chExt cx="291356" cy="291356"/>
            </a:xfrm>
            <a:solidFill>
              <a:srgbClr val="C00000"/>
            </a:solidFill>
          </p:grpSpPr>
          <p:sp>
            <p:nvSpPr>
              <p:cNvPr id="96" name="Oval 95"/>
              <p:cNvSpPr>
                <a:spLocks noChangeAspect="1"/>
              </p:cNvSpPr>
              <p:nvPr/>
            </p:nvSpPr>
            <p:spPr>
              <a:xfrm>
                <a:off x="885681" y="3268681"/>
                <a:ext cx="291356" cy="29135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97" name="Straight Connector 96"/>
              <p:cNvCxnSpPr/>
              <p:nvPr/>
            </p:nvCxnSpPr>
            <p:spPr>
              <a:xfrm flipV="1">
                <a:off x="941359" y="3414359"/>
                <a:ext cx="180000" cy="2"/>
              </a:xfrm>
              <a:prstGeom prst="line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8" name="Group 97"/>
            <p:cNvGrpSpPr/>
            <p:nvPr/>
          </p:nvGrpSpPr>
          <p:grpSpPr>
            <a:xfrm>
              <a:off x="768601" y="4287432"/>
              <a:ext cx="236727" cy="236727"/>
              <a:chOff x="885681" y="3268681"/>
              <a:chExt cx="291356" cy="291356"/>
            </a:xfrm>
            <a:solidFill>
              <a:srgbClr val="C00000"/>
            </a:solidFill>
          </p:grpSpPr>
          <p:sp>
            <p:nvSpPr>
              <p:cNvPr id="99" name="Oval 98"/>
              <p:cNvSpPr>
                <a:spLocks noChangeAspect="1"/>
              </p:cNvSpPr>
              <p:nvPr/>
            </p:nvSpPr>
            <p:spPr>
              <a:xfrm>
                <a:off x="885681" y="3268681"/>
                <a:ext cx="291356" cy="29135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00" name="Straight Connector 99"/>
              <p:cNvCxnSpPr/>
              <p:nvPr/>
            </p:nvCxnSpPr>
            <p:spPr>
              <a:xfrm flipV="1">
                <a:off x="941358" y="3414358"/>
                <a:ext cx="180000" cy="2"/>
              </a:xfrm>
              <a:prstGeom prst="line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1" name="Group 100"/>
            <p:cNvGrpSpPr/>
            <p:nvPr/>
          </p:nvGrpSpPr>
          <p:grpSpPr>
            <a:xfrm>
              <a:off x="768601" y="3298384"/>
              <a:ext cx="236727" cy="236727"/>
              <a:chOff x="885681" y="3268681"/>
              <a:chExt cx="291356" cy="291356"/>
            </a:xfrm>
            <a:solidFill>
              <a:srgbClr val="C00000"/>
            </a:solidFill>
          </p:grpSpPr>
          <p:sp>
            <p:nvSpPr>
              <p:cNvPr id="102" name="Oval 101"/>
              <p:cNvSpPr>
                <a:spLocks noChangeAspect="1"/>
              </p:cNvSpPr>
              <p:nvPr/>
            </p:nvSpPr>
            <p:spPr>
              <a:xfrm>
                <a:off x="885681" y="3268681"/>
                <a:ext cx="291356" cy="29135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03" name="Straight Connector 102"/>
              <p:cNvCxnSpPr/>
              <p:nvPr/>
            </p:nvCxnSpPr>
            <p:spPr>
              <a:xfrm flipV="1">
                <a:off x="941359" y="3414359"/>
                <a:ext cx="180000" cy="2"/>
              </a:xfrm>
              <a:prstGeom prst="line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4" name="Group 103"/>
            <p:cNvGrpSpPr/>
            <p:nvPr/>
          </p:nvGrpSpPr>
          <p:grpSpPr>
            <a:xfrm>
              <a:off x="768601" y="3792908"/>
              <a:ext cx="236727" cy="236727"/>
              <a:chOff x="885681" y="3268681"/>
              <a:chExt cx="291356" cy="291356"/>
            </a:xfrm>
            <a:solidFill>
              <a:srgbClr val="C00000"/>
            </a:solidFill>
          </p:grpSpPr>
          <p:sp>
            <p:nvSpPr>
              <p:cNvPr id="105" name="Oval 104"/>
              <p:cNvSpPr>
                <a:spLocks noChangeAspect="1"/>
              </p:cNvSpPr>
              <p:nvPr/>
            </p:nvSpPr>
            <p:spPr>
              <a:xfrm>
                <a:off x="885681" y="3268681"/>
                <a:ext cx="291356" cy="29135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06" name="Straight Connector 105"/>
              <p:cNvCxnSpPr/>
              <p:nvPr/>
            </p:nvCxnSpPr>
            <p:spPr>
              <a:xfrm flipV="1">
                <a:off x="941359" y="3414359"/>
                <a:ext cx="180000" cy="2"/>
              </a:xfrm>
              <a:prstGeom prst="line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7" name="Group 106"/>
            <p:cNvGrpSpPr/>
            <p:nvPr/>
          </p:nvGrpSpPr>
          <p:grpSpPr>
            <a:xfrm>
              <a:off x="768601" y="5276480"/>
              <a:ext cx="236727" cy="236727"/>
              <a:chOff x="885681" y="3268681"/>
              <a:chExt cx="291356" cy="291356"/>
            </a:xfrm>
            <a:solidFill>
              <a:srgbClr val="C00000"/>
            </a:solidFill>
          </p:grpSpPr>
          <p:sp>
            <p:nvSpPr>
              <p:cNvPr id="108" name="Oval 107"/>
              <p:cNvSpPr>
                <a:spLocks noChangeAspect="1"/>
              </p:cNvSpPr>
              <p:nvPr/>
            </p:nvSpPr>
            <p:spPr>
              <a:xfrm>
                <a:off x="885681" y="3268681"/>
                <a:ext cx="291356" cy="29135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09" name="Straight Connector 108"/>
              <p:cNvCxnSpPr/>
              <p:nvPr/>
            </p:nvCxnSpPr>
            <p:spPr>
              <a:xfrm flipV="1">
                <a:off x="941359" y="3414359"/>
                <a:ext cx="180000" cy="2"/>
              </a:xfrm>
              <a:prstGeom prst="line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0" name="Rectangle 109"/>
            <p:cNvSpPr/>
            <p:nvPr/>
          </p:nvSpPr>
          <p:spPr>
            <a:xfrm>
              <a:off x="987279" y="1733120"/>
              <a:ext cx="1758815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Order/</a:t>
              </a:r>
              <a:r>
                <a:rPr lang="en-US" b="1" dirty="0" err="1" smtClean="0">
                  <a:latin typeface="Calibri" panose="020F0502020204030204" pitchFamily="34" charset="0"/>
                  <a:cs typeface="Calibri" panose="020F0502020204030204" pitchFamily="34" charset="0"/>
                </a:rPr>
                <a:t>cbc:UBLVersionID</a:t>
              </a:r>
              <a:endParaRPr lang="en-US" b="1" dirty="0" smtClean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en-US" dirty="0" err="1">
                  <a:latin typeface="Calibri" panose="020F0502020204030204" pitchFamily="34" charset="0"/>
                  <a:cs typeface="Calibri" panose="020F0502020204030204" pitchFamily="34" charset="0"/>
                </a:rPr>
                <a:t>I</a:t>
              </a:r>
              <a:r>
                <a:rPr lang="en-US" dirty="0" err="1" smtClean="0">
                  <a:latin typeface="Calibri" panose="020F0502020204030204" pitchFamily="34" charset="0"/>
                  <a:cs typeface="Calibri" panose="020F0502020204030204" pitchFamily="34" charset="0"/>
                </a:rPr>
                <a:t>ndicazione</a:t>
              </a:r>
              <a:r>
                <a:rPr lang="en-US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>
                  <a:latin typeface="Calibri" panose="020F0502020204030204" pitchFamily="34" charset="0"/>
                  <a:cs typeface="Calibri" panose="020F0502020204030204" pitchFamily="34" charset="0"/>
                </a:rPr>
                <a:t>della</a:t>
              </a:r>
              <a:r>
                <a:rPr lang="en-US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>
                  <a:latin typeface="Calibri" panose="020F0502020204030204" pitchFamily="34" charset="0"/>
                  <a:cs typeface="Calibri" panose="020F0502020204030204" pitchFamily="34" charset="0"/>
                </a:rPr>
                <a:t>versione</a:t>
              </a:r>
              <a:r>
                <a:rPr lang="en-US" dirty="0">
                  <a:latin typeface="Calibri" panose="020F0502020204030204" pitchFamily="34" charset="0"/>
                  <a:cs typeface="Calibri" panose="020F0502020204030204" pitchFamily="34" charset="0"/>
                </a:rPr>
                <a:t> UBL</a:t>
              </a:r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987279" y="2228344"/>
              <a:ext cx="213552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uyerCustomerParty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Contact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bc:ID</a:t>
              </a:r>
              <a:endParaRPr lang="en-US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dentificatore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del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ntatto</a:t>
              </a:r>
              <a:r>
                <a:rPr lang="en-US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" name="Rectangle 111"/>
            <p:cNvSpPr/>
            <p:nvPr/>
          </p:nvSpPr>
          <p:spPr>
            <a:xfrm>
              <a:off x="987279" y="2723568"/>
              <a:ext cx="247395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ntact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bc:Telefax</a:t>
              </a:r>
              <a:endParaRPr lang="en-US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en-US" dirty="0" err="1" smtClean="0">
                  <a:latin typeface="Calibri" panose="020F0502020204030204" pitchFamily="34" charset="0"/>
                  <a:cs typeface="Calibri" panose="020F0502020204030204" pitchFamily="34" charset="0"/>
                </a:rPr>
                <a:t>Numero</a:t>
              </a:r>
              <a:r>
                <a:rPr lang="en-US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 FAX del </a:t>
              </a:r>
              <a:r>
                <a:rPr lang="en-US" dirty="0" err="1" smtClean="0">
                  <a:latin typeface="Calibri" panose="020F0502020204030204" pitchFamily="34" charset="0"/>
                  <a:cs typeface="Calibri" panose="020F0502020204030204" pitchFamily="34" charset="0"/>
                </a:rPr>
                <a:t>contatto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987279" y="3218792"/>
              <a:ext cx="186301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livery/Address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bc:ID</a:t>
              </a:r>
              <a:endParaRPr lang="en-US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dentificativo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uogo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di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nsegna</a:t>
              </a:r>
              <a:r>
                <a:rPr lang="en-US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987279" y="3714016"/>
              <a:ext cx="2390398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rderLine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ineItem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bc:TotalTaxAmount</a:t>
              </a:r>
              <a:endParaRPr lang="en-US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mposta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liquota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u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iga</a:t>
              </a:r>
              <a:r>
                <a:rPr lang="en-US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987279" y="4209240"/>
              <a:ext cx="2480166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rderLine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ineItem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Item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bc:PackQuantity</a:t>
              </a:r>
              <a:endParaRPr lang="en-US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umero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di sotto-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nità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in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rticolo</a:t>
              </a:r>
              <a:r>
                <a:rPr lang="en-US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987279" y="4704464"/>
              <a:ext cx="2698175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rderLine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ineItem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Item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bc:PackSizeNumeric</a:t>
              </a:r>
              <a:r>
                <a:rPr lang="en-US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endParaRPr lang="en-US" dirty="0" smtClean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it-IT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Numero articolo in una confezione</a:t>
              </a:r>
              <a:endParaRPr lang="en-US" dirty="0" smtClean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987279" y="5199688"/>
              <a:ext cx="2116285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rderLine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ac:DocumentReference</a:t>
              </a:r>
              <a:r>
                <a:rPr lang="en-US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</a:p>
            <a:p>
              <a:r>
                <a:rPr lang="it-IT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Identificativo, data e tipo documento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18" name="Group 117"/>
            <p:cNvGrpSpPr/>
            <p:nvPr/>
          </p:nvGrpSpPr>
          <p:grpSpPr>
            <a:xfrm>
              <a:off x="768601" y="4781956"/>
              <a:ext cx="236727" cy="236727"/>
              <a:chOff x="885681" y="3268681"/>
              <a:chExt cx="291356" cy="291356"/>
            </a:xfrm>
            <a:solidFill>
              <a:srgbClr val="C00000"/>
            </a:solidFill>
          </p:grpSpPr>
          <p:sp>
            <p:nvSpPr>
              <p:cNvPr id="119" name="Oval 118"/>
              <p:cNvSpPr>
                <a:spLocks noChangeAspect="1"/>
              </p:cNvSpPr>
              <p:nvPr/>
            </p:nvSpPr>
            <p:spPr>
              <a:xfrm>
                <a:off x="885681" y="3268681"/>
                <a:ext cx="291356" cy="29135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20" name="Straight Connector 119"/>
              <p:cNvCxnSpPr/>
              <p:nvPr/>
            </p:nvCxnSpPr>
            <p:spPr>
              <a:xfrm flipV="1">
                <a:off x="941359" y="3414359"/>
                <a:ext cx="180000" cy="2"/>
              </a:xfrm>
              <a:prstGeom prst="line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1" name="Oval 120"/>
            <p:cNvSpPr>
              <a:spLocks noChangeAspect="1"/>
            </p:cNvSpPr>
            <p:nvPr/>
          </p:nvSpPr>
          <p:spPr>
            <a:xfrm>
              <a:off x="768601" y="5771006"/>
              <a:ext cx="236727" cy="236727"/>
            </a:xfrm>
            <a:prstGeom prst="ellipse">
              <a:avLst/>
            </a:prstGeom>
            <a:solidFill>
              <a:srgbClr val="00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231" tIns="30956" rIns="72231" bIns="3095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987279" y="5694911"/>
              <a:ext cx="2454518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rder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bc:SalesOrderID</a:t>
              </a:r>
              <a:endParaRPr lang="en-US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dentificativo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terno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messo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dal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venditore</a:t>
              </a:r>
              <a:r>
                <a:rPr lang="en-US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8" name="Oval 127"/>
            <p:cNvSpPr>
              <a:spLocks noChangeAspect="1"/>
            </p:cNvSpPr>
            <p:nvPr/>
          </p:nvSpPr>
          <p:spPr>
            <a:xfrm>
              <a:off x="3641800" y="1814812"/>
              <a:ext cx="236727" cy="236727"/>
            </a:xfrm>
            <a:prstGeom prst="ellipse">
              <a:avLst/>
            </a:prstGeom>
            <a:solidFill>
              <a:srgbClr val="00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231" tIns="30956" rIns="72231" bIns="3095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29" name="Oval 128"/>
            <p:cNvSpPr>
              <a:spLocks noChangeAspect="1"/>
            </p:cNvSpPr>
            <p:nvPr/>
          </p:nvSpPr>
          <p:spPr>
            <a:xfrm>
              <a:off x="3641800" y="2803860"/>
              <a:ext cx="236727" cy="236727"/>
            </a:xfrm>
            <a:prstGeom prst="ellipse">
              <a:avLst/>
            </a:prstGeom>
            <a:solidFill>
              <a:srgbClr val="00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231" tIns="30956" rIns="72231" bIns="3095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31" name="Oval 130"/>
            <p:cNvSpPr>
              <a:spLocks noChangeAspect="1"/>
            </p:cNvSpPr>
            <p:nvPr/>
          </p:nvSpPr>
          <p:spPr>
            <a:xfrm>
              <a:off x="3641800" y="3792908"/>
              <a:ext cx="236727" cy="236727"/>
            </a:xfrm>
            <a:prstGeom prst="ellipse">
              <a:avLst/>
            </a:prstGeom>
            <a:solidFill>
              <a:srgbClr val="00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231" tIns="30956" rIns="72231" bIns="3095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32" name="Oval 131"/>
            <p:cNvSpPr>
              <a:spLocks noChangeAspect="1"/>
            </p:cNvSpPr>
            <p:nvPr/>
          </p:nvSpPr>
          <p:spPr>
            <a:xfrm>
              <a:off x="3641800" y="4287432"/>
              <a:ext cx="236727" cy="236727"/>
            </a:xfrm>
            <a:prstGeom prst="ellipse">
              <a:avLst/>
            </a:prstGeom>
            <a:solidFill>
              <a:srgbClr val="00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231" tIns="30956" rIns="72231" bIns="3095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36" name="Oval 135"/>
            <p:cNvSpPr>
              <a:spLocks noChangeAspect="1"/>
            </p:cNvSpPr>
            <p:nvPr/>
          </p:nvSpPr>
          <p:spPr>
            <a:xfrm>
              <a:off x="3641800" y="4781956"/>
              <a:ext cx="236727" cy="236727"/>
            </a:xfrm>
            <a:prstGeom prst="ellipse">
              <a:avLst/>
            </a:prstGeom>
            <a:solidFill>
              <a:srgbClr val="00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231" tIns="30956" rIns="72231" bIns="3095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37" name="Oval 136"/>
            <p:cNvSpPr>
              <a:spLocks noChangeAspect="1"/>
            </p:cNvSpPr>
            <p:nvPr/>
          </p:nvSpPr>
          <p:spPr>
            <a:xfrm>
              <a:off x="3641800" y="5771006"/>
              <a:ext cx="236727" cy="236727"/>
            </a:xfrm>
            <a:prstGeom prst="ellipse">
              <a:avLst/>
            </a:prstGeom>
            <a:solidFill>
              <a:srgbClr val="00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231" tIns="30956" rIns="72231" bIns="3095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38" name="Oval 137"/>
            <p:cNvSpPr>
              <a:spLocks noChangeAspect="1"/>
            </p:cNvSpPr>
            <p:nvPr/>
          </p:nvSpPr>
          <p:spPr>
            <a:xfrm>
              <a:off x="3641800" y="2309336"/>
              <a:ext cx="236727" cy="236727"/>
            </a:xfrm>
            <a:prstGeom prst="ellipse">
              <a:avLst/>
            </a:prstGeom>
            <a:solidFill>
              <a:srgbClr val="00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231" tIns="30956" rIns="72231" bIns="3095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39" name="Oval 138"/>
            <p:cNvSpPr>
              <a:spLocks noChangeAspect="1"/>
            </p:cNvSpPr>
            <p:nvPr/>
          </p:nvSpPr>
          <p:spPr>
            <a:xfrm>
              <a:off x="3641800" y="3298384"/>
              <a:ext cx="236727" cy="236727"/>
            </a:xfrm>
            <a:prstGeom prst="ellipse">
              <a:avLst/>
            </a:prstGeom>
            <a:solidFill>
              <a:srgbClr val="00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231" tIns="30956" rIns="72231" bIns="3095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40" name="Oval 139"/>
            <p:cNvSpPr>
              <a:spLocks noChangeAspect="1"/>
            </p:cNvSpPr>
            <p:nvPr/>
          </p:nvSpPr>
          <p:spPr>
            <a:xfrm>
              <a:off x="3641800" y="5276480"/>
              <a:ext cx="236727" cy="236727"/>
            </a:xfrm>
            <a:prstGeom prst="ellipse">
              <a:avLst/>
            </a:prstGeom>
            <a:solidFill>
              <a:srgbClr val="00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231" tIns="30956" rIns="72231" bIns="3095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50" name="Rectangle 149"/>
            <p:cNvSpPr/>
            <p:nvPr/>
          </p:nvSpPr>
          <p:spPr>
            <a:xfrm>
              <a:off x="3878289" y="1733120"/>
              <a:ext cx="2324675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ac:Order</a:t>
              </a:r>
              <a:r>
                <a:rPr 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</a:t>
              </a:r>
              <a:r>
                <a:rPr lang="en-US" b="1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bc:CustomerReference</a:t>
              </a:r>
              <a:r>
                <a:rPr lang="en-US" b="1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endParaRPr lang="en-US" b="1" dirty="0" smtClean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it-IT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Riferimento di chi ha ordinato il prodotto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1" name="Rectangle 150"/>
            <p:cNvSpPr/>
            <p:nvPr/>
          </p:nvSpPr>
          <p:spPr>
            <a:xfrm>
              <a:off x="3878289" y="2228344"/>
              <a:ext cx="2622834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arty/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ostalAddress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ac:AddressLine</a:t>
              </a:r>
              <a:r>
                <a:rPr lang="en-US" b="1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bc:Line</a:t>
              </a:r>
              <a:endParaRPr lang="en-US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it-IT" dirty="0">
                  <a:latin typeface="Calibri" panose="020F0502020204030204" pitchFamily="34" charset="0"/>
                  <a:cs typeface="Calibri" panose="020F0502020204030204" pitchFamily="34" charset="0"/>
                </a:rPr>
                <a:t>Informazioni aggiuntive </a:t>
              </a:r>
              <a:r>
                <a:rPr lang="it-IT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ell'indirizzo</a:t>
              </a:r>
              <a:endParaRPr lang="en-US" dirty="0" smtClean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2" name="Rectangle 151"/>
            <p:cNvSpPr/>
            <p:nvPr/>
          </p:nvSpPr>
          <p:spPr>
            <a:xfrm>
              <a:off x="3878289" y="2723568"/>
              <a:ext cx="2916183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ellerSupplierParty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Party/ … 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bc:RegistrationName</a:t>
              </a:r>
              <a:endParaRPr lang="en-US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it-IT" dirty="0">
                  <a:latin typeface="Calibri" panose="020F0502020204030204" pitchFamily="34" charset="0"/>
                  <a:cs typeface="Calibri" panose="020F0502020204030204" pitchFamily="34" charset="0"/>
                </a:rPr>
                <a:t>Ragione sociale </a:t>
              </a:r>
              <a:r>
                <a:rPr lang="it-IT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registrata </a:t>
              </a:r>
              <a:r>
                <a:rPr lang="it-IT" dirty="0">
                  <a:latin typeface="Calibri" panose="020F0502020204030204" pitchFamily="34" charset="0"/>
                  <a:cs typeface="Calibri" panose="020F0502020204030204" pitchFamily="34" charset="0"/>
                </a:rPr>
                <a:t>presso l'ufficio </a:t>
              </a:r>
              <a:r>
                <a:rPr lang="it-IT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fiscale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3" name="Rectangle 152"/>
            <p:cNvSpPr/>
            <p:nvPr/>
          </p:nvSpPr>
          <p:spPr>
            <a:xfrm>
              <a:off x="3878289" y="3218792"/>
              <a:ext cx="2568332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ellerSupplierParty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Party/ … 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bc:CompanyID</a:t>
              </a:r>
              <a:endParaRPr lang="en-US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it-IT" dirty="0">
                  <a:latin typeface="Calibri" panose="020F0502020204030204" pitchFamily="34" charset="0"/>
                  <a:cs typeface="Calibri" panose="020F0502020204030204" pitchFamily="34" charset="0"/>
                </a:rPr>
                <a:t>Schema di identificazione (IPA, VAT, CF)</a:t>
              </a:r>
              <a:r>
                <a:rPr lang="en-US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4" name="Rectangle 153"/>
            <p:cNvSpPr/>
            <p:nvPr/>
          </p:nvSpPr>
          <p:spPr>
            <a:xfrm>
              <a:off x="3878289" y="3714016"/>
              <a:ext cx="248016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ellerSupplierParty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Party/ … 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bc:CityName</a:t>
              </a:r>
              <a:endParaRPr lang="en-US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en-US" dirty="0" err="1">
                  <a:latin typeface="Calibri" panose="020F0502020204030204" pitchFamily="34" charset="0"/>
                  <a:cs typeface="Calibri" panose="020F0502020204030204" pitchFamily="34" charset="0"/>
                </a:rPr>
                <a:t>Città</a:t>
              </a:r>
              <a:r>
                <a:rPr lang="en-US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>
                  <a:latin typeface="Calibri" panose="020F0502020204030204" pitchFamily="34" charset="0"/>
                  <a:cs typeface="Calibri" panose="020F0502020204030204" pitchFamily="34" charset="0"/>
                </a:rPr>
                <a:t>registrata</a:t>
              </a:r>
              <a:r>
                <a:rPr lang="en-US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>
                  <a:latin typeface="Calibri" panose="020F0502020204030204" pitchFamily="34" charset="0"/>
                  <a:cs typeface="Calibri" panose="020F0502020204030204" pitchFamily="34" charset="0"/>
                </a:rPr>
                <a:t>nel</a:t>
              </a:r>
              <a:r>
                <a:rPr lang="en-US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>
                  <a:latin typeface="Calibri" panose="020F0502020204030204" pitchFamily="34" charset="0"/>
                  <a:cs typeface="Calibri" panose="020F0502020204030204" pitchFamily="34" charset="0"/>
                </a:rPr>
                <a:t>sistema</a:t>
              </a:r>
              <a:r>
                <a:rPr lang="en-US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endParaRPr lang="en-US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5" name="Rectangle 154"/>
            <p:cNvSpPr/>
            <p:nvPr/>
          </p:nvSpPr>
          <p:spPr>
            <a:xfrm>
              <a:off x="3878289" y="4209240"/>
              <a:ext cx="2973580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ellerSupplierParty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Party/ … 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bc:IdentificationCode</a:t>
              </a:r>
              <a:endParaRPr lang="en-US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en-US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</a:t>
              </a:r>
              <a:r>
                <a:rPr lang="it-IT" dirty="0" err="1" smtClean="0">
                  <a:latin typeface="Calibri" panose="020F0502020204030204" pitchFamily="34" charset="0"/>
                  <a:cs typeface="Calibri" panose="020F0502020204030204" pitchFamily="34" charset="0"/>
                </a:rPr>
                <a:t>dentifica</a:t>
              </a:r>
              <a:r>
                <a:rPr lang="it-IT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it-IT" dirty="0">
                  <a:latin typeface="Calibri" panose="020F0502020204030204" pitchFamily="34" charset="0"/>
                  <a:cs typeface="Calibri" panose="020F0502020204030204" pitchFamily="34" charset="0"/>
                </a:rPr>
                <a:t>il paese </a:t>
              </a:r>
              <a:r>
                <a:rPr lang="it-IT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- codifica </a:t>
              </a:r>
              <a:r>
                <a:rPr lang="it-IT" dirty="0">
                  <a:latin typeface="Calibri" panose="020F0502020204030204" pitchFamily="34" charset="0"/>
                  <a:cs typeface="Calibri" panose="020F0502020204030204" pitchFamily="34" charset="0"/>
                </a:rPr>
                <a:t>ISO3166-1 </a:t>
              </a:r>
              <a:r>
                <a:rPr lang="en-US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6" name="Rectangle 155"/>
            <p:cNvSpPr/>
            <p:nvPr/>
          </p:nvSpPr>
          <p:spPr>
            <a:xfrm>
              <a:off x="3878289" y="4704464"/>
              <a:ext cx="202331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livery/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liveryLocation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bc:ID</a:t>
              </a:r>
              <a:endParaRPr lang="en-US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it-IT" dirty="0">
                  <a:latin typeface="Calibri" panose="020F0502020204030204" pitchFamily="34" charset="0"/>
                  <a:cs typeface="Calibri" panose="020F0502020204030204" pitchFamily="34" charset="0"/>
                </a:rPr>
                <a:t>Identificativo del luogo di </a:t>
              </a:r>
              <a:r>
                <a:rPr lang="it-IT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consegna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7" name="Rectangle 156"/>
            <p:cNvSpPr/>
            <p:nvPr/>
          </p:nvSpPr>
          <p:spPr>
            <a:xfrm>
              <a:off x="3878289" y="5199688"/>
              <a:ext cx="2611612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livery/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liveryLocation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Address/…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bc:Line</a:t>
              </a:r>
              <a:endParaRPr lang="en-US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en-US" dirty="0" err="1">
                  <a:latin typeface="Calibri" panose="020F0502020204030204" pitchFamily="34" charset="0"/>
                  <a:cs typeface="Calibri" panose="020F0502020204030204" pitchFamily="34" charset="0"/>
                </a:rPr>
                <a:t>Informazioni</a:t>
              </a:r>
              <a:r>
                <a:rPr lang="en-US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>
                  <a:latin typeface="Calibri" panose="020F0502020204030204" pitchFamily="34" charset="0"/>
                  <a:cs typeface="Calibri" panose="020F0502020204030204" pitchFamily="34" charset="0"/>
                </a:rPr>
                <a:t>aggiuntive</a:t>
              </a:r>
              <a:r>
                <a:rPr lang="en-US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 smtClean="0">
                  <a:latin typeface="Calibri" panose="020F0502020204030204" pitchFamily="34" charset="0"/>
                  <a:cs typeface="Calibri" panose="020F0502020204030204" pitchFamily="34" charset="0"/>
                </a:rPr>
                <a:t>dell'indirizzo</a:t>
              </a:r>
              <a:r>
                <a:rPr lang="en-US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smtClean="0"/>
                <a:t> </a:t>
              </a:r>
              <a:endParaRPr lang="en-US" dirty="0"/>
            </a:p>
          </p:txBody>
        </p:sp>
        <p:sp>
          <p:nvSpPr>
            <p:cNvPr id="158" name="Rectangle 157"/>
            <p:cNvSpPr/>
            <p:nvPr/>
          </p:nvSpPr>
          <p:spPr>
            <a:xfrm>
              <a:off x="3878289" y="5694911"/>
              <a:ext cx="2929007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llowanceCharge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bc:AllowanceChargeReasonCode</a:t>
              </a:r>
              <a:endParaRPr lang="en-US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en-US" dirty="0" err="1" smtClean="0">
                  <a:latin typeface="Calibri" panose="020F0502020204030204" pitchFamily="34" charset="0"/>
                  <a:cs typeface="Calibri" panose="020F0502020204030204" pitchFamily="34" charset="0"/>
                </a:rPr>
                <a:t>Motivo</a:t>
              </a:r>
              <a:r>
                <a:rPr lang="en-US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 smtClean="0">
                  <a:latin typeface="Calibri" panose="020F0502020204030204" pitchFamily="34" charset="0"/>
                  <a:cs typeface="Calibri" panose="020F0502020204030204" pitchFamily="34" charset="0"/>
                </a:rPr>
                <a:t>dello</a:t>
              </a:r>
              <a:r>
                <a:rPr lang="en-US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 smtClean="0">
                  <a:latin typeface="Calibri" panose="020F0502020204030204" pitchFamily="34" charset="0"/>
                  <a:cs typeface="Calibri" panose="020F0502020204030204" pitchFamily="34" charset="0"/>
                </a:rPr>
                <a:t>sconto</a:t>
              </a:r>
              <a:r>
                <a:rPr lang="en-US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/</a:t>
              </a:r>
              <a:r>
                <a:rPr lang="en-US" dirty="0" err="1" smtClean="0">
                  <a:latin typeface="Calibri" panose="020F0502020204030204" pitchFamily="34" charset="0"/>
                  <a:cs typeface="Calibri" panose="020F0502020204030204" pitchFamily="34" charset="0"/>
                </a:rPr>
                <a:t>maggiorazione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1" name="Oval 140"/>
            <p:cNvSpPr>
              <a:spLocks noChangeAspect="1"/>
            </p:cNvSpPr>
            <p:nvPr/>
          </p:nvSpPr>
          <p:spPr>
            <a:xfrm>
              <a:off x="6778316" y="1814812"/>
              <a:ext cx="236727" cy="236727"/>
            </a:xfrm>
            <a:prstGeom prst="ellipse">
              <a:avLst/>
            </a:prstGeom>
            <a:solidFill>
              <a:srgbClr val="00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231" tIns="30956" rIns="72231" bIns="30956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42" name="Oval 141"/>
            <p:cNvSpPr>
              <a:spLocks noChangeAspect="1"/>
            </p:cNvSpPr>
            <p:nvPr/>
          </p:nvSpPr>
          <p:spPr>
            <a:xfrm>
              <a:off x="6778316" y="2803860"/>
              <a:ext cx="236727" cy="236727"/>
            </a:xfrm>
            <a:prstGeom prst="ellipse">
              <a:avLst/>
            </a:prstGeom>
            <a:solidFill>
              <a:srgbClr val="00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231" tIns="30956" rIns="72231" bIns="30956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43" name="Oval 142"/>
            <p:cNvSpPr>
              <a:spLocks noChangeAspect="1"/>
            </p:cNvSpPr>
            <p:nvPr/>
          </p:nvSpPr>
          <p:spPr>
            <a:xfrm>
              <a:off x="6778316" y="3792908"/>
              <a:ext cx="236727" cy="236727"/>
            </a:xfrm>
            <a:prstGeom prst="ellipse">
              <a:avLst/>
            </a:prstGeom>
            <a:solidFill>
              <a:srgbClr val="00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231" tIns="30956" rIns="72231" bIns="30956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44" name="Oval 143"/>
            <p:cNvSpPr>
              <a:spLocks noChangeAspect="1"/>
            </p:cNvSpPr>
            <p:nvPr/>
          </p:nvSpPr>
          <p:spPr>
            <a:xfrm>
              <a:off x="6778316" y="4287432"/>
              <a:ext cx="236727" cy="236727"/>
            </a:xfrm>
            <a:prstGeom prst="ellipse">
              <a:avLst/>
            </a:prstGeom>
            <a:solidFill>
              <a:srgbClr val="00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231" tIns="30956" rIns="72231" bIns="30956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45" name="Oval 144"/>
            <p:cNvSpPr>
              <a:spLocks noChangeAspect="1"/>
            </p:cNvSpPr>
            <p:nvPr/>
          </p:nvSpPr>
          <p:spPr>
            <a:xfrm>
              <a:off x="6778316" y="4781956"/>
              <a:ext cx="236727" cy="236727"/>
            </a:xfrm>
            <a:prstGeom prst="ellipse">
              <a:avLst/>
            </a:prstGeom>
            <a:solidFill>
              <a:srgbClr val="00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231" tIns="30956" rIns="72231" bIns="30956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46" name="Oval 145"/>
            <p:cNvSpPr>
              <a:spLocks noChangeAspect="1"/>
            </p:cNvSpPr>
            <p:nvPr/>
          </p:nvSpPr>
          <p:spPr>
            <a:xfrm>
              <a:off x="6792460" y="5771006"/>
              <a:ext cx="236727" cy="236727"/>
            </a:xfrm>
            <a:prstGeom prst="ellipse">
              <a:avLst/>
            </a:prstGeom>
            <a:solidFill>
              <a:srgbClr val="00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231" tIns="30956" rIns="72231" bIns="30956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47" name="Oval 146"/>
            <p:cNvSpPr>
              <a:spLocks noChangeAspect="1"/>
            </p:cNvSpPr>
            <p:nvPr/>
          </p:nvSpPr>
          <p:spPr>
            <a:xfrm>
              <a:off x="6778316" y="2309336"/>
              <a:ext cx="236727" cy="236727"/>
            </a:xfrm>
            <a:prstGeom prst="ellipse">
              <a:avLst/>
            </a:prstGeom>
            <a:solidFill>
              <a:srgbClr val="00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231" tIns="30956" rIns="72231" bIns="30956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48" name="Oval 147"/>
            <p:cNvSpPr>
              <a:spLocks noChangeAspect="1"/>
            </p:cNvSpPr>
            <p:nvPr/>
          </p:nvSpPr>
          <p:spPr>
            <a:xfrm>
              <a:off x="6778316" y="3298384"/>
              <a:ext cx="236727" cy="236727"/>
            </a:xfrm>
            <a:prstGeom prst="ellipse">
              <a:avLst/>
            </a:prstGeom>
            <a:solidFill>
              <a:srgbClr val="00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231" tIns="30956" rIns="72231" bIns="30956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49" name="Oval 148"/>
            <p:cNvSpPr>
              <a:spLocks noChangeAspect="1"/>
            </p:cNvSpPr>
            <p:nvPr/>
          </p:nvSpPr>
          <p:spPr>
            <a:xfrm>
              <a:off x="6778316" y="5276480"/>
              <a:ext cx="236727" cy="236727"/>
            </a:xfrm>
            <a:prstGeom prst="ellipse">
              <a:avLst/>
            </a:prstGeom>
            <a:solidFill>
              <a:srgbClr val="00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231" tIns="30956" rIns="72231" bIns="30956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1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+</a:t>
              </a:r>
            </a:p>
          </p:txBody>
        </p:sp>
        <p:sp>
          <p:nvSpPr>
            <p:cNvPr id="159" name="Rectangle 158"/>
            <p:cNvSpPr/>
            <p:nvPr/>
          </p:nvSpPr>
          <p:spPr>
            <a:xfrm>
              <a:off x="7015043" y="1733120"/>
              <a:ext cx="2723823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llowanceCharge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bc:MultiplierFactorNumeric</a:t>
              </a:r>
              <a:endParaRPr lang="en-US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it-IT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Moltiplicatore per sconto/maggiorazione in %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0" name="Rectangle 159"/>
            <p:cNvSpPr/>
            <p:nvPr/>
          </p:nvSpPr>
          <p:spPr>
            <a:xfrm>
              <a:off x="7015043" y="2228344"/>
              <a:ext cx="2031325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llowanceCharge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bc:BaseAmount</a:t>
              </a:r>
              <a:endParaRPr lang="en-US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mporto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base</a:t>
              </a:r>
              <a:r>
                <a:rPr lang="en-US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1" name="Rectangle 160"/>
            <p:cNvSpPr/>
            <p:nvPr/>
          </p:nvSpPr>
          <p:spPr>
            <a:xfrm>
              <a:off x="7015043" y="2723568"/>
              <a:ext cx="2675292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AllowanceCharge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/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TaxCategory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cbc:ID</a:t>
              </a:r>
              <a:endParaRPr lang="en-US" b="1" dirty="0" smtClean="0">
                <a:solidFill>
                  <a:srgbClr val="000000"/>
                </a:solidFill>
                <a:latin typeface="Calibri" panose="020F0502020204030204" pitchFamily="34" charset="0"/>
              </a:endParaRPr>
            </a:p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Categoria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 IVA applicate a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sconto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/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maggiorazione</a:t>
              </a:r>
              <a:r>
                <a:rPr lang="en-US" dirty="0" smtClean="0"/>
                <a:t> </a:t>
              </a:r>
              <a:endParaRPr lang="en-US" dirty="0"/>
            </a:p>
          </p:txBody>
        </p:sp>
        <p:sp>
          <p:nvSpPr>
            <p:cNvPr id="162" name="Rectangle 161"/>
            <p:cNvSpPr/>
            <p:nvPr/>
          </p:nvSpPr>
          <p:spPr>
            <a:xfrm>
              <a:off x="7015043" y="3218792"/>
              <a:ext cx="2449710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AllowanceCharge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/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TaxCategory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cbc:Percent</a:t>
              </a:r>
              <a:endParaRPr lang="en-US" b="1" dirty="0" smtClean="0">
                <a:solidFill>
                  <a:srgbClr val="000000"/>
                </a:solidFill>
                <a:latin typeface="Calibri" panose="020F0502020204030204" pitchFamily="34" charset="0"/>
              </a:endParaRPr>
            </a:p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Aliquota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 IVA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definita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 in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percentuale</a:t>
              </a:r>
              <a:r>
                <a:rPr lang="en-US" dirty="0" smtClean="0"/>
                <a:t> </a:t>
              </a:r>
              <a:endParaRPr lang="en-US" dirty="0"/>
            </a:p>
          </p:txBody>
        </p:sp>
        <p:sp>
          <p:nvSpPr>
            <p:cNvPr id="163" name="Rectangle 162"/>
            <p:cNvSpPr/>
            <p:nvPr/>
          </p:nvSpPr>
          <p:spPr>
            <a:xfrm>
              <a:off x="7015043" y="3714016"/>
              <a:ext cx="2800767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AllowanceCharge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/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TaxCategory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/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TaxScheme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cbc:ID</a:t>
              </a:r>
              <a:endParaRPr lang="en-US" b="1" dirty="0" smtClean="0">
                <a:solidFill>
                  <a:srgbClr val="000000"/>
                </a:solidFill>
                <a:latin typeface="Calibri" panose="020F0502020204030204" pitchFamily="34" charset="0"/>
              </a:endParaRPr>
            </a:p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Identificativo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 schema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fiscale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 (e.g. VAT)</a:t>
              </a:r>
              <a:r>
                <a:rPr lang="en-US" dirty="0" smtClean="0"/>
                <a:t> </a:t>
              </a:r>
              <a:endParaRPr lang="en-US" dirty="0"/>
            </a:p>
          </p:txBody>
        </p:sp>
        <p:sp>
          <p:nvSpPr>
            <p:cNvPr id="164" name="Rectangle 163"/>
            <p:cNvSpPr/>
            <p:nvPr/>
          </p:nvSpPr>
          <p:spPr>
            <a:xfrm>
              <a:off x="7015043" y="4209240"/>
              <a:ext cx="2741456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rderLine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/… 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bc:AllowanceChargeReasonCode</a:t>
              </a:r>
              <a:r>
                <a:rPr lang="en-US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</a:p>
            <a:p>
              <a:r>
                <a:rPr lang="it-IT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Motivo dello sconto/maggiorazione</a:t>
              </a: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7015043" y="4704464"/>
              <a:ext cx="2686954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OrderLine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/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LineItem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/Item/ … 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cbc:ID</a:t>
              </a:r>
              <a:endParaRPr lang="en-US" b="1" dirty="0" smtClean="0">
                <a:solidFill>
                  <a:srgbClr val="000000"/>
                </a:solidFill>
                <a:latin typeface="Calibri" panose="020F0502020204030204" pitchFamily="34" charset="0"/>
              </a:endParaRPr>
            </a:p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dentificativo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del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liente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per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’articolo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rdinato</a:t>
              </a:r>
              <a:r>
                <a:rPr lang="en-US" dirty="0" smtClean="0"/>
                <a:t> </a:t>
              </a:r>
              <a:endParaRPr lang="en-US" dirty="0"/>
            </a:p>
          </p:txBody>
        </p:sp>
        <p:sp>
          <p:nvSpPr>
            <p:cNvPr id="31" name="Rectangle 30"/>
            <p:cNvSpPr/>
            <p:nvPr/>
          </p:nvSpPr>
          <p:spPr>
            <a:xfrm>
              <a:off x="7015043" y="5199688"/>
              <a:ext cx="2536272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OrderLine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/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LineItem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/Item/ …. 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cbc:SerialID</a:t>
              </a:r>
              <a:endParaRPr lang="en-US" b="1" dirty="0" smtClean="0">
                <a:solidFill>
                  <a:srgbClr val="000000"/>
                </a:solidFill>
                <a:latin typeface="Calibri" panose="020F0502020204030204" pitchFamily="34" charset="0"/>
              </a:endParaRPr>
            </a:p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Numero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seriale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su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riga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dell’articolo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utilizzato</a:t>
              </a:r>
              <a:r>
                <a:rPr lang="en-US" dirty="0" smtClean="0"/>
                <a:t> </a:t>
              </a:r>
              <a:endParaRPr lang="en-US" dirty="0"/>
            </a:p>
          </p:txBody>
        </p:sp>
        <p:sp>
          <p:nvSpPr>
            <p:cNvPr id="166" name="Rectangle 165"/>
            <p:cNvSpPr/>
            <p:nvPr/>
          </p:nvSpPr>
          <p:spPr>
            <a:xfrm>
              <a:off x="7015043" y="5694911"/>
              <a:ext cx="2597186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OrderLine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/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LineItem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/Item/ … /</a:t>
              </a:r>
              <a:r>
                <a:rPr lang="en-US" b="1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cbc:LotNumerID</a:t>
              </a:r>
              <a:endParaRPr lang="en-US" b="1" dirty="0" smtClean="0">
                <a:solidFill>
                  <a:srgbClr val="000000"/>
                </a:solidFill>
                <a:latin typeface="Calibri" panose="020F0502020204030204" pitchFamily="34" charset="0"/>
              </a:endParaRPr>
            </a:p>
            <a:p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Codice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 lotto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su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riga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dell’articolo</a:t>
              </a:r>
              <a:r>
                <a:rPr lang="en-US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 </a:t>
              </a:r>
              <a:r>
                <a:rPr lang="en-US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utilizzato</a:t>
              </a:r>
              <a:r>
                <a:rPr lang="en-US" dirty="0" smtClean="0"/>
                <a:t> </a:t>
              </a:r>
              <a:endParaRPr lang="en-US" dirty="0"/>
            </a:p>
          </p:txBody>
        </p:sp>
      </p:grpSp>
      <p:sp>
        <p:nvSpPr>
          <p:cNvPr id="81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3935413" y="6511925"/>
            <a:ext cx="2060575" cy="250825"/>
          </a:xfrm>
        </p:spPr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16</a:t>
            </a:fld>
            <a:endParaRPr lang="it-IT" altLang="it-IT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9669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17</a:t>
            </a:fld>
            <a:endParaRPr lang="it-IT" altLang="it-IT" dirty="0"/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1047750" y="222250"/>
            <a:ext cx="8513763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eaLnBrk="0" hangingPunct="0">
              <a:buClr>
                <a:srgbClr val="CC0000"/>
              </a:buClr>
              <a:buSzPct val="70000"/>
              <a:buFont typeface="Wingdings" pitchFamily="2" charset="2"/>
              <a:buNone/>
            </a:pPr>
            <a:r>
              <a:rPr lang="it-IT" sz="28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stema di notifica NSO</a:t>
            </a:r>
            <a:endParaRPr lang="it-IT" sz="2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gray">
          <a:xfrm>
            <a:off x="1617948" y="1445497"/>
            <a:ext cx="252000" cy="4680000"/>
          </a:xfrm>
          <a:prstGeom prst="rect">
            <a:avLst/>
          </a:prstGeom>
          <a:gradFill>
            <a:gsLst>
              <a:gs pos="0">
                <a:srgbClr val="C6DE9A"/>
              </a:gs>
              <a:gs pos="53000">
                <a:srgbClr val="679E2A"/>
              </a:gs>
              <a:gs pos="83000">
                <a:srgbClr val="00B050"/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19050" algn="ctr">
            <a:noFill/>
            <a:miter lim="800000"/>
            <a:headEnd/>
            <a:tailEnd/>
          </a:ln>
        </p:spPr>
        <p:txBody>
          <a:bodyPr lIns="82062" tIns="82062" rIns="82062" bIns="82062" anchor="ctr"/>
          <a:lstStyle/>
          <a:p>
            <a:pPr algn="ctr" eaLnBrk="1" hangingPunct="1">
              <a:lnSpc>
                <a:spcPct val="106000"/>
              </a:lnSpc>
              <a:buFont typeface="Wingdings 2" pitchFamily="18" charset="2"/>
              <a:buNone/>
              <a:defRPr/>
            </a:pPr>
            <a:endParaRPr lang="it-IT" sz="1477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353159" y="1745892"/>
            <a:ext cx="7200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ascun </a:t>
            </a:r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dine di NSO viene attribuito uno specifico 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Id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Trasmissione</a:t>
            </a:r>
            <a:r>
              <a:rPr lang="it-IT" sz="18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 cui l’ordine potrà essere ricercato sulla Piattaforma di certificazione dei crediti.</a:t>
            </a:r>
            <a:endParaRPr lang="en-US" sz="1463" b="1" dirty="0">
              <a:solidFill>
                <a:srgbClr val="0F6FC6"/>
              </a:solidFill>
              <a:latin typeface="Calibri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353159" y="3145002"/>
            <a:ext cx="7200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l </a:t>
            </a:r>
            <a:r>
              <a:rPr lang="it-IT" sz="1800" b="1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smittente</a:t>
            </a:r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iceve almeno una </a:t>
            </a:r>
            <a:r>
              <a:rPr lang="it-IT" sz="1800" b="1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ifica:</a:t>
            </a:r>
          </a:p>
          <a:p>
            <a:pPr marL="800100" lvl="1" indent="-342900" algn="just" defTabSz="742950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lphaLcParenR"/>
              <a:defRPr/>
            </a:pP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 la validazione ha avuto </a:t>
            </a:r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ccesso «</a:t>
            </a:r>
            <a:r>
              <a:rPr lang="it-IT" sz="1800" i="1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ifica </a:t>
            </a:r>
            <a:r>
              <a:rPr lang="it-IT" sz="1800" i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 </a:t>
            </a:r>
            <a:r>
              <a:rPr lang="it-IT" sz="1800" i="1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lidazione</a:t>
            </a:r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;</a:t>
            </a:r>
            <a:endParaRPr lang="it-IT" sz="180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00100" lvl="1" indent="-342900" algn="just" defTabSz="742950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lphaLcParenR"/>
              <a:defRPr/>
            </a:pP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 la validazione è </a:t>
            </a:r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llita «</a:t>
            </a:r>
            <a:r>
              <a:rPr lang="it-IT" sz="1800" i="1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ifica di scarto</a:t>
            </a:r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353159" y="4889320"/>
            <a:ext cx="720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l servizio </a:t>
            </a:r>
            <a:r>
              <a:rPr lang="it-IT" sz="1800" b="1" dirty="0" err="1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uperoDocumento</a:t>
            </a:r>
            <a:r>
              <a:rPr lang="it-IT" sz="1800" b="1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1800" dirty="0" err="1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I</a:t>
            </a:r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ER consente il recupero delle notifiche.</a:t>
            </a:r>
            <a:endParaRPr lang="en-US" sz="1463" dirty="0">
              <a:solidFill>
                <a:srgbClr val="0F6FC6"/>
              </a:solidFill>
              <a:latin typeface="Calibri"/>
            </a:endParaRPr>
          </a:p>
        </p:txBody>
      </p:sp>
      <p:sp>
        <p:nvSpPr>
          <p:cNvPr id="31" name="Oval 29"/>
          <p:cNvSpPr>
            <a:spLocks noChangeArrowheads="1"/>
          </p:cNvSpPr>
          <p:nvPr/>
        </p:nvSpPr>
        <p:spPr bwMode="gray">
          <a:xfrm>
            <a:off x="1438845" y="1864430"/>
            <a:ext cx="599343" cy="597877"/>
          </a:xfrm>
          <a:prstGeom prst="ellipse">
            <a:avLst/>
          </a:prstGeom>
          <a:solidFill>
            <a:schemeClr val="bg1"/>
          </a:solidFill>
          <a:ln w="57150" algn="ctr">
            <a:solidFill>
              <a:schemeClr val="bg1"/>
            </a:solidFill>
            <a:miter lim="800000"/>
            <a:headEnd/>
            <a:tailEnd/>
          </a:ln>
        </p:spPr>
        <p:txBody>
          <a:bodyPr lIns="82062" tIns="82062" rIns="82062" bIns="82062" anchor="ctr"/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106000"/>
              </a:lnSpc>
              <a:spcBef>
                <a:spcPct val="0"/>
              </a:spcBef>
              <a:buClrTx/>
              <a:buFont typeface="Wingdings 2" panose="05020102010507070707" pitchFamily="18" charset="2"/>
              <a:buNone/>
            </a:pPr>
            <a:endParaRPr lang="it-IT" altLang="it-IT" sz="1477" b="1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2" name="Oval 29"/>
          <p:cNvSpPr>
            <a:spLocks noChangeArrowheads="1"/>
          </p:cNvSpPr>
          <p:nvPr/>
        </p:nvSpPr>
        <p:spPr bwMode="gray">
          <a:xfrm>
            <a:off x="1435946" y="3307729"/>
            <a:ext cx="599343" cy="597877"/>
          </a:xfrm>
          <a:prstGeom prst="ellipse">
            <a:avLst/>
          </a:prstGeom>
          <a:solidFill>
            <a:schemeClr val="bg1"/>
          </a:solidFill>
          <a:ln w="57150" algn="ctr">
            <a:solidFill>
              <a:schemeClr val="bg1"/>
            </a:solidFill>
            <a:miter lim="800000"/>
            <a:headEnd/>
            <a:tailEnd/>
          </a:ln>
        </p:spPr>
        <p:txBody>
          <a:bodyPr lIns="82062" tIns="82062" rIns="82062" bIns="82062" anchor="ctr"/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106000"/>
              </a:lnSpc>
              <a:spcBef>
                <a:spcPct val="0"/>
              </a:spcBef>
              <a:buClrTx/>
              <a:buFont typeface="Wingdings 2" panose="05020102010507070707" pitchFamily="18" charset="2"/>
              <a:buNone/>
            </a:pPr>
            <a:endParaRPr lang="it-IT" altLang="it-IT" sz="1477" b="1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6" name="Oval 29"/>
          <p:cNvSpPr>
            <a:spLocks noChangeArrowheads="1"/>
          </p:cNvSpPr>
          <p:nvPr/>
        </p:nvSpPr>
        <p:spPr bwMode="gray">
          <a:xfrm>
            <a:off x="1451070" y="4880853"/>
            <a:ext cx="599343" cy="597877"/>
          </a:xfrm>
          <a:prstGeom prst="ellipse">
            <a:avLst/>
          </a:prstGeom>
          <a:solidFill>
            <a:schemeClr val="bg1"/>
          </a:solidFill>
          <a:ln w="57150" algn="ctr">
            <a:solidFill>
              <a:schemeClr val="bg1"/>
            </a:solidFill>
            <a:miter lim="800000"/>
            <a:headEnd/>
            <a:tailEnd/>
          </a:ln>
        </p:spPr>
        <p:txBody>
          <a:bodyPr lIns="82062" tIns="82062" rIns="82062" bIns="82062" anchor="ctr"/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106000"/>
              </a:lnSpc>
              <a:spcBef>
                <a:spcPct val="0"/>
              </a:spcBef>
              <a:buClrTx/>
              <a:buFont typeface="Wingdings 2" panose="05020102010507070707" pitchFamily="18" charset="2"/>
              <a:buNone/>
            </a:pPr>
            <a:endParaRPr lang="it-IT" altLang="it-IT" sz="1477" b="1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67" name="Freeform 183"/>
          <p:cNvSpPr>
            <a:spLocks noChangeAspect="1" noEditPoints="1"/>
          </p:cNvSpPr>
          <p:nvPr/>
        </p:nvSpPr>
        <p:spPr bwMode="auto">
          <a:xfrm>
            <a:off x="1474084" y="1901835"/>
            <a:ext cx="540000" cy="540000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52 w 512"/>
              <a:gd name="T11" fmla="*/ 374 h 512"/>
              <a:gd name="T12" fmla="*/ 347 w 512"/>
              <a:gd name="T13" fmla="*/ 382 h 512"/>
              <a:gd name="T14" fmla="*/ 341 w 512"/>
              <a:gd name="T15" fmla="*/ 384 h 512"/>
              <a:gd name="T16" fmla="*/ 337 w 512"/>
              <a:gd name="T17" fmla="*/ 383 h 512"/>
              <a:gd name="T18" fmla="*/ 252 w 512"/>
              <a:gd name="T19" fmla="*/ 348 h 512"/>
              <a:gd name="T20" fmla="*/ 222 w 512"/>
              <a:gd name="T21" fmla="*/ 390 h 512"/>
              <a:gd name="T22" fmla="*/ 222 w 512"/>
              <a:gd name="T23" fmla="*/ 390 h 512"/>
              <a:gd name="T24" fmla="*/ 213 w 512"/>
              <a:gd name="T25" fmla="*/ 394 h 512"/>
              <a:gd name="T26" fmla="*/ 212 w 512"/>
              <a:gd name="T27" fmla="*/ 394 h 512"/>
              <a:gd name="T28" fmla="*/ 203 w 512"/>
              <a:gd name="T29" fmla="*/ 387 h 512"/>
              <a:gd name="T30" fmla="*/ 184 w 512"/>
              <a:gd name="T31" fmla="*/ 320 h 512"/>
              <a:gd name="T32" fmla="*/ 102 w 512"/>
              <a:gd name="T33" fmla="*/ 287 h 512"/>
              <a:gd name="T34" fmla="*/ 96 w 512"/>
              <a:gd name="T35" fmla="*/ 278 h 512"/>
              <a:gd name="T36" fmla="*/ 101 w 512"/>
              <a:gd name="T37" fmla="*/ 268 h 512"/>
              <a:gd name="T38" fmla="*/ 357 w 512"/>
              <a:gd name="T39" fmla="*/ 118 h 512"/>
              <a:gd name="T40" fmla="*/ 368 w 512"/>
              <a:gd name="T41" fmla="*/ 119 h 512"/>
              <a:gd name="T42" fmla="*/ 373 w 512"/>
              <a:gd name="T43" fmla="*/ 129 h 512"/>
              <a:gd name="T44" fmla="*/ 352 w 512"/>
              <a:gd name="T45" fmla="*/ 374 h 512"/>
              <a:gd name="T46" fmla="*/ 304 w 512"/>
              <a:gd name="T47" fmla="*/ 174 h 512"/>
              <a:gd name="T48" fmla="*/ 187 w 512"/>
              <a:gd name="T49" fmla="*/ 298 h 512"/>
              <a:gd name="T50" fmla="*/ 130 w 512"/>
              <a:gd name="T51" fmla="*/ 275 h 512"/>
              <a:gd name="T52" fmla="*/ 304 w 512"/>
              <a:gd name="T53" fmla="*/ 174 h 512"/>
              <a:gd name="T54" fmla="*/ 294 w 512"/>
              <a:gd name="T55" fmla="*/ 216 h 512"/>
              <a:gd name="T56" fmla="*/ 225 w 512"/>
              <a:gd name="T57" fmla="*/ 325 h 512"/>
              <a:gd name="T58" fmla="*/ 224 w 512"/>
              <a:gd name="T59" fmla="*/ 326 h 512"/>
              <a:gd name="T60" fmla="*/ 215 w 512"/>
              <a:gd name="T61" fmla="*/ 351 h 512"/>
              <a:gd name="T62" fmla="*/ 204 w 512"/>
              <a:gd name="T63" fmla="*/ 312 h 512"/>
              <a:gd name="T64" fmla="*/ 294 w 512"/>
              <a:gd name="T65" fmla="*/ 216 h 512"/>
              <a:gd name="T66" fmla="*/ 251 w 512"/>
              <a:gd name="T67" fmla="*/ 325 h 512"/>
              <a:gd name="T68" fmla="*/ 348 w 512"/>
              <a:gd name="T69" fmla="*/ 170 h 512"/>
              <a:gd name="T70" fmla="*/ 332 w 512"/>
              <a:gd name="T71" fmla="*/ 358 h 512"/>
              <a:gd name="T72" fmla="*/ 251 w 512"/>
              <a:gd name="T73" fmla="*/ 32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52" y="374"/>
                </a:moveTo>
                <a:cubicBezTo>
                  <a:pt x="351" y="377"/>
                  <a:pt x="349" y="380"/>
                  <a:pt x="347" y="382"/>
                </a:cubicBezTo>
                <a:cubicBezTo>
                  <a:pt x="345" y="383"/>
                  <a:pt x="343" y="384"/>
                  <a:pt x="341" y="384"/>
                </a:cubicBezTo>
                <a:cubicBezTo>
                  <a:pt x="340" y="384"/>
                  <a:pt x="338" y="383"/>
                  <a:pt x="337" y="383"/>
                </a:cubicBezTo>
                <a:cubicBezTo>
                  <a:pt x="252" y="348"/>
                  <a:pt x="252" y="348"/>
                  <a:pt x="252" y="348"/>
                </a:cubicBezTo>
                <a:cubicBezTo>
                  <a:pt x="222" y="390"/>
                  <a:pt x="222" y="390"/>
                  <a:pt x="222" y="390"/>
                </a:cubicBezTo>
                <a:cubicBezTo>
                  <a:pt x="222" y="390"/>
                  <a:pt x="222" y="390"/>
                  <a:pt x="222" y="390"/>
                </a:cubicBezTo>
                <a:cubicBezTo>
                  <a:pt x="220" y="393"/>
                  <a:pt x="216" y="394"/>
                  <a:pt x="213" y="394"/>
                </a:cubicBezTo>
                <a:cubicBezTo>
                  <a:pt x="213" y="394"/>
                  <a:pt x="213" y="394"/>
                  <a:pt x="212" y="394"/>
                </a:cubicBezTo>
                <a:cubicBezTo>
                  <a:pt x="208" y="394"/>
                  <a:pt x="204" y="391"/>
                  <a:pt x="203" y="387"/>
                </a:cubicBezTo>
                <a:cubicBezTo>
                  <a:pt x="184" y="320"/>
                  <a:pt x="184" y="320"/>
                  <a:pt x="184" y="320"/>
                </a:cubicBezTo>
                <a:cubicBezTo>
                  <a:pt x="102" y="287"/>
                  <a:pt x="102" y="287"/>
                  <a:pt x="102" y="287"/>
                </a:cubicBezTo>
                <a:cubicBezTo>
                  <a:pt x="99" y="285"/>
                  <a:pt x="96" y="282"/>
                  <a:pt x="96" y="278"/>
                </a:cubicBezTo>
                <a:cubicBezTo>
                  <a:pt x="95" y="274"/>
                  <a:pt x="97" y="270"/>
                  <a:pt x="101" y="268"/>
                </a:cubicBezTo>
                <a:cubicBezTo>
                  <a:pt x="357" y="118"/>
                  <a:pt x="357" y="118"/>
                  <a:pt x="357" y="118"/>
                </a:cubicBezTo>
                <a:cubicBezTo>
                  <a:pt x="360" y="116"/>
                  <a:pt x="365" y="117"/>
                  <a:pt x="368" y="119"/>
                </a:cubicBezTo>
                <a:cubicBezTo>
                  <a:pt x="371" y="121"/>
                  <a:pt x="373" y="125"/>
                  <a:pt x="373" y="129"/>
                </a:cubicBezTo>
                <a:lnTo>
                  <a:pt x="352" y="374"/>
                </a:lnTo>
                <a:close/>
                <a:moveTo>
                  <a:pt x="304" y="174"/>
                </a:moveTo>
                <a:cubicBezTo>
                  <a:pt x="187" y="298"/>
                  <a:pt x="187" y="298"/>
                  <a:pt x="187" y="298"/>
                </a:cubicBezTo>
                <a:cubicBezTo>
                  <a:pt x="130" y="275"/>
                  <a:pt x="130" y="275"/>
                  <a:pt x="130" y="275"/>
                </a:cubicBezTo>
                <a:lnTo>
                  <a:pt x="304" y="174"/>
                </a:lnTo>
                <a:close/>
                <a:moveTo>
                  <a:pt x="294" y="216"/>
                </a:moveTo>
                <a:cubicBezTo>
                  <a:pt x="225" y="325"/>
                  <a:pt x="225" y="325"/>
                  <a:pt x="225" y="325"/>
                </a:cubicBezTo>
                <a:cubicBezTo>
                  <a:pt x="225" y="325"/>
                  <a:pt x="225" y="326"/>
                  <a:pt x="224" y="326"/>
                </a:cubicBezTo>
                <a:cubicBezTo>
                  <a:pt x="215" y="351"/>
                  <a:pt x="215" y="351"/>
                  <a:pt x="215" y="351"/>
                </a:cubicBezTo>
                <a:cubicBezTo>
                  <a:pt x="204" y="312"/>
                  <a:pt x="204" y="312"/>
                  <a:pt x="204" y="312"/>
                </a:cubicBezTo>
                <a:lnTo>
                  <a:pt x="294" y="216"/>
                </a:lnTo>
                <a:close/>
                <a:moveTo>
                  <a:pt x="251" y="325"/>
                </a:moveTo>
                <a:cubicBezTo>
                  <a:pt x="348" y="170"/>
                  <a:pt x="348" y="170"/>
                  <a:pt x="348" y="170"/>
                </a:cubicBezTo>
                <a:cubicBezTo>
                  <a:pt x="332" y="358"/>
                  <a:pt x="332" y="358"/>
                  <a:pt x="332" y="358"/>
                </a:cubicBezTo>
                <a:lnTo>
                  <a:pt x="251" y="325"/>
                </a:lnTo>
                <a:close/>
              </a:path>
            </a:pathLst>
          </a:custGeom>
          <a:solidFill>
            <a:srgbClr val="006B00"/>
          </a:solidFill>
          <a:ln>
            <a:solidFill>
              <a:schemeClr val="bg1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8" name="Freeform 885"/>
          <p:cNvSpPr>
            <a:spLocks noChangeAspect="1" noEditPoints="1"/>
          </p:cNvSpPr>
          <p:nvPr/>
        </p:nvSpPr>
        <p:spPr bwMode="auto">
          <a:xfrm>
            <a:off x="1446948" y="4909791"/>
            <a:ext cx="594000" cy="540000"/>
          </a:xfrm>
          <a:custGeom>
            <a:avLst/>
            <a:gdLst>
              <a:gd name="T0" fmla="*/ 296 w 562"/>
              <a:gd name="T1" fmla="*/ 234 h 512"/>
              <a:gd name="T2" fmla="*/ 398 w 562"/>
              <a:gd name="T3" fmla="*/ 234 h 512"/>
              <a:gd name="T4" fmla="*/ 398 w 562"/>
              <a:gd name="T5" fmla="*/ 373 h 512"/>
              <a:gd name="T6" fmla="*/ 163 w 562"/>
              <a:gd name="T7" fmla="*/ 373 h 512"/>
              <a:gd name="T8" fmla="*/ 163 w 562"/>
              <a:gd name="T9" fmla="*/ 213 h 512"/>
              <a:gd name="T10" fmla="*/ 219 w 562"/>
              <a:gd name="T11" fmla="*/ 213 h 512"/>
              <a:gd name="T12" fmla="*/ 233 w 562"/>
              <a:gd name="T13" fmla="*/ 230 h 512"/>
              <a:gd name="T14" fmla="*/ 241 w 562"/>
              <a:gd name="T15" fmla="*/ 234 h 512"/>
              <a:gd name="T16" fmla="*/ 275 w 562"/>
              <a:gd name="T17" fmla="*/ 234 h 512"/>
              <a:gd name="T18" fmla="*/ 270 w 562"/>
              <a:gd name="T19" fmla="*/ 283 h 512"/>
              <a:gd name="T20" fmla="*/ 246 w 562"/>
              <a:gd name="T21" fmla="*/ 259 h 512"/>
              <a:gd name="T22" fmla="*/ 230 w 562"/>
              <a:gd name="T23" fmla="*/ 259 h 512"/>
              <a:gd name="T24" fmla="*/ 230 w 562"/>
              <a:gd name="T25" fmla="*/ 274 h 512"/>
              <a:gd name="T26" fmla="*/ 273 w 562"/>
              <a:gd name="T27" fmla="*/ 317 h 512"/>
              <a:gd name="T28" fmla="*/ 281 w 562"/>
              <a:gd name="T29" fmla="*/ 320 h 512"/>
              <a:gd name="T30" fmla="*/ 288 w 562"/>
              <a:gd name="T31" fmla="*/ 317 h 512"/>
              <a:gd name="T32" fmla="*/ 331 w 562"/>
              <a:gd name="T33" fmla="*/ 274 h 512"/>
              <a:gd name="T34" fmla="*/ 331 w 562"/>
              <a:gd name="T35" fmla="*/ 259 h 512"/>
              <a:gd name="T36" fmla="*/ 316 w 562"/>
              <a:gd name="T37" fmla="*/ 259 h 512"/>
              <a:gd name="T38" fmla="*/ 291 w 562"/>
              <a:gd name="T39" fmla="*/ 283 h 512"/>
              <a:gd name="T40" fmla="*/ 296 w 562"/>
              <a:gd name="T41" fmla="*/ 234 h 512"/>
              <a:gd name="T42" fmla="*/ 462 w 562"/>
              <a:gd name="T43" fmla="*/ 437 h 512"/>
              <a:gd name="T44" fmla="*/ 281 w 562"/>
              <a:gd name="T45" fmla="*/ 512 h 512"/>
              <a:gd name="T46" fmla="*/ 100 w 562"/>
              <a:gd name="T47" fmla="*/ 437 h 512"/>
              <a:gd name="T48" fmla="*/ 100 w 562"/>
              <a:gd name="T49" fmla="*/ 75 h 512"/>
              <a:gd name="T50" fmla="*/ 281 w 562"/>
              <a:gd name="T51" fmla="*/ 0 h 512"/>
              <a:gd name="T52" fmla="*/ 462 w 562"/>
              <a:gd name="T53" fmla="*/ 75 h 512"/>
              <a:gd name="T54" fmla="*/ 462 w 562"/>
              <a:gd name="T55" fmla="*/ 437 h 512"/>
              <a:gd name="T56" fmla="*/ 419 w 562"/>
              <a:gd name="T57" fmla="*/ 224 h 512"/>
              <a:gd name="T58" fmla="*/ 409 w 562"/>
              <a:gd name="T59" fmla="*/ 213 h 512"/>
              <a:gd name="T60" fmla="*/ 302 w 562"/>
              <a:gd name="T61" fmla="*/ 213 h 512"/>
              <a:gd name="T62" fmla="*/ 403 w 562"/>
              <a:gd name="T63" fmla="*/ 149 h 512"/>
              <a:gd name="T64" fmla="*/ 414 w 562"/>
              <a:gd name="T65" fmla="*/ 138 h 512"/>
              <a:gd name="T66" fmla="*/ 403 w 562"/>
              <a:gd name="T67" fmla="*/ 128 h 512"/>
              <a:gd name="T68" fmla="*/ 280 w 562"/>
              <a:gd name="T69" fmla="*/ 213 h 512"/>
              <a:gd name="T70" fmla="*/ 246 w 562"/>
              <a:gd name="T71" fmla="*/ 213 h 512"/>
              <a:gd name="T72" fmla="*/ 232 w 562"/>
              <a:gd name="T73" fmla="*/ 196 h 512"/>
              <a:gd name="T74" fmla="*/ 224 w 562"/>
              <a:gd name="T75" fmla="*/ 192 h 512"/>
              <a:gd name="T76" fmla="*/ 153 w 562"/>
              <a:gd name="T77" fmla="*/ 192 h 512"/>
              <a:gd name="T78" fmla="*/ 142 w 562"/>
              <a:gd name="T79" fmla="*/ 202 h 512"/>
              <a:gd name="T80" fmla="*/ 142 w 562"/>
              <a:gd name="T81" fmla="*/ 384 h 512"/>
              <a:gd name="T82" fmla="*/ 153 w 562"/>
              <a:gd name="T83" fmla="*/ 394 h 512"/>
              <a:gd name="T84" fmla="*/ 409 w 562"/>
              <a:gd name="T85" fmla="*/ 394 h 512"/>
              <a:gd name="T86" fmla="*/ 419 w 562"/>
              <a:gd name="T87" fmla="*/ 384 h 512"/>
              <a:gd name="T88" fmla="*/ 419 w 562"/>
              <a:gd name="T89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62" h="512">
                <a:moveTo>
                  <a:pt x="296" y="234"/>
                </a:moveTo>
                <a:cubicBezTo>
                  <a:pt x="398" y="234"/>
                  <a:pt x="398" y="234"/>
                  <a:pt x="398" y="234"/>
                </a:cubicBezTo>
                <a:cubicBezTo>
                  <a:pt x="398" y="373"/>
                  <a:pt x="398" y="373"/>
                  <a:pt x="398" y="373"/>
                </a:cubicBezTo>
                <a:cubicBezTo>
                  <a:pt x="163" y="373"/>
                  <a:pt x="163" y="373"/>
                  <a:pt x="163" y="373"/>
                </a:cubicBezTo>
                <a:cubicBezTo>
                  <a:pt x="163" y="213"/>
                  <a:pt x="163" y="213"/>
                  <a:pt x="163" y="213"/>
                </a:cubicBezTo>
                <a:cubicBezTo>
                  <a:pt x="219" y="213"/>
                  <a:pt x="219" y="213"/>
                  <a:pt x="219" y="213"/>
                </a:cubicBezTo>
                <a:cubicBezTo>
                  <a:pt x="233" y="230"/>
                  <a:pt x="233" y="230"/>
                  <a:pt x="233" y="230"/>
                </a:cubicBezTo>
                <a:cubicBezTo>
                  <a:pt x="235" y="233"/>
                  <a:pt x="238" y="234"/>
                  <a:pt x="241" y="234"/>
                </a:cubicBezTo>
                <a:cubicBezTo>
                  <a:pt x="275" y="234"/>
                  <a:pt x="275" y="234"/>
                  <a:pt x="275" y="234"/>
                </a:cubicBezTo>
                <a:cubicBezTo>
                  <a:pt x="272" y="249"/>
                  <a:pt x="270" y="266"/>
                  <a:pt x="270" y="283"/>
                </a:cubicBezTo>
                <a:cubicBezTo>
                  <a:pt x="246" y="259"/>
                  <a:pt x="246" y="259"/>
                  <a:pt x="246" y="259"/>
                </a:cubicBezTo>
                <a:cubicBezTo>
                  <a:pt x="241" y="255"/>
                  <a:pt x="235" y="255"/>
                  <a:pt x="230" y="259"/>
                </a:cubicBezTo>
                <a:cubicBezTo>
                  <a:pt x="226" y="263"/>
                  <a:pt x="226" y="270"/>
                  <a:pt x="230" y="274"/>
                </a:cubicBezTo>
                <a:cubicBezTo>
                  <a:pt x="273" y="317"/>
                  <a:pt x="273" y="317"/>
                  <a:pt x="273" y="317"/>
                </a:cubicBezTo>
                <a:cubicBezTo>
                  <a:pt x="275" y="319"/>
                  <a:pt x="278" y="320"/>
                  <a:pt x="281" y="320"/>
                </a:cubicBezTo>
                <a:cubicBezTo>
                  <a:pt x="283" y="320"/>
                  <a:pt x="286" y="319"/>
                  <a:pt x="288" y="317"/>
                </a:cubicBezTo>
                <a:cubicBezTo>
                  <a:pt x="331" y="274"/>
                  <a:pt x="331" y="274"/>
                  <a:pt x="331" y="274"/>
                </a:cubicBezTo>
                <a:cubicBezTo>
                  <a:pt x="335" y="270"/>
                  <a:pt x="335" y="263"/>
                  <a:pt x="331" y="259"/>
                </a:cubicBezTo>
                <a:cubicBezTo>
                  <a:pt x="327" y="255"/>
                  <a:pt x="320" y="255"/>
                  <a:pt x="316" y="259"/>
                </a:cubicBezTo>
                <a:cubicBezTo>
                  <a:pt x="291" y="283"/>
                  <a:pt x="291" y="283"/>
                  <a:pt x="291" y="283"/>
                </a:cubicBezTo>
                <a:cubicBezTo>
                  <a:pt x="292" y="265"/>
                  <a:pt x="293" y="249"/>
                  <a:pt x="296" y="234"/>
                </a:cubicBezTo>
                <a:close/>
                <a:moveTo>
                  <a:pt x="462" y="437"/>
                </a:moveTo>
                <a:cubicBezTo>
                  <a:pt x="412" y="487"/>
                  <a:pt x="346" y="512"/>
                  <a:pt x="281" y="512"/>
                </a:cubicBezTo>
                <a:cubicBezTo>
                  <a:pt x="215" y="512"/>
                  <a:pt x="150" y="487"/>
                  <a:pt x="100" y="437"/>
                </a:cubicBezTo>
                <a:cubicBezTo>
                  <a:pt x="0" y="337"/>
                  <a:pt x="0" y="175"/>
                  <a:pt x="100" y="75"/>
                </a:cubicBezTo>
                <a:cubicBezTo>
                  <a:pt x="150" y="25"/>
                  <a:pt x="215" y="0"/>
                  <a:pt x="281" y="0"/>
                </a:cubicBezTo>
                <a:cubicBezTo>
                  <a:pt x="346" y="0"/>
                  <a:pt x="412" y="25"/>
                  <a:pt x="462" y="75"/>
                </a:cubicBezTo>
                <a:cubicBezTo>
                  <a:pt x="562" y="175"/>
                  <a:pt x="562" y="337"/>
                  <a:pt x="462" y="437"/>
                </a:cubicBezTo>
                <a:close/>
                <a:moveTo>
                  <a:pt x="419" y="224"/>
                </a:moveTo>
                <a:cubicBezTo>
                  <a:pt x="419" y="218"/>
                  <a:pt x="415" y="213"/>
                  <a:pt x="409" y="213"/>
                </a:cubicBezTo>
                <a:cubicBezTo>
                  <a:pt x="302" y="213"/>
                  <a:pt x="302" y="213"/>
                  <a:pt x="302" y="213"/>
                </a:cubicBezTo>
                <a:cubicBezTo>
                  <a:pt x="318" y="170"/>
                  <a:pt x="351" y="149"/>
                  <a:pt x="403" y="149"/>
                </a:cubicBezTo>
                <a:cubicBezTo>
                  <a:pt x="409" y="149"/>
                  <a:pt x="414" y="144"/>
                  <a:pt x="414" y="138"/>
                </a:cubicBezTo>
                <a:cubicBezTo>
                  <a:pt x="414" y="132"/>
                  <a:pt x="409" y="128"/>
                  <a:pt x="403" y="128"/>
                </a:cubicBezTo>
                <a:cubicBezTo>
                  <a:pt x="339" y="128"/>
                  <a:pt x="298" y="157"/>
                  <a:pt x="280" y="213"/>
                </a:cubicBezTo>
                <a:cubicBezTo>
                  <a:pt x="246" y="213"/>
                  <a:pt x="246" y="213"/>
                  <a:pt x="246" y="213"/>
                </a:cubicBezTo>
                <a:cubicBezTo>
                  <a:pt x="232" y="196"/>
                  <a:pt x="232" y="196"/>
                  <a:pt x="232" y="196"/>
                </a:cubicBezTo>
                <a:cubicBezTo>
                  <a:pt x="230" y="193"/>
                  <a:pt x="227" y="192"/>
                  <a:pt x="224" y="192"/>
                </a:cubicBezTo>
                <a:cubicBezTo>
                  <a:pt x="153" y="192"/>
                  <a:pt x="153" y="192"/>
                  <a:pt x="153" y="192"/>
                </a:cubicBezTo>
                <a:cubicBezTo>
                  <a:pt x="147" y="192"/>
                  <a:pt x="142" y="196"/>
                  <a:pt x="142" y="202"/>
                </a:cubicBezTo>
                <a:cubicBezTo>
                  <a:pt x="142" y="384"/>
                  <a:pt x="142" y="384"/>
                  <a:pt x="142" y="384"/>
                </a:cubicBezTo>
                <a:cubicBezTo>
                  <a:pt x="142" y="390"/>
                  <a:pt x="147" y="394"/>
                  <a:pt x="153" y="394"/>
                </a:cubicBezTo>
                <a:cubicBezTo>
                  <a:pt x="409" y="394"/>
                  <a:pt x="409" y="394"/>
                  <a:pt x="409" y="394"/>
                </a:cubicBezTo>
                <a:cubicBezTo>
                  <a:pt x="415" y="394"/>
                  <a:pt x="419" y="390"/>
                  <a:pt x="419" y="384"/>
                </a:cubicBezTo>
                <a:lnTo>
                  <a:pt x="419" y="224"/>
                </a:lnTo>
                <a:close/>
              </a:path>
            </a:pathLst>
          </a:custGeom>
          <a:solidFill>
            <a:srgbClr val="006B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5" name="Freeform 636"/>
          <p:cNvSpPr>
            <a:spLocks noChangeAspect="1" noEditPoints="1"/>
          </p:cNvSpPr>
          <p:nvPr/>
        </p:nvSpPr>
        <p:spPr bwMode="auto">
          <a:xfrm>
            <a:off x="1480741" y="3336667"/>
            <a:ext cx="540000" cy="540000"/>
          </a:xfrm>
          <a:custGeom>
            <a:avLst/>
            <a:gdLst>
              <a:gd name="T0" fmla="*/ 260 w 512"/>
              <a:gd name="T1" fmla="*/ 165 h 512"/>
              <a:gd name="T2" fmla="*/ 295 w 512"/>
              <a:gd name="T3" fmla="*/ 288 h 512"/>
              <a:gd name="T4" fmla="*/ 128 w 512"/>
              <a:gd name="T5" fmla="*/ 288 h 512"/>
              <a:gd name="T6" fmla="*/ 119 w 512"/>
              <a:gd name="T7" fmla="*/ 250 h 512"/>
              <a:gd name="T8" fmla="*/ 260 w 512"/>
              <a:gd name="T9" fmla="*/ 165 h 512"/>
              <a:gd name="T10" fmla="*/ 192 w 512"/>
              <a:gd name="T11" fmla="*/ 309 h 512"/>
              <a:gd name="T12" fmla="*/ 213 w 512"/>
              <a:gd name="T13" fmla="*/ 330 h 512"/>
              <a:gd name="T14" fmla="*/ 234 w 512"/>
              <a:gd name="T15" fmla="*/ 309 h 512"/>
              <a:gd name="T16" fmla="*/ 234 w 512"/>
              <a:gd name="T17" fmla="*/ 309 h 512"/>
              <a:gd name="T18" fmla="*/ 192 w 512"/>
              <a:gd name="T19" fmla="*/ 309 h 512"/>
              <a:gd name="T20" fmla="*/ 192 w 512"/>
              <a:gd name="T21" fmla="*/ 309 h 512"/>
              <a:gd name="T22" fmla="*/ 512 w 512"/>
              <a:gd name="T23" fmla="*/ 256 h 512"/>
              <a:gd name="T24" fmla="*/ 256 w 512"/>
              <a:gd name="T25" fmla="*/ 512 h 512"/>
              <a:gd name="T26" fmla="*/ 0 w 512"/>
              <a:gd name="T27" fmla="*/ 256 h 512"/>
              <a:gd name="T28" fmla="*/ 256 w 512"/>
              <a:gd name="T29" fmla="*/ 0 h 512"/>
              <a:gd name="T30" fmla="*/ 512 w 512"/>
              <a:gd name="T31" fmla="*/ 256 h 512"/>
              <a:gd name="T32" fmla="*/ 301 w 512"/>
              <a:gd name="T33" fmla="*/ 177 h 512"/>
              <a:gd name="T34" fmla="*/ 309 w 512"/>
              <a:gd name="T35" fmla="*/ 181 h 512"/>
              <a:gd name="T36" fmla="*/ 316 w 512"/>
              <a:gd name="T37" fmla="*/ 179 h 512"/>
              <a:gd name="T38" fmla="*/ 369 w 512"/>
              <a:gd name="T39" fmla="*/ 136 h 512"/>
              <a:gd name="T40" fmla="*/ 371 w 512"/>
              <a:gd name="T41" fmla="*/ 121 h 512"/>
              <a:gd name="T42" fmla="*/ 356 w 512"/>
              <a:gd name="T43" fmla="*/ 119 h 512"/>
              <a:gd name="T44" fmla="*/ 302 w 512"/>
              <a:gd name="T45" fmla="*/ 162 h 512"/>
              <a:gd name="T46" fmla="*/ 301 w 512"/>
              <a:gd name="T47" fmla="*/ 177 h 512"/>
              <a:gd name="T48" fmla="*/ 319 w 512"/>
              <a:gd name="T49" fmla="*/ 295 h 512"/>
              <a:gd name="T50" fmla="*/ 277 w 512"/>
              <a:gd name="T51" fmla="*/ 146 h 512"/>
              <a:gd name="T52" fmla="*/ 270 w 512"/>
              <a:gd name="T53" fmla="*/ 139 h 512"/>
              <a:gd name="T54" fmla="*/ 261 w 512"/>
              <a:gd name="T55" fmla="*/ 140 h 512"/>
              <a:gd name="T56" fmla="*/ 101 w 512"/>
              <a:gd name="T57" fmla="*/ 236 h 512"/>
              <a:gd name="T58" fmla="*/ 96 w 512"/>
              <a:gd name="T59" fmla="*/ 248 h 512"/>
              <a:gd name="T60" fmla="*/ 110 w 512"/>
              <a:gd name="T61" fmla="*/ 301 h 512"/>
              <a:gd name="T62" fmla="*/ 120 w 512"/>
              <a:gd name="T63" fmla="*/ 309 h 512"/>
              <a:gd name="T64" fmla="*/ 170 w 512"/>
              <a:gd name="T65" fmla="*/ 309 h 512"/>
              <a:gd name="T66" fmla="*/ 170 w 512"/>
              <a:gd name="T67" fmla="*/ 309 h 512"/>
              <a:gd name="T68" fmla="*/ 213 w 512"/>
              <a:gd name="T69" fmla="*/ 352 h 512"/>
              <a:gd name="T70" fmla="*/ 256 w 512"/>
              <a:gd name="T71" fmla="*/ 309 h 512"/>
              <a:gd name="T72" fmla="*/ 256 w 512"/>
              <a:gd name="T73" fmla="*/ 309 h 512"/>
              <a:gd name="T74" fmla="*/ 309 w 512"/>
              <a:gd name="T75" fmla="*/ 309 h 512"/>
              <a:gd name="T76" fmla="*/ 309 w 512"/>
              <a:gd name="T77" fmla="*/ 309 h 512"/>
              <a:gd name="T78" fmla="*/ 318 w 512"/>
              <a:gd name="T79" fmla="*/ 305 h 512"/>
              <a:gd name="T80" fmla="*/ 319 w 512"/>
              <a:gd name="T81" fmla="*/ 295 h 512"/>
              <a:gd name="T82" fmla="*/ 416 w 512"/>
              <a:gd name="T83" fmla="*/ 279 h 512"/>
              <a:gd name="T84" fmla="*/ 407 w 512"/>
              <a:gd name="T85" fmla="*/ 266 h 512"/>
              <a:gd name="T86" fmla="*/ 343 w 512"/>
              <a:gd name="T87" fmla="*/ 256 h 512"/>
              <a:gd name="T88" fmla="*/ 330 w 512"/>
              <a:gd name="T89" fmla="*/ 265 h 512"/>
              <a:gd name="T90" fmla="*/ 339 w 512"/>
              <a:gd name="T91" fmla="*/ 277 h 512"/>
              <a:gd name="T92" fmla="*/ 403 w 512"/>
              <a:gd name="T93" fmla="*/ 288 h 512"/>
              <a:gd name="T94" fmla="*/ 405 w 512"/>
              <a:gd name="T95" fmla="*/ 288 h 512"/>
              <a:gd name="T96" fmla="*/ 416 w 512"/>
              <a:gd name="T97" fmla="*/ 279 h 512"/>
              <a:gd name="T98" fmla="*/ 415 w 512"/>
              <a:gd name="T99" fmla="*/ 189 h 512"/>
              <a:gd name="T100" fmla="*/ 402 w 512"/>
              <a:gd name="T101" fmla="*/ 181 h 512"/>
              <a:gd name="T102" fmla="*/ 327 w 512"/>
              <a:gd name="T103" fmla="*/ 203 h 512"/>
              <a:gd name="T104" fmla="*/ 320 w 512"/>
              <a:gd name="T105" fmla="*/ 216 h 512"/>
              <a:gd name="T106" fmla="*/ 330 w 512"/>
              <a:gd name="T107" fmla="*/ 224 h 512"/>
              <a:gd name="T108" fmla="*/ 333 w 512"/>
              <a:gd name="T109" fmla="*/ 223 h 512"/>
              <a:gd name="T110" fmla="*/ 408 w 512"/>
              <a:gd name="T111" fmla="*/ 202 h 512"/>
              <a:gd name="T112" fmla="*/ 415 w 512"/>
              <a:gd name="T113" fmla="*/ 18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12" h="512">
                <a:moveTo>
                  <a:pt x="260" y="165"/>
                </a:moveTo>
                <a:cubicBezTo>
                  <a:pt x="295" y="288"/>
                  <a:pt x="295" y="288"/>
                  <a:pt x="295" y="288"/>
                </a:cubicBezTo>
                <a:cubicBezTo>
                  <a:pt x="128" y="288"/>
                  <a:pt x="128" y="288"/>
                  <a:pt x="128" y="288"/>
                </a:cubicBezTo>
                <a:cubicBezTo>
                  <a:pt x="119" y="250"/>
                  <a:pt x="119" y="250"/>
                  <a:pt x="119" y="250"/>
                </a:cubicBezTo>
                <a:lnTo>
                  <a:pt x="260" y="165"/>
                </a:lnTo>
                <a:close/>
                <a:moveTo>
                  <a:pt x="192" y="309"/>
                </a:moveTo>
                <a:cubicBezTo>
                  <a:pt x="192" y="321"/>
                  <a:pt x="201" y="330"/>
                  <a:pt x="213" y="330"/>
                </a:cubicBezTo>
                <a:cubicBezTo>
                  <a:pt x="225" y="330"/>
                  <a:pt x="234" y="321"/>
                  <a:pt x="234" y="309"/>
                </a:cubicBezTo>
                <a:cubicBezTo>
                  <a:pt x="234" y="309"/>
                  <a:pt x="234" y="309"/>
                  <a:pt x="234" y="309"/>
                </a:cubicBezTo>
                <a:cubicBezTo>
                  <a:pt x="192" y="309"/>
                  <a:pt x="192" y="309"/>
                  <a:pt x="192" y="309"/>
                </a:cubicBezTo>
                <a:cubicBezTo>
                  <a:pt x="192" y="309"/>
                  <a:pt x="192" y="309"/>
                  <a:pt x="192" y="309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01" y="177"/>
                </a:moveTo>
                <a:cubicBezTo>
                  <a:pt x="303" y="180"/>
                  <a:pt x="306" y="181"/>
                  <a:pt x="309" y="181"/>
                </a:cubicBezTo>
                <a:cubicBezTo>
                  <a:pt x="311" y="181"/>
                  <a:pt x="314" y="180"/>
                  <a:pt x="316" y="179"/>
                </a:cubicBezTo>
                <a:cubicBezTo>
                  <a:pt x="369" y="136"/>
                  <a:pt x="369" y="136"/>
                  <a:pt x="369" y="136"/>
                </a:cubicBezTo>
                <a:cubicBezTo>
                  <a:pt x="374" y="132"/>
                  <a:pt x="374" y="126"/>
                  <a:pt x="371" y="121"/>
                </a:cubicBezTo>
                <a:cubicBezTo>
                  <a:pt x="367" y="116"/>
                  <a:pt x="360" y="116"/>
                  <a:pt x="356" y="119"/>
                </a:cubicBezTo>
                <a:cubicBezTo>
                  <a:pt x="302" y="162"/>
                  <a:pt x="302" y="162"/>
                  <a:pt x="302" y="162"/>
                </a:cubicBezTo>
                <a:cubicBezTo>
                  <a:pt x="298" y="166"/>
                  <a:pt x="297" y="172"/>
                  <a:pt x="301" y="177"/>
                </a:cubicBezTo>
                <a:close/>
                <a:moveTo>
                  <a:pt x="319" y="295"/>
                </a:moveTo>
                <a:cubicBezTo>
                  <a:pt x="277" y="146"/>
                  <a:pt x="277" y="146"/>
                  <a:pt x="277" y="146"/>
                </a:cubicBezTo>
                <a:cubicBezTo>
                  <a:pt x="276" y="143"/>
                  <a:pt x="273" y="140"/>
                  <a:pt x="270" y="139"/>
                </a:cubicBezTo>
                <a:cubicBezTo>
                  <a:pt x="267" y="138"/>
                  <a:pt x="264" y="138"/>
                  <a:pt x="261" y="140"/>
                </a:cubicBezTo>
                <a:cubicBezTo>
                  <a:pt x="101" y="236"/>
                  <a:pt x="101" y="236"/>
                  <a:pt x="101" y="236"/>
                </a:cubicBezTo>
                <a:cubicBezTo>
                  <a:pt x="97" y="238"/>
                  <a:pt x="95" y="243"/>
                  <a:pt x="96" y="248"/>
                </a:cubicBezTo>
                <a:cubicBezTo>
                  <a:pt x="110" y="301"/>
                  <a:pt x="110" y="301"/>
                  <a:pt x="110" y="301"/>
                </a:cubicBezTo>
                <a:cubicBezTo>
                  <a:pt x="111" y="306"/>
                  <a:pt x="115" y="309"/>
                  <a:pt x="120" y="309"/>
                </a:cubicBezTo>
                <a:cubicBezTo>
                  <a:pt x="170" y="309"/>
                  <a:pt x="170" y="309"/>
                  <a:pt x="170" y="309"/>
                </a:cubicBezTo>
                <a:cubicBezTo>
                  <a:pt x="170" y="309"/>
                  <a:pt x="170" y="309"/>
                  <a:pt x="170" y="309"/>
                </a:cubicBezTo>
                <a:cubicBezTo>
                  <a:pt x="170" y="333"/>
                  <a:pt x="189" y="352"/>
                  <a:pt x="213" y="352"/>
                </a:cubicBezTo>
                <a:cubicBezTo>
                  <a:pt x="237" y="352"/>
                  <a:pt x="256" y="333"/>
                  <a:pt x="256" y="309"/>
                </a:cubicBezTo>
                <a:cubicBezTo>
                  <a:pt x="256" y="309"/>
                  <a:pt x="256" y="309"/>
                  <a:pt x="256" y="309"/>
                </a:cubicBezTo>
                <a:cubicBezTo>
                  <a:pt x="309" y="309"/>
                  <a:pt x="309" y="309"/>
                  <a:pt x="309" y="309"/>
                </a:cubicBezTo>
                <a:cubicBezTo>
                  <a:pt x="309" y="309"/>
                  <a:pt x="309" y="309"/>
                  <a:pt x="309" y="309"/>
                </a:cubicBezTo>
                <a:cubicBezTo>
                  <a:pt x="312" y="309"/>
                  <a:pt x="316" y="307"/>
                  <a:pt x="318" y="305"/>
                </a:cubicBezTo>
                <a:cubicBezTo>
                  <a:pt x="320" y="302"/>
                  <a:pt x="320" y="299"/>
                  <a:pt x="319" y="295"/>
                </a:cubicBezTo>
                <a:close/>
                <a:moveTo>
                  <a:pt x="416" y="279"/>
                </a:moveTo>
                <a:cubicBezTo>
                  <a:pt x="416" y="273"/>
                  <a:pt x="413" y="267"/>
                  <a:pt x="407" y="266"/>
                </a:cubicBezTo>
                <a:cubicBezTo>
                  <a:pt x="343" y="256"/>
                  <a:pt x="343" y="256"/>
                  <a:pt x="343" y="256"/>
                </a:cubicBezTo>
                <a:cubicBezTo>
                  <a:pt x="337" y="255"/>
                  <a:pt x="331" y="259"/>
                  <a:pt x="330" y="265"/>
                </a:cubicBezTo>
                <a:cubicBezTo>
                  <a:pt x="330" y="270"/>
                  <a:pt x="333" y="276"/>
                  <a:pt x="339" y="277"/>
                </a:cubicBezTo>
                <a:cubicBezTo>
                  <a:pt x="403" y="288"/>
                  <a:pt x="403" y="288"/>
                  <a:pt x="403" y="288"/>
                </a:cubicBezTo>
                <a:cubicBezTo>
                  <a:pt x="404" y="288"/>
                  <a:pt x="404" y="288"/>
                  <a:pt x="405" y="288"/>
                </a:cubicBezTo>
                <a:cubicBezTo>
                  <a:pt x="410" y="288"/>
                  <a:pt x="415" y="284"/>
                  <a:pt x="416" y="279"/>
                </a:cubicBezTo>
                <a:close/>
                <a:moveTo>
                  <a:pt x="415" y="189"/>
                </a:moveTo>
                <a:cubicBezTo>
                  <a:pt x="414" y="183"/>
                  <a:pt x="408" y="180"/>
                  <a:pt x="402" y="181"/>
                </a:cubicBezTo>
                <a:cubicBezTo>
                  <a:pt x="327" y="203"/>
                  <a:pt x="327" y="203"/>
                  <a:pt x="327" y="203"/>
                </a:cubicBezTo>
                <a:cubicBezTo>
                  <a:pt x="322" y="204"/>
                  <a:pt x="318" y="210"/>
                  <a:pt x="320" y="216"/>
                </a:cubicBezTo>
                <a:cubicBezTo>
                  <a:pt x="321" y="221"/>
                  <a:pt x="326" y="224"/>
                  <a:pt x="330" y="224"/>
                </a:cubicBezTo>
                <a:cubicBezTo>
                  <a:pt x="331" y="224"/>
                  <a:pt x="332" y="224"/>
                  <a:pt x="333" y="223"/>
                </a:cubicBezTo>
                <a:cubicBezTo>
                  <a:pt x="408" y="202"/>
                  <a:pt x="408" y="202"/>
                  <a:pt x="408" y="202"/>
                </a:cubicBezTo>
                <a:cubicBezTo>
                  <a:pt x="414" y="200"/>
                  <a:pt x="417" y="194"/>
                  <a:pt x="415" y="189"/>
                </a:cubicBezTo>
                <a:close/>
              </a:path>
            </a:pathLst>
          </a:custGeom>
          <a:solidFill>
            <a:srgbClr val="006B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2144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Rectangle 109"/>
          <p:cNvSpPr/>
          <p:nvPr/>
        </p:nvSpPr>
        <p:spPr bwMode="gray">
          <a:xfrm>
            <a:off x="1181613" y="3440490"/>
            <a:ext cx="8379900" cy="2700779"/>
          </a:xfrm>
          <a:prstGeom prst="rect">
            <a:avLst/>
          </a:prstGeom>
          <a:solidFill>
            <a:srgbClr val="C9E7A7"/>
          </a:solidFill>
          <a:ln w="19050" algn="ctr">
            <a:solidFill>
              <a:srgbClr val="049C39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1" algn="just"/>
            <a:endParaRPr lang="it-IT" altLang="it-IT" sz="16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2" name="Freeform 90"/>
          <p:cNvSpPr>
            <a:spLocks noEditPoints="1"/>
          </p:cNvSpPr>
          <p:nvPr/>
        </p:nvSpPr>
        <p:spPr bwMode="auto">
          <a:xfrm>
            <a:off x="1255455" y="3483475"/>
            <a:ext cx="234557" cy="238512"/>
          </a:xfrm>
          <a:custGeom>
            <a:avLst/>
            <a:gdLst>
              <a:gd name="T0" fmla="*/ 202641 w 600"/>
              <a:gd name="T1" fmla="*/ 132857 h 600"/>
              <a:gd name="T2" fmla="*/ 180498 w 600"/>
              <a:gd name="T3" fmla="*/ 155000 h 600"/>
              <a:gd name="T4" fmla="*/ 202641 w 600"/>
              <a:gd name="T5" fmla="*/ 177143 h 600"/>
              <a:gd name="T6" fmla="*/ 224784 w 600"/>
              <a:gd name="T7" fmla="*/ 177143 h 600"/>
              <a:gd name="T8" fmla="*/ 224784 w 600"/>
              <a:gd name="T9" fmla="*/ 199286 h 600"/>
              <a:gd name="T10" fmla="*/ 246927 w 600"/>
              <a:gd name="T11" fmla="*/ 221429 h 600"/>
              <a:gd name="T12" fmla="*/ 269070 w 600"/>
              <a:gd name="T13" fmla="*/ 199286 h 600"/>
              <a:gd name="T14" fmla="*/ 269070 w 600"/>
              <a:gd name="T15" fmla="*/ 177143 h 600"/>
              <a:gd name="T16" fmla="*/ 291884 w 600"/>
              <a:gd name="T17" fmla="*/ 177143 h 600"/>
              <a:gd name="T18" fmla="*/ 314026 w 600"/>
              <a:gd name="T19" fmla="*/ 155000 h 600"/>
              <a:gd name="T20" fmla="*/ 291884 w 600"/>
              <a:gd name="T21" fmla="*/ 132857 h 600"/>
              <a:gd name="T22" fmla="*/ 269070 w 600"/>
              <a:gd name="T23" fmla="*/ 132857 h 600"/>
              <a:gd name="T24" fmla="*/ 269070 w 600"/>
              <a:gd name="T25" fmla="*/ 110714 h 600"/>
              <a:gd name="T26" fmla="*/ 246927 w 600"/>
              <a:gd name="T27" fmla="*/ 88572 h 600"/>
              <a:gd name="T28" fmla="*/ 224784 w 600"/>
              <a:gd name="T29" fmla="*/ 110714 h 600"/>
              <a:gd name="T30" fmla="*/ 224784 w 600"/>
              <a:gd name="T31" fmla="*/ 132857 h 600"/>
              <a:gd name="T32" fmla="*/ 202641 w 600"/>
              <a:gd name="T33" fmla="*/ 132857 h 600"/>
              <a:gd name="T34" fmla="*/ 13420 w 600"/>
              <a:gd name="T35" fmla="*/ 338853 h 600"/>
              <a:gd name="T36" fmla="*/ 13420 w 600"/>
              <a:gd name="T37" fmla="*/ 388507 h 600"/>
              <a:gd name="T38" fmla="*/ 63074 w 600"/>
              <a:gd name="T39" fmla="*/ 388507 h 600"/>
              <a:gd name="T40" fmla="*/ 165065 w 600"/>
              <a:gd name="T41" fmla="*/ 287187 h 600"/>
              <a:gd name="T42" fmla="*/ 246927 w 600"/>
              <a:gd name="T43" fmla="*/ 310671 h 600"/>
              <a:gd name="T44" fmla="*/ 402598 w 600"/>
              <a:gd name="T45" fmla="*/ 155000 h 600"/>
              <a:gd name="T46" fmla="*/ 246927 w 600"/>
              <a:gd name="T47" fmla="*/ 0 h 600"/>
              <a:gd name="T48" fmla="*/ 91927 w 600"/>
              <a:gd name="T49" fmla="*/ 155000 h 600"/>
              <a:gd name="T50" fmla="*/ 115411 w 600"/>
              <a:gd name="T51" fmla="*/ 236862 h 600"/>
              <a:gd name="T52" fmla="*/ 13420 w 600"/>
              <a:gd name="T53" fmla="*/ 338853 h 600"/>
              <a:gd name="T54" fmla="*/ 136212 w 600"/>
              <a:gd name="T55" fmla="*/ 155000 h 600"/>
              <a:gd name="T56" fmla="*/ 246927 w 600"/>
              <a:gd name="T57" fmla="*/ 44286 h 600"/>
              <a:gd name="T58" fmla="*/ 358312 w 600"/>
              <a:gd name="T59" fmla="*/ 155000 h 600"/>
              <a:gd name="T60" fmla="*/ 246927 w 600"/>
              <a:gd name="T61" fmla="*/ 265715 h 600"/>
              <a:gd name="T62" fmla="*/ 136212 w 600"/>
              <a:gd name="T63" fmla="*/ 155000 h 60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600" h="600">
                <a:moveTo>
                  <a:pt x="302" y="198"/>
                </a:moveTo>
                <a:cubicBezTo>
                  <a:pt x="284" y="198"/>
                  <a:pt x="269" y="213"/>
                  <a:pt x="269" y="231"/>
                </a:cubicBezTo>
                <a:cubicBezTo>
                  <a:pt x="269" y="249"/>
                  <a:pt x="284" y="264"/>
                  <a:pt x="302" y="264"/>
                </a:cubicBezTo>
                <a:cubicBezTo>
                  <a:pt x="335" y="264"/>
                  <a:pt x="335" y="264"/>
                  <a:pt x="335" y="264"/>
                </a:cubicBezTo>
                <a:cubicBezTo>
                  <a:pt x="335" y="297"/>
                  <a:pt x="335" y="297"/>
                  <a:pt x="335" y="297"/>
                </a:cubicBezTo>
                <a:cubicBezTo>
                  <a:pt x="335" y="316"/>
                  <a:pt x="350" y="330"/>
                  <a:pt x="368" y="330"/>
                </a:cubicBezTo>
                <a:cubicBezTo>
                  <a:pt x="387" y="330"/>
                  <a:pt x="401" y="316"/>
                  <a:pt x="401" y="297"/>
                </a:cubicBezTo>
                <a:cubicBezTo>
                  <a:pt x="401" y="264"/>
                  <a:pt x="401" y="264"/>
                  <a:pt x="401" y="264"/>
                </a:cubicBezTo>
                <a:cubicBezTo>
                  <a:pt x="435" y="264"/>
                  <a:pt x="435" y="264"/>
                  <a:pt x="435" y="264"/>
                </a:cubicBezTo>
                <a:cubicBezTo>
                  <a:pt x="453" y="264"/>
                  <a:pt x="468" y="249"/>
                  <a:pt x="468" y="231"/>
                </a:cubicBezTo>
                <a:cubicBezTo>
                  <a:pt x="468" y="213"/>
                  <a:pt x="453" y="198"/>
                  <a:pt x="435" y="198"/>
                </a:cubicBezTo>
                <a:cubicBezTo>
                  <a:pt x="401" y="198"/>
                  <a:pt x="401" y="198"/>
                  <a:pt x="401" y="198"/>
                </a:cubicBezTo>
                <a:cubicBezTo>
                  <a:pt x="401" y="165"/>
                  <a:pt x="401" y="165"/>
                  <a:pt x="401" y="165"/>
                </a:cubicBezTo>
                <a:cubicBezTo>
                  <a:pt x="401" y="147"/>
                  <a:pt x="387" y="132"/>
                  <a:pt x="368" y="132"/>
                </a:cubicBezTo>
                <a:cubicBezTo>
                  <a:pt x="350" y="132"/>
                  <a:pt x="335" y="147"/>
                  <a:pt x="335" y="165"/>
                </a:cubicBezTo>
                <a:cubicBezTo>
                  <a:pt x="335" y="198"/>
                  <a:pt x="335" y="198"/>
                  <a:pt x="335" y="198"/>
                </a:cubicBezTo>
                <a:lnTo>
                  <a:pt x="302" y="198"/>
                </a:lnTo>
                <a:close/>
                <a:moveTo>
                  <a:pt x="20" y="505"/>
                </a:moveTo>
                <a:cubicBezTo>
                  <a:pt x="0" y="526"/>
                  <a:pt x="0" y="559"/>
                  <a:pt x="20" y="579"/>
                </a:cubicBezTo>
                <a:cubicBezTo>
                  <a:pt x="41" y="600"/>
                  <a:pt x="74" y="600"/>
                  <a:pt x="94" y="579"/>
                </a:cubicBezTo>
                <a:cubicBezTo>
                  <a:pt x="246" y="428"/>
                  <a:pt x="246" y="428"/>
                  <a:pt x="246" y="428"/>
                </a:cubicBezTo>
                <a:cubicBezTo>
                  <a:pt x="282" y="450"/>
                  <a:pt x="323" y="463"/>
                  <a:pt x="368" y="463"/>
                </a:cubicBezTo>
                <a:cubicBezTo>
                  <a:pt x="496" y="463"/>
                  <a:pt x="600" y="359"/>
                  <a:pt x="600" y="231"/>
                </a:cubicBezTo>
                <a:cubicBezTo>
                  <a:pt x="600" y="103"/>
                  <a:pt x="496" y="0"/>
                  <a:pt x="368" y="0"/>
                </a:cubicBezTo>
                <a:cubicBezTo>
                  <a:pt x="241" y="0"/>
                  <a:pt x="137" y="103"/>
                  <a:pt x="137" y="231"/>
                </a:cubicBezTo>
                <a:cubicBezTo>
                  <a:pt x="137" y="276"/>
                  <a:pt x="150" y="318"/>
                  <a:pt x="172" y="353"/>
                </a:cubicBezTo>
                <a:lnTo>
                  <a:pt x="20" y="505"/>
                </a:lnTo>
                <a:close/>
                <a:moveTo>
                  <a:pt x="203" y="231"/>
                </a:moveTo>
                <a:cubicBezTo>
                  <a:pt x="203" y="140"/>
                  <a:pt x="277" y="66"/>
                  <a:pt x="368" y="66"/>
                </a:cubicBezTo>
                <a:cubicBezTo>
                  <a:pt x="460" y="66"/>
                  <a:pt x="534" y="140"/>
                  <a:pt x="534" y="231"/>
                </a:cubicBezTo>
                <a:cubicBezTo>
                  <a:pt x="534" y="322"/>
                  <a:pt x="460" y="396"/>
                  <a:pt x="368" y="396"/>
                </a:cubicBezTo>
                <a:cubicBezTo>
                  <a:pt x="277" y="396"/>
                  <a:pt x="203" y="322"/>
                  <a:pt x="203" y="231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rgbClr val="007400"/>
            </a:solidFill>
          </a:ln>
          <a:extLst/>
        </p:spPr>
        <p:txBody>
          <a:bodyPr/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502370" y="3463995"/>
            <a:ext cx="55202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b="1" dirty="0">
                <a:solidFill>
                  <a:srgbClr val="0074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cus </a:t>
            </a:r>
            <a:r>
              <a:rPr lang="it-IT" sz="1600" b="1" dirty="0" smtClean="0">
                <a:solidFill>
                  <a:srgbClr val="0074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lla divulgazione dei profili PEPPOL BIS 3.0 nel 2019</a:t>
            </a:r>
            <a:endParaRPr lang="en-US" b="1" dirty="0">
              <a:solidFill>
                <a:srgbClr val="0074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4" name="CustomShape 3">
            <a:extLst>
              <a:ext uri="{FF2B5EF4-FFF2-40B4-BE49-F238E27FC236}">
                <a16:creationId xmlns:a16="http://schemas.microsoft.com/office/drawing/2014/main" id="{4BC9C766-0171-4316-9FE5-1742D5543257}"/>
              </a:ext>
            </a:extLst>
          </p:cNvPr>
          <p:cNvSpPr/>
          <p:nvPr/>
        </p:nvSpPr>
        <p:spPr>
          <a:xfrm>
            <a:off x="895197" y="222120"/>
            <a:ext cx="8665560" cy="516600"/>
          </a:xfrm>
          <a:prstGeom prst="rect">
            <a:avLst/>
          </a:prstGeom>
          <a:noFill/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r">
              <a:lnSpc>
                <a:spcPct val="100000"/>
              </a:lnSpc>
            </a:pPr>
            <a:r>
              <a:rPr lang="it-IT" sz="2800" b="1" strike="noStrike" spc="-1" dirty="0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Attività a sostegno del recepimento dei nuovi standard</a:t>
            </a:r>
            <a:endParaRPr lang="it-IT" sz="1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11319" y="5096477"/>
            <a:ext cx="56409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it-IT" alt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Ogni profilo adotta la seguente documentazione: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139018" y="1062492"/>
            <a:ext cx="8357181" cy="540000"/>
            <a:chOff x="1139018" y="1062492"/>
            <a:chExt cx="8357181" cy="540000"/>
          </a:xfrm>
        </p:grpSpPr>
        <p:sp>
          <p:nvSpPr>
            <p:cNvPr id="101" name="TextBox 100"/>
            <p:cNvSpPr txBox="1"/>
            <p:nvPr/>
          </p:nvSpPr>
          <p:spPr>
            <a:xfrm>
              <a:off x="1139018" y="1062492"/>
              <a:ext cx="540000" cy="540000"/>
            </a:xfrm>
            <a:prstGeom prst="round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>
              <a:defPPr>
                <a:defRPr lang="it-IT"/>
              </a:defPPr>
              <a:lvl1pPr>
                <a:defRPr sz="1200">
                  <a:latin typeface="Calibri" panose="020F0502020204030204" pitchFamily="34" charset="0"/>
                </a:defRPr>
              </a:lvl1pPr>
            </a:lstStyle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1232155" y="1142769"/>
              <a:ext cx="8264044" cy="381601"/>
              <a:chOff x="1297469" y="935944"/>
              <a:chExt cx="8264044" cy="381601"/>
            </a:xfrm>
          </p:grpSpPr>
          <p:sp>
            <p:nvSpPr>
              <p:cNvPr id="17" name="TextBox 16"/>
              <p:cNvSpPr txBox="1"/>
              <p:nvPr/>
            </p:nvSpPr>
            <p:spPr>
              <a:xfrm>
                <a:off x="1997345" y="935944"/>
                <a:ext cx="756416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7429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it-IT" sz="1800" kern="0" dirty="0" smtClean="0">
                    <a:latin typeface="Calibri"/>
                  </a:rPr>
                  <a:t>Stesura</a:t>
                </a:r>
                <a:r>
                  <a:rPr lang="it-IT" sz="1800" b="1" kern="0" dirty="0" smtClean="0">
                    <a:latin typeface="Calibri"/>
                  </a:rPr>
                  <a:t> </a:t>
                </a:r>
                <a:r>
                  <a:rPr lang="it-IT" sz="1800" kern="0" dirty="0" smtClean="0">
                    <a:latin typeface="Calibri"/>
                  </a:rPr>
                  <a:t>e </a:t>
                </a:r>
                <a:r>
                  <a:rPr lang="it-IT" sz="1800" kern="0" dirty="0">
                    <a:latin typeface="Calibri"/>
                  </a:rPr>
                  <a:t>pubblicazione delle </a:t>
                </a:r>
                <a:r>
                  <a:rPr lang="it-IT" sz="1800" b="1" kern="0" dirty="0" smtClean="0">
                    <a:latin typeface="Calibri"/>
                  </a:rPr>
                  <a:t>specifiche tecniche</a:t>
                </a:r>
                <a:r>
                  <a:rPr lang="it-IT" sz="1800" kern="0" dirty="0" smtClean="0">
                    <a:latin typeface="Calibri"/>
                  </a:rPr>
                  <a:t> </a:t>
                </a:r>
                <a:r>
                  <a:rPr lang="it-IT" sz="1800" kern="0" dirty="0">
                    <a:latin typeface="Calibri"/>
                  </a:rPr>
                  <a:t>per il modello </a:t>
                </a:r>
                <a:r>
                  <a:rPr lang="it-IT" sz="1800" kern="0" dirty="0" smtClean="0">
                    <a:latin typeface="Calibri"/>
                  </a:rPr>
                  <a:t>italiano</a:t>
                </a:r>
                <a:endParaRPr lang="it-IT" sz="1800" kern="0" dirty="0">
                  <a:latin typeface="Calibri"/>
                </a:endParaRPr>
              </a:p>
            </p:txBody>
          </p:sp>
          <p:sp>
            <p:nvSpPr>
              <p:cNvPr id="19" name="Freeform 36"/>
              <p:cNvSpPr>
                <a:spLocks noChangeAspect="1" noEditPoints="1"/>
              </p:cNvSpPr>
              <p:nvPr/>
            </p:nvSpPr>
            <p:spPr bwMode="auto">
              <a:xfrm>
                <a:off x="1297469" y="949914"/>
                <a:ext cx="367631" cy="367631"/>
              </a:xfrm>
              <a:custGeom>
                <a:avLst/>
                <a:gdLst>
                  <a:gd name="T0" fmla="*/ 324 w 512"/>
                  <a:gd name="T1" fmla="*/ 194 h 512"/>
                  <a:gd name="T2" fmla="*/ 330 w 512"/>
                  <a:gd name="T3" fmla="*/ 167 h 512"/>
                  <a:gd name="T4" fmla="*/ 400 w 512"/>
                  <a:gd name="T5" fmla="*/ 182 h 512"/>
                  <a:gd name="T6" fmla="*/ 386 w 512"/>
                  <a:gd name="T7" fmla="*/ 223 h 512"/>
                  <a:gd name="T8" fmla="*/ 351 w 512"/>
                  <a:gd name="T9" fmla="*/ 247 h 512"/>
                  <a:gd name="T10" fmla="*/ 312 w 512"/>
                  <a:gd name="T11" fmla="*/ 243 h 512"/>
                  <a:gd name="T12" fmla="*/ 278 w 512"/>
                  <a:gd name="T13" fmla="*/ 222 h 512"/>
                  <a:gd name="T14" fmla="*/ 264 w 512"/>
                  <a:gd name="T15" fmla="*/ 183 h 512"/>
                  <a:gd name="T16" fmla="*/ 275 w 512"/>
                  <a:gd name="T17" fmla="*/ 144 h 512"/>
                  <a:gd name="T18" fmla="*/ 308 w 512"/>
                  <a:gd name="T19" fmla="*/ 119 h 512"/>
                  <a:gd name="T20" fmla="*/ 331 w 512"/>
                  <a:gd name="T21" fmla="*/ 128 h 512"/>
                  <a:gd name="T22" fmla="*/ 364 w 512"/>
                  <a:gd name="T23" fmla="*/ 136 h 512"/>
                  <a:gd name="T24" fmla="*/ 384 w 512"/>
                  <a:gd name="T25" fmla="*/ 164 h 512"/>
                  <a:gd name="T26" fmla="*/ 320 w 512"/>
                  <a:gd name="T27" fmla="*/ 147 h 512"/>
                  <a:gd name="T28" fmla="*/ 330 w 512"/>
                  <a:gd name="T29" fmla="*/ 217 h 512"/>
                  <a:gd name="T30" fmla="*/ 512 w 512"/>
                  <a:gd name="T31" fmla="*/ 256 h 512"/>
                  <a:gd name="T32" fmla="*/ 512 w 512"/>
                  <a:gd name="T33" fmla="*/ 256 h 512"/>
                  <a:gd name="T34" fmla="*/ 268 w 512"/>
                  <a:gd name="T35" fmla="*/ 290 h 512"/>
                  <a:gd name="T36" fmla="*/ 236 w 512"/>
                  <a:gd name="T37" fmla="*/ 251 h 512"/>
                  <a:gd name="T38" fmla="*/ 187 w 512"/>
                  <a:gd name="T39" fmla="*/ 238 h 512"/>
                  <a:gd name="T40" fmla="*/ 140 w 512"/>
                  <a:gd name="T41" fmla="*/ 256 h 512"/>
                  <a:gd name="T42" fmla="*/ 113 w 512"/>
                  <a:gd name="T43" fmla="*/ 299 h 512"/>
                  <a:gd name="T44" fmla="*/ 115 w 512"/>
                  <a:gd name="T45" fmla="*/ 350 h 512"/>
                  <a:gd name="T46" fmla="*/ 147 w 512"/>
                  <a:gd name="T47" fmla="*/ 388 h 512"/>
                  <a:gd name="T48" fmla="*/ 196 w 512"/>
                  <a:gd name="T49" fmla="*/ 401 h 512"/>
                  <a:gd name="T50" fmla="*/ 237 w 512"/>
                  <a:gd name="T51" fmla="*/ 383 h 512"/>
                  <a:gd name="T52" fmla="*/ 266 w 512"/>
                  <a:gd name="T53" fmla="*/ 345 h 512"/>
                  <a:gd name="T54" fmla="*/ 410 w 512"/>
                  <a:gd name="T55" fmla="*/ 163 h 512"/>
                  <a:gd name="T56" fmla="*/ 384 w 512"/>
                  <a:gd name="T57" fmla="*/ 119 h 512"/>
                  <a:gd name="T58" fmla="*/ 337 w 512"/>
                  <a:gd name="T59" fmla="*/ 99 h 512"/>
                  <a:gd name="T60" fmla="*/ 288 w 512"/>
                  <a:gd name="T61" fmla="*/ 111 h 512"/>
                  <a:gd name="T62" fmla="*/ 255 w 512"/>
                  <a:gd name="T63" fmla="*/ 149 h 512"/>
                  <a:gd name="T64" fmla="*/ 251 w 512"/>
                  <a:gd name="T65" fmla="*/ 199 h 512"/>
                  <a:gd name="T66" fmla="*/ 277 w 512"/>
                  <a:gd name="T67" fmla="*/ 243 h 512"/>
                  <a:gd name="T68" fmla="*/ 323 w 512"/>
                  <a:gd name="T69" fmla="*/ 263 h 512"/>
                  <a:gd name="T70" fmla="*/ 358 w 512"/>
                  <a:gd name="T71" fmla="*/ 270 h 512"/>
                  <a:gd name="T72" fmla="*/ 405 w 512"/>
                  <a:gd name="T73" fmla="*/ 237 h 512"/>
                  <a:gd name="T74" fmla="*/ 423 w 512"/>
                  <a:gd name="T75" fmla="*/ 182 h 512"/>
                  <a:gd name="T76" fmla="*/ 179 w 512"/>
                  <a:gd name="T77" fmla="*/ 313 h 512"/>
                  <a:gd name="T78" fmla="*/ 204 w 512"/>
                  <a:gd name="T79" fmla="*/ 326 h 512"/>
                  <a:gd name="T80" fmla="*/ 262 w 512"/>
                  <a:gd name="T81" fmla="*/ 321 h 512"/>
                  <a:gd name="T82" fmla="*/ 248 w 512"/>
                  <a:gd name="T83" fmla="*/ 361 h 512"/>
                  <a:gd name="T84" fmla="*/ 212 w 512"/>
                  <a:gd name="T85" fmla="*/ 386 h 512"/>
                  <a:gd name="T86" fmla="*/ 173 w 512"/>
                  <a:gd name="T87" fmla="*/ 382 h 512"/>
                  <a:gd name="T88" fmla="*/ 139 w 512"/>
                  <a:gd name="T89" fmla="*/ 360 h 512"/>
                  <a:gd name="T90" fmla="*/ 125 w 512"/>
                  <a:gd name="T91" fmla="*/ 321 h 512"/>
                  <a:gd name="T92" fmla="*/ 137 w 512"/>
                  <a:gd name="T93" fmla="*/ 282 h 512"/>
                  <a:gd name="T94" fmla="*/ 169 w 512"/>
                  <a:gd name="T95" fmla="*/ 258 h 512"/>
                  <a:gd name="T96" fmla="*/ 193 w 512"/>
                  <a:gd name="T97" fmla="*/ 266 h 512"/>
                  <a:gd name="T98" fmla="*/ 226 w 512"/>
                  <a:gd name="T99" fmla="*/ 274 h 512"/>
                  <a:gd name="T100" fmla="*/ 246 w 512"/>
                  <a:gd name="T101" fmla="*/ 303 h 512"/>
                  <a:gd name="T102" fmla="*/ 181 w 512"/>
                  <a:gd name="T103" fmla="*/ 286 h 512"/>
                  <a:gd name="T104" fmla="*/ 192 w 512"/>
                  <a:gd name="T105" fmla="*/ 355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12" h="512">
                    <a:moveTo>
                      <a:pt x="344" y="177"/>
                    </a:moveTo>
                    <a:cubicBezTo>
                      <a:pt x="345" y="180"/>
                      <a:pt x="345" y="184"/>
                      <a:pt x="343" y="188"/>
                    </a:cubicBezTo>
                    <a:cubicBezTo>
                      <a:pt x="341" y="191"/>
                      <a:pt x="338" y="193"/>
                      <a:pt x="335" y="195"/>
                    </a:cubicBezTo>
                    <a:cubicBezTo>
                      <a:pt x="331" y="196"/>
                      <a:pt x="327" y="195"/>
                      <a:pt x="324" y="194"/>
                    </a:cubicBezTo>
                    <a:cubicBezTo>
                      <a:pt x="320" y="192"/>
                      <a:pt x="318" y="189"/>
                      <a:pt x="317" y="185"/>
                    </a:cubicBezTo>
                    <a:cubicBezTo>
                      <a:pt x="316" y="182"/>
                      <a:pt x="316" y="178"/>
                      <a:pt x="318" y="174"/>
                    </a:cubicBezTo>
                    <a:cubicBezTo>
                      <a:pt x="320" y="171"/>
                      <a:pt x="322" y="169"/>
                      <a:pt x="326" y="167"/>
                    </a:cubicBezTo>
                    <a:cubicBezTo>
                      <a:pt x="328" y="167"/>
                      <a:pt x="329" y="167"/>
                      <a:pt x="330" y="167"/>
                    </a:cubicBezTo>
                    <a:cubicBezTo>
                      <a:pt x="333" y="167"/>
                      <a:pt x="335" y="167"/>
                      <a:pt x="337" y="168"/>
                    </a:cubicBezTo>
                    <a:cubicBezTo>
                      <a:pt x="340" y="170"/>
                      <a:pt x="343" y="173"/>
                      <a:pt x="344" y="177"/>
                    </a:cubicBezTo>
                    <a:close/>
                    <a:moveTo>
                      <a:pt x="397" y="179"/>
                    </a:moveTo>
                    <a:cubicBezTo>
                      <a:pt x="398" y="180"/>
                      <a:pt x="399" y="181"/>
                      <a:pt x="400" y="182"/>
                    </a:cubicBezTo>
                    <a:cubicBezTo>
                      <a:pt x="399" y="183"/>
                      <a:pt x="398" y="184"/>
                      <a:pt x="397" y="185"/>
                    </a:cubicBezTo>
                    <a:cubicBezTo>
                      <a:pt x="392" y="189"/>
                      <a:pt x="386" y="193"/>
                      <a:pt x="384" y="199"/>
                    </a:cubicBezTo>
                    <a:cubicBezTo>
                      <a:pt x="382" y="206"/>
                      <a:pt x="384" y="212"/>
                      <a:pt x="385" y="218"/>
                    </a:cubicBezTo>
                    <a:cubicBezTo>
                      <a:pt x="386" y="220"/>
                      <a:pt x="386" y="221"/>
                      <a:pt x="386" y="223"/>
                    </a:cubicBezTo>
                    <a:cubicBezTo>
                      <a:pt x="385" y="223"/>
                      <a:pt x="383" y="223"/>
                      <a:pt x="382" y="223"/>
                    </a:cubicBezTo>
                    <a:cubicBezTo>
                      <a:pt x="376" y="223"/>
                      <a:pt x="369" y="223"/>
                      <a:pt x="363" y="227"/>
                    </a:cubicBezTo>
                    <a:cubicBezTo>
                      <a:pt x="357" y="231"/>
                      <a:pt x="355" y="237"/>
                      <a:pt x="353" y="243"/>
                    </a:cubicBezTo>
                    <a:cubicBezTo>
                      <a:pt x="352" y="244"/>
                      <a:pt x="352" y="246"/>
                      <a:pt x="351" y="247"/>
                    </a:cubicBezTo>
                    <a:cubicBezTo>
                      <a:pt x="350" y="246"/>
                      <a:pt x="348" y="244"/>
                      <a:pt x="347" y="244"/>
                    </a:cubicBezTo>
                    <a:cubicBezTo>
                      <a:pt x="342" y="240"/>
                      <a:pt x="336" y="234"/>
                      <a:pt x="330" y="234"/>
                    </a:cubicBezTo>
                    <a:cubicBezTo>
                      <a:pt x="329" y="234"/>
                      <a:pt x="329" y="234"/>
                      <a:pt x="329" y="234"/>
                    </a:cubicBezTo>
                    <a:cubicBezTo>
                      <a:pt x="322" y="234"/>
                      <a:pt x="317" y="240"/>
                      <a:pt x="312" y="243"/>
                    </a:cubicBezTo>
                    <a:cubicBezTo>
                      <a:pt x="311" y="244"/>
                      <a:pt x="309" y="246"/>
                      <a:pt x="308" y="247"/>
                    </a:cubicBezTo>
                    <a:cubicBezTo>
                      <a:pt x="307" y="246"/>
                      <a:pt x="307" y="244"/>
                      <a:pt x="306" y="243"/>
                    </a:cubicBezTo>
                    <a:cubicBezTo>
                      <a:pt x="304" y="237"/>
                      <a:pt x="302" y="230"/>
                      <a:pt x="296" y="226"/>
                    </a:cubicBezTo>
                    <a:cubicBezTo>
                      <a:pt x="291" y="222"/>
                      <a:pt x="284" y="222"/>
                      <a:pt x="278" y="222"/>
                    </a:cubicBezTo>
                    <a:cubicBezTo>
                      <a:pt x="277" y="222"/>
                      <a:pt x="275" y="222"/>
                      <a:pt x="273" y="221"/>
                    </a:cubicBezTo>
                    <a:cubicBezTo>
                      <a:pt x="274" y="220"/>
                      <a:pt x="274" y="218"/>
                      <a:pt x="274" y="217"/>
                    </a:cubicBezTo>
                    <a:cubicBezTo>
                      <a:pt x="276" y="211"/>
                      <a:pt x="278" y="204"/>
                      <a:pt x="276" y="198"/>
                    </a:cubicBezTo>
                    <a:cubicBezTo>
                      <a:pt x="274" y="191"/>
                      <a:pt x="269" y="187"/>
                      <a:pt x="264" y="183"/>
                    </a:cubicBezTo>
                    <a:cubicBezTo>
                      <a:pt x="263" y="182"/>
                      <a:pt x="261" y="181"/>
                      <a:pt x="260" y="180"/>
                    </a:cubicBezTo>
                    <a:cubicBezTo>
                      <a:pt x="262" y="179"/>
                      <a:pt x="263" y="178"/>
                      <a:pt x="264" y="177"/>
                    </a:cubicBezTo>
                    <a:cubicBezTo>
                      <a:pt x="269" y="173"/>
                      <a:pt x="275" y="169"/>
                      <a:pt x="277" y="163"/>
                    </a:cubicBezTo>
                    <a:cubicBezTo>
                      <a:pt x="279" y="156"/>
                      <a:pt x="277" y="150"/>
                      <a:pt x="275" y="144"/>
                    </a:cubicBezTo>
                    <a:cubicBezTo>
                      <a:pt x="275" y="142"/>
                      <a:pt x="275" y="141"/>
                      <a:pt x="274" y="139"/>
                    </a:cubicBezTo>
                    <a:cubicBezTo>
                      <a:pt x="276" y="139"/>
                      <a:pt x="278" y="139"/>
                      <a:pt x="279" y="139"/>
                    </a:cubicBezTo>
                    <a:cubicBezTo>
                      <a:pt x="285" y="139"/>
                      <a:pt x="292" y="139"/>
                      <a:pt x="298" y="135"/>
                    </a:cubicBezTo>
                    <a:cubicBezTo>
                      <a:pt x="303" y="131"/>
                      <a:pt x="306" y="125"/>
                      <a:pt x="308" y="119"/>
                    </a:cubicBezTo>
                    <a:cubicBezTo>
                      <a:pt x="308" y="118"/>
                      <a:pt x="309" y="116"/>
                      <a:pt x="310" y="115"/>
                    </a:cubicBezTo>
                    <a:cubicBezTo>
                      <a:pt x="311" y="116"/>
                      <a:pt x="313" y="118"/>
                      <a:pt x="314" y="118"/>
                    </a:cubicBezTo>
                    <a:cubicBezTo>
                      <a:pt x="319" y="122"/>
                      <a:pt x="324" y="128"/>
                      <a:pt x="331" y="128"/>
                    </a:cubicBezTo>
                    <a:cubicBezTo>
                      <a:pt x="331" y="128"/>
                      <a:pt x="331" y="128"/>
                      <a:pt x="331" y="128"/>
                    </a:cubicBezTo>
                    <a:cubicBezTo>
                      <a:pt x="338" y="128"/>
                      <a:pt x="344" y="122"/>
                      <a:pt x="349" y="119"/>
                    </a:cubicBezTo>
                    <a:cubicBezTo>
                      <a:pt x="350" y="118"/>
                      <a:pt x="352" y="116"/>
                      <a:pt x="353" y="115"/>
                    </a:cubicBezTo>
                    <a:cubicBezTo>
                      <a:pt x="353" y="116"/>
                      <a:pt x="354" y="118"/>
                      <a:pt x="354" y="119"/>
                    </a:cubicBezTo>
                    <a:cubicBezTo>
                      <a:pt x="356" y="125"/>
                      <a:pt x="359" y="132"/>
                      <a:pt x="364" y="136"/>
                    </a:cubicBezTo>
                    <a:cubicBezTo>
                      <a:pt x="370" y="140"/>
                      <a:pt x="377" y="140"/>
                      <a:pt x="383" y="140"/>
                    </a:cubicBezTo>
                    <a:cubicBezTo>
                      <a:pt x="384" y="140"/>
                      <a:pt x="386" y="140"/>
                      <a:pt x="387" y="141"/>
                    </a:cubicBezTo>
                    <a:cubicBezTo>
                      <a:pt x="387" y="142"/>
                      <a:pt x="387" y="144"/>
                      <a:pt x="386" y="145"/>
                    </a:cubicBezTo>
                    <a:cubicBezTo>
                      <a:pt x="384" y="151"/>
                      <a:pt x="382" y="158"/>
                      <a:pt x="384" y="164"/>
                    </a:cubicBezTo>
                    <a:cubicBezTo>
                      <a:pt x="386" y="171"/>
                      <a:pt x="392" y="175"/>
                      <a:pt x="397" y="179"/>
                    </a:cubicBezTo>
                    <a:close/>
                    <a:moveTo>
                      <a:pt x="364" y="170"/>
                    </a:moveTo>
                    <a:cubicBezTo>
                      <a:pt x="361" y="161"/>
                      <a:pt x="355" y="154"/>
                      <a:pt x="347" y="150"/>
                    </a:cubicBezTo>
                    <a:cubicBezTo>
                      <a:pt x="338" y="145"/>
                      <a:pt x="329" y="144"/>
                      <a:pt x="320" y="147"/>
                    </a:cubicBezTo>
                    <a:cubicBezTo>
                      <a:pt x="311" y="150"/>
                      <a:pt x="303" y="156"/>
                      <a:pt x="299" y="164"/>
                    </a:cubicBezTo>
                    <a:cubicBezTo>
                      <a:pt x="294" y="173"/>
                      <a:pt x="294" y="182"/>
                      <a:pt x="296" y="192"/>
                    </a:cubicBezTo>
                    <a:cubicBezTo>
                      <a:pt x="299" y="201"/>
                      <a:pt x="305" y="208"/>
                      <a:pt x="314" y="212"/>
                    </a:cubicBezTo>
                    <a:cubicBezTo>
                      <a:pt x="319" y="215"/>
                      <a:pt x="325" y="217"/>
                      <a:pt x="330" y="217"/>
                    </a:cubicBezTo>
                    <a:cubicBezTo>
                      <a:pt x="334" y="217"/>
                      <a:pt x="337" y="216"/>
                      <a:pt x="341" y="215"/>
                    </a:cubicBezTo>
                    <a:cubicBezTo>
                      <a:pt x="350" y="212"/>
                      <a:pt x="357" y="206"/>
                      <a:pt x="362" y="198"/>
                    </a:cubicBezTo>
                    <a:cubicBezTo>
                      <a:pt x="366" y="189"/>
                      <a:pt x="367" y="180"/>
                      <a:pt x="364" y="170"/>
                    </a:cubicBezTo>
                    <a:close/>
                    <a:moveTo>
                      <a:pt x="512" y="256"/>
                    </a:moveTo>
                    <a:cubicBezTo>
                      <a:pt x="512" y="397"/>
                      <a:pt x="397" y="512"/>
                      <a:pt x="256" y="512"/>
                    </a:cubicBezTo>
                    <a:cubicBezTo>
                      <a:pt x="114" y="512"/>
                      <a:pt x="0" y="397"/>
                      <a:pt x="0" y="256"/>
                    </a:cubicBezTo>
                    <a:cubicBezTo>
                      <a:pt x="0" y="114"/>
                      <a:pt x="114" y="0"/>
                      <a:pt x="256" y="0"/>
                    </a:cubicBezTo>
                    <a:cubicBezTo>
                      <a:pt x="397" y="0"/>
                      <a:pt x="512" y="114"/>
                      <a:pt x="512" y="256"/>
                    </a:cubicBezTo>
                    <a:close/>
                    <a:moveTo>
                      <a:pt x="284" y="321"/>
                    </a:moveTo>
                    <a:cubicBezTo>
                      <a:pt x="285" y="312"/>
                      <a:pt x="277" y="306"/>
                      <a:pt x="271" y="301"/>
                    </a:cubicBezTo>
                    <a:cubicBezTo>
                      <a:pt x="270" y="300"/>
                      <a:pt x="267" y="298"/>
                      <a:pt x="266" y="297"/>
                    </a:cubicBezTo>
                    <a:cubicBezTo>
                      <a:pt x="266" y="295"/>
                      <a:pt x="267" y="292"/>
                      <a:pt x="268" y="290"/>
                    </a:cubicBezTo>
                    <a:cubicBezTo>
                      <a:pt x="270" y="283"/>
                      <a:pt x="273" y="274"/>
                      <a:pt x="267" y="266"/>
                    </a:cubicBezTo>
                    <a:cubicBezTo>
                      <a:pt x="262" y="258"/>
                      <a:pt x="252" y="258"/>
                      <a:pt x="245" y="258"/>
                    </a:cubicBezTo>
                    <a:cubicBezTo>
                      <a:pt x="243" y="258"/>
                      <a:pt x="240" y="257"/>
                      <a:pt x="238" y="257"/>
                    </a:cubicBezTo>
                    <a:cubicBezTo>
                      <a:pt x="238" y="256"/>
                      <a:pt x="237" y="253"/>
                      <a:pt x="236" y="251"/>
                    </a:cubicBezTo>
                    <a:cubicBezTo>
                      <a:pt x="234" y="244"/>
                      <a:pt x="231" y="235"/>
                      <a:pt x="222" y="232"/>
                    </a:cubicBezTo>
                    <a:cubicBezTo>
                      <a:pt x="213" y="229"/>
                      <a:pt x="204" y="234"/>
                      <a:pt x="199" y="238"/>
                    </a:cubicBezTo>
                    <a:cubicBezTo>
                      <a:pt x="197" y="239"/>
                      <a:pt x="194" y="241"/>
                      <a:pt x="193" y="242"/>
                    </a:cubicBezTo>
                    <a:cubicBezTo>
                      <a:pt x="191" y="241"/>
                      <a:pt x="189" y="239"/>
                      <a:pt x="187" y="238"/>
                    </a:cubicBezTo>
                    <a:cubicBezTo>
                      <a:pt x="182" y="234"/>
                      <a:pt x="173" y="228"/>
                      <a:pt x="164" y="231"/>
                    </a:cubicBezTo>
                    <a:cubicBezTo>
                      <a:pt x="155" y="234"/>
                      <a:pt x="152" y="243"/>
                      <a:pt x="149" y="250"/>
                    </a:cubicBezTo>
                    <a:cubicBezTo>
                      <a:pt x="148" y="252"/>
                      <a:pt x="147" y="255"/>
                      <a:pt x="147" y="256"/>
                    </a:cubicBezTo>
                    <a:cubicBezTo>
                      <a:pt x="145" y="256"/>
                      <a:pt x="142" y="256"/>
                      <a:pt x="140" y="256"/>
                    </a:cubicBezTo>
                    <a:cubicBezTo>
                      <a:pt x="133" y="256"/>
                      <a:pt x="123" y="257"/>
                      <a:pt x="117" y="264"/>
                    </a:cubicBezTo>
                    <a:cubicBezTo>
                      <a:pt x="112" y="272"/>
                      <a:pt x="114" y="281"/>
                      <a:pt x="116" y="288"/>
                    </a:cubicBezTo>
                    <a:cubicBezTo>
                      <a:pt x="117" y="290"/>
                      <a:pt x="118" y="293"/>
                      <a:pt x="118" y="295"/>
                    </a:cubicBezTo>
                    <a:cubicBezTo>
                      <a:pt x="117" y="296"/>
                      <a:pt x="114" y="298"/>
                      <a:pt x="113" y="299"/>
                    </a:cubicBezTo>
                    <a:cubicBezTo>
                      <a:pt x="107" y="303"/>
                      <a:pt x="99" y="309"/>
                      <a:pt x="99" y="318"/>
                    </a:cubicBezTo>
                    <a:cubicBezTo>
                      <a:pt x="99" y="328"/>
                      <a:pt x="106" y="334"/>
                      <a:pt x="112" y="338"/>
                    </a:cubicBezTo>
                    <a:cubicBezTo>
                      <a:pt x="114" y="340"/>
                      <a:pt x="117" y="342"/>
                      <a:pt x="117" y="342"/>
                    </a:cubicBezTo>
                    <a:cubicBezTo>
                      <a:pt x="117" y="344"/>
                      <a:pt x="116" y="347"/>
                      <a:pt x="115" y="350"/>
                    </a:cubicBezTo>
                    <a:cubicBezTo>
                      <a:pt x="113" y="357"/>
                      <a:pt x="110" y="366"/>
                      <a:pt x="116" y="373"/>
                    </a:cubicBezTo>
                    <a:cubicBezTo>
                      <a:pt x="121" y="381"/>
                      <a:pt x="131" y="381"/>
                      <a:pt x="138" y="382"/>
                    </a:cubicBezTo>
                    <a:cubicBezTo>
                      <a:pt x="140" y="382"/>
                      <a:pt x="143" y="382"/>
                      <a:pt x="145" y="382"/>
                    </a:cubicBezTo>
                    <a:cubicBezTo>
                      <a:pt x="146" y="384"/>
                      <a:pt x="147" y="387"/>
                      <a:pt x="147" y="388"/>
                    </a:cubicBezTo>
                    <a:cubicBezTo>
                      <a:pt x="150" y="395"/>
                      <a:pt x="153" y="404"/>
                      <a:pt x="162" y="408"/>
                    </a:cubicBezTo>
                    <a:cubicBezTo>
                      <a:pt x="171" y="411"/>
                      <a:pt x="179" y="405"/>
                      <a:pt x="185" y="401"/>
                    </a:cubicBezTo>
                    <a:cubicBezTo>
                      <a:pt x="186" y="400"/>
                      <a:pt x="189" y="398"/>
                      <a:pt x="191" y="398"/>
                    </a:cubicBezTo>
                    <a:cubicBezTo>
                      <a:pt x="192" y="398"/>
                      <a:pt x="194" y="400"/>
                      <a:pt x="196" y="401"/>
                    </a:cubicBezTo>
                    <a:cubicBezTo>
                      <a:pt x="201" y="405"/>
                      <a:pt x="207" y="409"/>
                      <a:pt x="214" y="409"/>
                    </a:cubicBezTo>
                    <a:cubicBezTo>
                      <a:pt x="216" y="409"/>
                      <a:pt x="217" y="409"/>
                      <a:pt x="219" y="408"/>
                    </a:cubicBezTo>
                    <a:cubicBezTo>
                      <a:pt x="228" y="405"/>
                      <a:pt x="232" y="396"/>
                      <a:pt x="234" y="389"/>
                    </a:cubicBezTo>
                    <a:cubicBezTo>
                      <a:pt x="235" y="387"/>
                      <a:pt x="236" y="385"/>
                      <a:pt x="237" y="383"/>
                    </a:cubicBezTo>
                    <a:cubicBezTo>
                      <a:pt x="238" y="383"/>
                      <a:pt x="241" y="383"/>
                      <a:pt x="244" y="383"/>
                    </a:cubicBezTo>
                    <a:cubicBezTo>
                      <a:pt x="251" y="383"/>
                      <a:pt x="260" y="383"/>
                      <a:pt x="266" y="375"/>
                    </a:cubicBezTo>
                    <a:cubicBezTo>
                      <a:pt x="272" y="368"/>
                      <a:pt x="269" y="358"/>
                      <a:pt x="267" y="351"/>
                    </a:cubicBezTo>
                    <a:cubicBezTo>
                      <a:pt x="267" y="349"/>
                      <a:pt x="266" y="346"/>
                      <a:pt x="266" y="345"/>
                    </a:cubicBezTo>
                    <a:cubicBezTo>
                      <a:pt x="267" y="344"/>
                      <a:pt x="269" y="342"/>
                      <a:pt x="271" y="341"/>
                    </a:cubicBezTo>
                    <a:cubicBezTo>
                      <a:pt x="276" y="336"/>
                      <a:pt x="284" y="331"/>
                      <a:pt x="284" y="321"/>
                    </a:cubicBezTo>
                    <a:close/>
                    <a:moveTo>
                      <a:pt x="423" y="182"/>
                    </a:moveTo>
                    <a:cubicBezTo>
                      <a:pt x="423" y="173"/>
                      <a:pt x="416" y="167"/>
                      <a:pt x="410" y="163"/>
                    </a:cubicBezTo>
                    <a:cubicBezTo>
                      <a:pt x="408" y="161"/>
                      <a:pt x="406" y="159"/>
                      <a:pt x="405" y="158"/>
                    </a:cubicBezTo>
                    <a:cubicBezTo>
                      <a:pt x="405" y="156"/>
                      <a:pt x="406" y="153"/>
                      <a:pt x="407" y="151"/>
                    </a:cubicBezTo>
                    <a:cubicBezTo>
                      <a:pt x="409" y="144"/>
                      <a:pt x="412" y="135"/>
                      <a:pt x="406" y="127"/>
                    </a:cubicBezTo>
                    <a:cubicBezTo>
                      <a:pt x="401" y="120"/>
                      <a:pt x="391" y="119"/>
                      <a:pt x="384" y="119"/>
                    </a:cubicBezTo>
                    <a:cubicBezTo>
                      <a:pt x="382" y="119"/>
                      <a:pt x="379" y="119"/>
                      <a:pt x="377" y="118"/>
                    </a:cubicBezTo>
                    <a:cubicBezTo>
                      <a:pt x="376" y="117"/>
                      <a:pt x="375" y="114"/>
                      <a:pt x="375" y="112"/>
                    </a:cubicBezTo>
                    <a:cubicBezTo>
                      <a:pt x="372" y="105"/>
                      <a:pt x="369" y="96"/>
                      <a:pt x="360" y="93"/>
                    </a:cubicBezTo>
                    <a:cubicBezTo>
                      <a:pt x="351" y="90"/>
                      <a:pt x="343" y="95"/>
                      <a:pt x="337" y="99"/>
                    </a:cubicBezTo>
                    <a:cubicBezTo>
                      <a:pt x="336" y="101"/>
                      <a:pt x="333" y="102"/>
                      <a:pt x="331" y="103"/>
                    </a:cubicBezTo>
                    <a:cubicBezTo>
                      <a:pt x="330" y="102"/>
                      <a:pt x="328" y="101"/>
                      <a:pt x="326" y="99"/>
                    </a:cubicBezTo>
                    <a:cubicBezTo>
                      <a:pt x="320" y="95"/>
                      <a:pt x="312" y="89"/>
                      <a:pt x="303" y="92"/>
                    </a:cubicBezTo>
                    <a:cubicBezTo>
                      <a:pt x="294" y="95"/>
                      <a:pt x="290" y="105"/>
                      <a:pt x="288" y="111"/>
                    </a:cubicBezTo>
                    <a:cubicBezTo>
                      <a:pt x="287" y="113"/>
                      <a:pt x="286" y="116"/>
                      <a:pt x="285" y="117"/>
                    </a:cubicBezTo>
                    <a:cubicBezTo>
                      <a:pt x="284" y="118"/>
                      <a:pt x="281" y="118"/>
                      <a:pt x="279" y="118"/>
                    </a:cubicBezTo>
                    <a:cubicBezTo>
                      <a:pt x="271" y="118"/>
                      <a:pt x="262" y="118"/>
                      <a:pt x="256" y="125"/>
                    </a:cubicBezTo>
                    <a:cubicBezTo>
                      <a:pt x="250" y="133"/>
                      <a:pt x="253" y="142"/>
                      <a:pt x="255" y="149"/>
                    </a:cubicBezTo>
                    <a:cubicBezTo>
                      <a:pt x="255" y="151"/>
                      <a:pt x="256" y="154"/>
                      <a:pt x="256" y="156"/>
                    </a:cubicBezTo>
                    <a:cubicBezTo>
                      <a:pt x="255" y="157"/>
                      <a:pt x="253" y="159"/>
                      <a:pt x="251" y="160"/>
                    </a:cubicBezTo>
                    <a:cubicBezTo>
                      <a:pt x="246" y="164"/>
                      <a:pt x="238" y="170"/>
                      <a:pt x="238" y="180"/>
                    </a:cubicBezTo>
                    <a:cubicBezTo>
                      <a:pt x="237" y="189"/>
                      <a:pt x="245" y="195"/>
                      <a:pt x="251" y="199"/>
                    </a:cubicBezTo>
                    <a:cubicBezTo>
                      <a:pt x="252" y="201"/>
                      <a:pt x="255" y="203"/>
                      <a:pt x="256" y="204"/>
                    </a:cubicBezTo>
                    <a:cubicBezTo>
                      <a:pt x="256" y="205"/>
                      <a:pt x="255" y="209"/>
                      <a:pt x="254" y="211"/>
                    </a:cubicBezTo>
                    <a:cubicBezTo>
                      <a:pt x="252" y="218"/>
                      <a:pt x="249" y="227"/>
                      <a:pt x="255" y="235"/>
                    </a:cubicBezTo>
                    <a:cubicBezTo>
                      <a:pt x="260" y="242"/>
                      <a:pt x="270" y="243"/>
                      <a:pt x="277" y="243"/>
                    </a:cubicBezTo>
                    <a:cubicBezTo>
                      <a:pt x="279" y="243"/>
                      <a:pt x="282" y="243"/>
                      <a:pt x="284" y="244"/>
                    </a:cubicBezTo>
                    <a:cubicBezTo>
                      <a:pt x="284" y="245"/>
                      <a:pt x="285" y="248"/>
                      <a:pt x="286" y="250"/>
                    </a:cubicBezTo>
                    <a:cubicBezTo>
                      <a:pt x="288" y="257"/>
                      <a:pt x="291" y="266"/>
                      <a:pt x="300" y="269"/>
                    </a:cubicBezTo>
                    <a:cubicBezTo>
                      <a:pt x="309" y="272"/>
                      <a:pt x="317" y="267"/>
                      <a:pt x="323" y="263"/>
                    </a:cubicBezTo>
                    <a:cubicBezTo>
                      <a:pt x="325" y="261"/>
                      <a:pt x="328" y="260"/>
                      <a:pt x="329" y="259"/>
                    </a:cubicBezTo>
                    <a:cubicBezTo>
                      <a:pt x="331" y="260"/>
                      <a:pt x="333" y="261"/>
                      <a:pt x="335" y="263"/>
                    </a:cubicBezTo>
                    <a:cubicBezTo>
                      <a:pt x="339" y="266"/>
                      <a:pt x="346" y="270"/>
                      <a:pt x="353" y="270"/>
                    </a:cubicBezTo>
                    <a:cubicBezTo>
                      <a:pt x="354" y="270"/>
                      <a:pt x="356" y="270"/>
                      <a:pt x="358" y="270"/>
                    </a:cubicBezTo>
                    <a:cubicBezTo>
                      <a:pt x="367" y="267"/>
                      <a:pt x="370" y="257"/>
                      <a:pt x="373" y="251"/>
                    </a:cubicBezTo>
                    <a:cubicBezTo>
                      <a:pt x="374" y="249"/>
                      <a:pt x="375" y="246"/>
                      <a:pt x="375" y="245"/>
                    </a:cubicBezTo>
                    <a:cubicBezTo>
                      <a:pt x="377" y="244"/>
                      <a:pt x="380" y="244"/>
                      <a:pt x="382" y="244"/>
                    </a:cubicBezTo>
                    <a:cubicBezTo>
                      <a:pt x="389" y="244"/>
                      <a:pt x="399" y="244"/>
                      <a:pt x="405" y="237"/>
                    </a:cubicBezTo>
                    <a:cubicBezTo>
                      <a:pt x="410" y="229"/>
                      <a:pt x="408" y="220"/>
                      <a:pt x="406" y="213"/>
                    </a:cubicBezTo>
                    <a:cubicBezTo>
                      <a:pt x="405" y="211"/>
                      <a:pt x="404" y="208"/>
                      <a:pt x="404" y="206"/>
                    </a:cubicBezTo>
                    <a:cubicBezTo>
                      <a:pt x="405" y="205"/>
                      <a:pt x="408" y="203"/>
                      <a:pt x="409" y="202"/>
                    </a:cubicBezTo>
                    <a:cubicBezTo>
                      <a:pt x="415" y="198"/>
                      <a:pt x="423" y="192"/>
                      <a:pt x="423" y="182"/>
                    </a:cubicBezTo>
                    <a:close/>
                    <a:moveTo>
                      <a:pt x="198" y="307"/>
                    </a:moveTo>
                    <a:cubicBezTo>
                      <a:pt x="196" y="306"/>
                      <a:pt x="194" y="305"/>
                      <a:pt x="192" y="305"/>
                    </a:cubicBezTo>
                    <a:cubicBezTo>
                      <a:pt x="190" y="305"/>
                      <a:pt x="189" y="306"/>
                      <a:pt x="187" y="306"/>
                    </a:cubicBezTo>
                    <a:cubicBezTo>
                      <a:pt x="184" y="307"/>
                      <a:pt x="181" y="310"/>
                      <a:pt x="179" y="313"/>
                    </a:cubicBezTo>
                    <a:cubicBezTo>
                      <a:pt x="177" y="316"/>
                      <a:pt x="177" y="320"/>
                      <a:pt x="178" y="324"/>
                    </a:cubicBezTo>
                    <a:cubicBezTo>
                      <a:pt x="179" y="328"/>
                      <a:pt x="182" y="330"/>
                      <a:pt x="185" y="332"/>
                    </a:cubicBezTo>
                    <a:cubicBezTo>
                      <a:pt x="188" y="334"/>
                      <a:pt x="192" y="334"/>
                      <a:pt x="196" y="333"/>
                    </a:cubicBezTo>
                    <a:cubicBezTo>
                      <a:pt x="200" y="332"/>
                      <a:pt x="202" y="330"/>
                      <a:pt x="204" y="326"/>
                    </a:cubicBezTo>
                    <a:cubicBezTo>
                      <a:pt x="206" y="323"/>
                      <a:pt x="206" y="319"/>
                      <a:pt x="205" y="315"/>
                    </a:cubicBezTo>
                    <a:cubicBezTo>
                      <a:pt x="204" y="312"/>
                      <a:pt x="202" y="309"/>
                      <a:pt x="198" y="307"/>
                    </a:cubicBezTo>
                    <a:close/>
                    <a:moveTo>
                      <a:pt x="258" y="318"/>
                    </a:moveTo>
                    <a:cubicBezTo>
                      <a:pt x="259" y="319"/>
                      <a:pt x="261" y="320"/>
                      <a:pt x="262" y="321"/>
                    </a:cubicBezTo>
                    <a:cubicBezTo>
                      <a:pt x="260" y="322"/>
                      <a:pt x="259" y="323"/>
                      <a:pt x="258" y="324"/>
                    </a:cubicBezTo>
                    <a:cubicBezTo>
                      <a:pt x="253" y="327"/>
                      <a:pt x="247" y="331"/>
                      <a:pt x="245" y="338"/>
                    </a:cubicBezTo>
                    <a:cubicBezTo>
                      <a:pt x="243" y="344"/>
                      <a:pt x="245" y="351"/>
                      <a:pt x="247" y="357"/>
                    </a:cubicBezTo>
                    <a:cubicBezTo>
                      <a:pt x="247" y="358"/>
                      <a:pt x="247" y="360"/>
                      <a:pt x="248" y="361"/>
                    </a:cubicBezTo>
                    <a:cubicBezTo>
                      <a:pt x="246" y="362"/>
                      <a:pt x="244" y="362"/>
                      <a:pt x="243" y="362"/>
                    </a:cubicBezTo>
                    <a:cubicBezTo>
                      <a:pt x="237" y="362"/>
                      <a:pt x="230" y="362"/>
                      <a:pt x="224" y="366"/>
                    </a:cubicBezTo>
                    <a:cubicBezTo>
                      <a:pt x="219" y="370"/>
                      <a:pt x="216" y="376"/>
                      <a:pt x="214" y="382"/>
                    </a:cubicBezTo>
                    <a:cubicBezTo>
                      <a:pt x="214" y="383"/>
                      <a:pt x="213" y="384"/>
                      <a:pt x="212" y="386"/>
                    </a:cubicBezTo>
                    <a:cubicBezTo>
                      <a:pt x="211" y="385"/>
                      <a:pt x="209" y="383"/>
                      <a:pt x="208" y="382"/>
                    </a:cubicBezTo>
                    <a:cubicBezTo>
                      <a:pt x="203" y="379"/>
                      <a:pt x="198" y="373"/>
                      <a:pt x="191" y="373"/>
                    </a:cubicBezTo>
                    <a:cubicBezTo>
                      <a:pt x="191" y="373"/>
                      <a:pt x="191" y="373"/>
                      <a:pt x="191" y="373"/>
                    </a:cubicBezTo>
                    <a:cubicBezTo>
                      <a:pt x="184" y="373"/>
                      <a:pt x="178" y="378"/>
                      <a:pt x="173" y="382"/>
                    </a:cubicBezTo>
                    <a:cubicBezTo>
                      <a:pt x="172" y="383"/>
                      <a:pt x="170" y="385"/>
                      <a:pt x="169" y="386"/>
                    </a:cubicBezTo>
                    <a:cubicBezTo>
                      <a:pt x="169" y="385"/>
                      <a:pt x="168" y="383"/>
                      <a:pt x="168" y="382"/>
                    </a:cubicBezTo>
                    <a:cubicBezTo>
                      <a:pt x="166" y="376"/>
                      <a:pt x="163" y="369"/>
                      <a:pt x="158" y="365"/>
                    </a:cubicBezTo>
                    <a:cubicBezTo>
                      <a:pt x="152" y="361"/>
                      <a:pt x="145" y="361"/>
                      <a:pt x="139" y="360"/>
                    </a:cubicBezTo>
                    <a:cubicBezTo>
                      <a:pt x="138" y="360"/>
                      <a:pt x="136" y="360"/>
                      <a:pt x="135" y="360"/>
                    </a:cubicBezTo>
                    <a:cubicBezTo>
                      <a:pt x="135" y="359"/>
                      <a:pt x="135" y="357"/>
                      <a:pt x="136" y="356"/>
                    </a:cubicBezTo>
                    <a:cubicBezTo>
                      <a:pt x="138" y="350"/>
                      <a:pt x="140" y="343"/>
                      <a:pt x="138" y="336"/>
                    </a:cubicBezTo>
                    <a:cubicBezTo>
                      <a:pt x="136" y="330"/>
                      <a:pt x="130" y="325"/>
                      <a:pt x="125" y="321"/>
                    </a:cubicBezTo>
                    <a:cubicBezTo>
                      <a:pt x="124" y="321"/>
                      <a:pt x="123" y="320"/>
                      <a:pt x="122" y="319"/>
                    </a:cubicBezTo>
                    <a:cubicBezTo>
                      <a:pt x="123" y="318"/>
                      <a:pt x="124" y="317"/>
                      <a:pt x="125" y="316"/>
                    </a:cubicBezTo>
                    <a:cubicBezTo>
                      <a:pt x="130" y="312"/>
                      <a:pt x="136" y="308"/>
                      <a:pt x="138" y="302"/>
                    </a:cubicBezTo>
                    <a:cubicBezTo>
                      <a:pt x="140" y="295"/>
                      <a:pt x="138" y="288"/>
                      <a:pt x="137" y="282"/>
                    </a:cubicBezTo>
                    <a:cubicBezTo>
                      <a:pt x="136" y="281"/>
                      <a:pt x="136" y="279"/>
                      <a:pt x="136" y="278"/>
                    </a:cubicBezTo>
                    <a:cubicBezTo>
                      <a:pt x="137" y="278"/>
                      <a:pt x="139" y="278"/>
                      <a:pt x="140" y="278"/>
                    </a:cubicBezTo>
                    <a:cubicBezTo>
                      <a:pt x="146" y="278"/>
                      <a:pt x="153" y="278"/>
                      <a:pt x="159" y="274"/>
                    </a:cubicBezTo>
                    <a:cubicBezTo>
                      <a:pt x="165" y="270"/>
                      <a:pt x="167" y="263"/>
                      <a:pt x="169" y="258"/>
                    </a:cubicBezTo>
                    <a:cubicBezTo>
                      <a:pt x="170" y="256"/>
                      <a:pt x="170" y="255"/>
                      <a:pt x="171" y="253"/>
                    </a:cubicBezTo>
                    <a:cubicBezTo>
                      <a:pt x="172" y="254"/>
                      <a:pt x="174" y="256"/>
                      <a:pt x="175" y="257"/>
                    </a:cubicBezTo>
                    <a:cubicBezTo>
                      <a:pt x="180" y="261"/>
                      <a:pt x="186" y="266"/>
                      <a:pt x="192" y="266"/>
                    </a:cubicBezTo>
                    <a:cubicBezTo>
                      <a:pt x="193" y="266"/>
                      <a:pt x="193" y="266"/>
                      <a:pt x="193" y="266"/>
                    </a:cubicBezTo>
                    <a:cubicBezTo>
                      <a:pt x="200" y="266"/>
                      <a:pt x="205" y="261"/>
                      <a:pt x="210" y="257"/>
                    </a:cubicBezTo>
                    <a:cubicBezTo>
                      <a:pt x="211" y="257"/>
                      <a:pt x="213" y="254"/>
                      <a:pt x="214" y="253"/>
                    </a:cubicBezTo>
                    <a:cubicBezTo>
                      <a:pt x="215" y="255"/>
                      <a:pt x="215" y="257"/>
                      <a:pt x="216" y="258"/>
                    </a:cubicBezTo>
                    <a:cubicBezTo>
                      <a:pt x="218" y="264"/>
                      <a:pt x="220" y="270"/>
                      <a:pt x="226" y="274"/>
                    </a:cubicBezTo>
                    <a:cubicBezTo>
                      <a:pt x="231" y="278"/>
                      <a:pt x="238" y="279"/>
                      <a:pt x="244" y="279"/>
                    </a:cubicBezTo>
                    <a:cubicBezTo>
                      <a:pt x="245" y="279"/>
                      <a:pt x="247" y="279"/>
                      <a:pt x="249" y="279"/>
                    </a:cubicBezTo>
                    <a:cubicBezTo>
                      <a:pt x="248" y="281"/>
                      <a:pt x="248" y="282"/>
                      <a:pt x="248" y="283"/>
                    </a:cubicBezTo>
                    <a:cubicBezTo>
                      <a:pt x="246" y="289"/>
                      <a:pt x="244" y="296"/>
                      <a:pt x="246" y="303"/>
                    </a:cubicBezTo>
                    <a:cubicBezTo>
                      <a:pt x="248" y="310"/>
                      <a:pt x="253" y="314"/>
                      <a:pt x="258" y="318"/>
                    </a:cubicBezTo>
                    <a:close/>
                    <a:moveTo>
                      <a:pt x="226" y="309"/>
                    </a:moveTo>
                    <a:cubicBezTo>
                      <a:pt x="223" y="300"/>
                      <a:pt x="217" y="293"/>
                      <a:pt x="208" y="288"/>
                    </a:cubicBezTo>
                    <a:cubicBezTo>
                      <a:pt x="200" y="284"/>
                      <a:pt x="190" y="283"/>
                      <a:pt x="181" y="286"/>
                    </a:cubicBezTo>
                    <a:cubicBezTo>
                      <a:pt x="172" y="289"/>
                      <a:pt x="165" y="295"/>
                      <a:pt x="160" y="303"/>
                    </a:cubicBezTo>
                    <a:cubicBezTo>
                      <a:pt x="156" y="312"/>
                      <a:pt x="155" y="321"/>
                      <a:pt x="158" y="330"/>
                    </a:cubicBezTo>
                    <a:cubicBezTo>
                      <a:pt x="161" y="339"/>
                      <a:pt x="167" y="347"/>
                      <a:pt x="175" y="351"/>
                    </a:cubicBezTo>
                    <a:cubicBezTo>
                      <a:pt x="180" y="354"/>
                      <a:pt x="186" y="355"/>
                      <a:pt x="192" y="355"/>
                    </a:cubicBezTo>
                    <a:cubicBezTo>
                      <a:pt x="195" y="355"/>
                      <a:pt x="199" y="355"/>
                      <a:pt x="202" y="354"/>
                    </a:cubicBezTo>
                    <a:cubicBezTo>
                      <a:pt x="211" y="351"/>
                      <a:pt x="219" y="345"/>
                      <a:pt x="223" y="336"/>
                    </a:cubicBezTo>
                    <a:cubicBezTo>
                      <a:pt x="228" y="328"/>
                      <a:pt x="228" y="318"/>
                      <a:pt x="226" y="309"/>
                    </a:cubicBez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3" name="Group 2"/>
          <p:cNvGrpSpPr/>
          <p:nvPr/>
        </p:nvGrpSpPr>
        <p:grpSpPr>
          <a:xfrm>
            <a:off x="1139018" y="1880205"/>
            <a:ext cx="8357181" cy="540000"/>
            <a:chOff x="1139018" y="1880205"/>
            <a:chExt cx="8357181" cy="540000"/>
          </a:xfrm>
        </p:grpSpPr>
        <p:sp>
          <p:nvSpPr>
            <p:cNvPr id="71" name="TextBox 70"/>
            <p:cNvSpPr txBox="1"/>
            <p:nvPr/>
          </p:nvSpPr>
          <p:spPr>
            <a:xfrm>
              <a:off x="1932032" y="1971325"/>
              <a:ext cx="756416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kern="0" dirty="0" err="1" smtClean="0">
                  <a:latin typeface="Calibri"/>
                </a:rPr>
                <a:t>Realizzazione</a:t>
              </a:r>
              <a:r>
                <a:rPr lang="en-US" sz="1800" kern="0" dirty="0" smtClean="0">
                  <a:latin typeface="Calibri"/>
                </a:rPr>
                <a:t> di un </a:t>
              </a:r>
              <a:r>
                <a:rPr lang="en-US" sz="1800" b="1" kern="0" dirty="0" smtClean="0">
                  <a:latin typeface="Calibri"/>
                </a:rPr>
                <a:t>piano di </a:t>
              </a:r>
              <a:r>
                <a:rPr lang="en-US" sz="1800" b="1" kern="0" dirty="0" err="1" smtClean="0">
                  <a:latin typeface="Calibri"/>
                </a:rPr>
                <a:t>comunicazione</a:t>
              </a:r>
              <a:r>
                <a:rPr lang="en-US" sz="1800" b="1" kern="0" dirty="0" smtClean="0">
                  <a:latin typeface="Calibri"/>
                </a:rPr>
                <a:t> </a:t>
              </a:r>
              <a:r>
                <a:rPr lang="en-US" sz="1800" kern="0" dirty="0" err="1" smtClean="0">
                  <a:latin typeface="Calibri"/>
                </a:rPr>
                <a:t>rivolto</a:t>
              </a:r>
              <a:r>
                <a:rPr lang="en-US" sz="1800" b="1" kern="0" dirty="0">
                  <a:latin typeface="Calibri"/>
                </a:rPr>
                <a:t> </a:t>
              </a:r>
              <a:r>
                <a:rPr lang="en-US" sz="1800" kern="0" dirty="0" smtClean="0">
                  <a:latin typeface="Calibri"/>
                </a:rPr>
                <a:t>a SSN/</a:t>
              </a:r>
              <a:r>
                <a:rPr lang="en-US" sz="1800" kern="0" dirty="0" err="1" smtClean="0">
                  <a:latin typeface="Calibri"/>
                </a:rPr>
                <a:t>Regioni</a:t>
              </a:r>
              <a:r>
                <a:rPr lang="en-US" sz="1800" kern="0" dirty="0" smtClean="0">
                  <a:latin typeface="Calibri"/>
                </a:rPr>
                <a:t> e </a:t>
              </a:r>
              <a:r>
                <a:rPr lang="en-US" sz="1800" kern="0" dirty="0" err="1" smtClean="0">
                  <a:latin typeface="Calibri"/>
                </a:rPr>
                <a:t>fornitori</a:t>
              </a:r>
              <a:endParaRPr lang="en-US" sz="1800" kern="0" dirty="0">
                <a:latin typeface="Calibri"/>
              </a:endParaRP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1139018" y="1880205"/>
              <a:ext cx="540000" cy="540000"/>
            </a:xfrm>
            <a:prstGeom prst="roundRect">
              <a:avLst/>
            </a:prstGeom>
            <a:noFill/>
            <a:ln>
              <a:solidFill>
                <a:srgbClr val="FFC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>
              <a:defPPr>
                <a:defRPr lang="it-IT"/>
              </a:defPPr>
              <a:lvl1pPr>
                <a:defRPr sz="1200">
                  <a:latin typeface="Calibri" panose="020F0502020204030204" pitchFamily="34" charset="0"/>
                </a:defRPr>
              </a:lvl1pPr>
            </a:lstStyle>
            <a:p>
              <a:pPr marL="85725" eaLnBrk="1" hangingPunct="1">
                <a:defRPr/>
              </a:pPr>
              <a:endParaRPr lang="it-IT" sz="1292" dirty="0">
                <a:solidFill>
                  <a:srgbClr val="C00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C00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C00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C00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C00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C00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C00000"/>
                </a:solidFill>
              </a:endParaRPr>
            </a:p>
          </p:txBody>
        </p:sp>
        <p:sp>
          <p:nvSpPr>
            <p:cNvPr id="21" name="Freeform 272"/>
            <p:cNvSpPr>
              <a:spLocks noChangeAspect="1" noEditPoints="1"/>
            </p:cNvSpPr>
            <p:nvPr/>
          </p:nvSpPr>
          <p:spPr bwMode="auto">
            <a:xfrm>
              <a:off x="1227994" y="1984483"/>
              <a:ext cx="369676" cy="369676"/>
            </a:xfrm>
            <a:custGeom>
              <a:avLst/>
              <a:gdLst>
                <a:gd name="T0" fmla="*/ 160 w 512"/>
                <a:gd name="T1" fmla="*/ 245 h 512"/>
                <a:gd name="T2" fmla="*/ 181 w 512"/>
                <a:gd name="T3" fmla="*/ 224 h 512"/>
                <a:gd name="T4" fmla="*/ 202 w 512"/>
                <a:gd name="T5" fmla="*/ 245 h 512"/>
                <a:gd name="T6" fmla="*/ 181 w 512"/>
                <a:gd name="T7" fmla="*/ 266 h 512"/>
                <a:gd name="T8" fmla="*/ 160 w 512"/>
                <a:gd name="T9" fmla="*/ 245 h 512"/>
                <a:gd name="T10" fmla="*/ 512 w 512"/>
                <a:gd name="T11" fmla="*/ 256 h 512"/>
                <a:gd name="T12" fmla="*/ 256 w 512"/>
                <a:gd name="T13" fmla="*/ 512 h 512"/>
                <a:gd name="T14" fmla="*/ 0 w 512"/>
                <a:gd name="T15" fmla="*/ 256 h 512"/>
                <a:gd name="T16" fmla="*/ 256 w 512"/>
                <a:gd name="T17" fmla="*/ 0 h 512"/>
                <a:gd name="T18" fmla="*/ 512 w 512"/>
                <a:gd name="T19" fmla="*/ 256 h 512"/>
                <a:gd name="T20" fmla="*/ 138 w 512"/>
                <a:gd name="T21" fmla="*/ 245 h 512"/>
                <a:gd name="T22" fmla="*/ 181 w 512"/>
                <a:gd name="T23" fmla="*/ 288 h 512"/>
                <a:gd name="T24" fmla="*/ 224 w 512"/>
                <a:gd name="T25" fmla="*/ 245 h 512"/>
                <a:gd name="T26" fmla="*/ 181 w 512"/>
                <a:gd name="T27" fmla="*/ 202 h 512"/>
                <a:gd name="T28" fmla="*/ 138 w 512"/>
                <a:gd name="T29" fmla="*/ 245 h 512"/>
                <a:gd name="T30" fmla="*/ 256 w 512"/>
                <a:gd name="T31" fmla="*/ 320 h 512"/>
                <a:gd name="T32" fmla="*/ 245 w 512"/>
                <a:gd name="T33" fmla="*/ 309 h 512"/>
                <a:gd name="T34" fmla="*/ 117 w 512"/>
                <a:gd name="T35" fmla="*/ 309 h 512"/>
                <a:gd name="T36" fmla="*/ 106 w 512"/>
                <a:gd name="T37" fmla="*/ 320 h 512"/>
                <a:gd name="T38" fmla="*/ 106 w 512"/>
                <a:gd name="T39" fmla="*/ 352 h 512"/>
                <a:gd name="T40" fmla="*/ 117 w 512"/>
                <a:gd name="T41" fmla="*/ 362 h 512"/>
                <a:gd name="T42" fmla="*/ 128 w 512"/>
                <a:gd name="T43" fmla="*/ 352 h 512"/>
                <a:gd name="T44" fmla="*/ 128 w 512"/>
                <a:gd name="T45" fmla="*/ 330 h 512"/>
                <a:gd name="T46" fmla="*/ 234 w 512"/>
                <a:gd name="T47" fmla="*/ 330 h 512"/>
                <a:gd name="T48" fmla="*/ 234 w 512"/>
                <a:gd name="T49" fmla="*/ 352 h 512"/>
                <a:gd name="T50" fmla="*/ 245 w 512"/>
                <a:gd name="T51" fmla="*/ 362 h 512"/>
                <a:gd name="T52" fmla="*/ 256 w 512"/>
                <a:gd name="T53" fmla="*/ 352 h 512"/>
                <a:gd name="T54" fmla="*/ 256 w 512"/>
                <a:gd name="T55" fmla="*/ 320 h 512"/>
                <a:gd name="T56" fmla="*/ 288 w 512"/>
                <a:gd name="T57" fmla="*/ 244 h 512"/>
                <a:gd name="T58" fmla="*/ 277 w 512"/>
                <a:gd name="T59" fmla="*/ 215 h 512"/>
                <a:gd name="T60" fmla="*/ 262 w 512"/>
                <a:gd name="T61" fmla="*/ 215 h 512"/>
                <a:gd name="T62" fmla="*/ 261 w 512"/>
                <a:gd name="T63" fmla="*/ 230 h 512"/>
                <a:gd name="T64" fmla="*/ 267 w 512"/>
                <a:gd name="T65" fmla="*/ 244 h 512"/>
                <a:gd name="T66" fmla="*/ 261 w 512"/>
                <a:gd name="T67" fmla="*/ 258 h 512"/>
                <a:gd name="T68" fmla="*/ 262 w 512"/>
                <a:gd name="T69" fmla="*/ 274 h 512"/>
                <a:gd name="T70" fmla="*/ 269 w 512"/>
                <a:gd name="T71" fmla="*/ 276 h 512"/>
                <a:gd name="T72" fmla="*/ 277 w 512"/>
                <a:gd name="T73" fmla="*/ 273 h 512"/>
                <a:gd name="T74" fmla="*/ 288 w 512"/>
                <a:gd name="T75" fmla="*/ 244 h 512"/>
                <a:gd name="T76" fmla="*/ 345 w 512"/>
                <a:gd name="T77" fmla="*/ 244 h 512"/>
                <a:gd name="T78" fmla="*/ 310 w 512"/>
                <a:gd name="T79" fmla="*/ 172 h 512"/>
                <a:gd name="T80" fmla="*/ 295 w 512"/>
                <a:gd name="T81" fmla="*/ 173 h 512"/>
                <a:gd name="T82" fmla="*/ 296 w 512"/>
                <a:gd name="T83" fmla="*/ 188 h 512"/>
                <a:gd name="T84" fmla="*/ 323 w 512"/>
                <a:gd name="T85" fmla="*/ 244 h 512"/>
                <a:gd name="T86" fmla="*/ 296 w 512"/>
                <a:gd name="T87" fmla="*/ 301 h 512"/>
                <a:gd name="T88" fmla="*/ 295 w 512"/>
                <a:gd name="T89" fmla="*/ 316 h 512"/>
                <a:gd name="T90" fmla="*/ 303 w 512"/>
                <a:gd name="T91" fmla="*/ 319 h 512"/>
                <a:gd name="T92" fmla="*/ 310 w 512"/>
                <a:gd name="T93" fmla="*/ 317 h 512"/>
                <a:gd name="T94" fmla="*/ 345 w 512"/>
                <a:gd name="T95" fmla="*/ 244 h 512"/>
                <a:gd name="T96" fmla="*/ 401 w 512"/>
                <a:gd name="T97" fmla="*/ 244 h 512"/>
                <a:gd name="T98" fmla="*/ 344 w 512"/>
                <a:gd name="T99" fmla="*/ 128 h 512"/>
                <a:gd name="T100" fmla="*/ 329 w 512"/>
                <a:gd name="T101" fmla="*/ 130 h 512"/>
                <a:gd name="T102" fmla="*/ 331 w 512"/>
                <a:gd name="T103" fmla="*/ 145 h 512"/>
                <a:gd name="T104" fmla="*/ 380 w 512"/>
                <a:gd name="T105" fmla="*/ 244 h 512"/>
                <a:gd name="T106" fmla="*/ 331 w 512"/>
                <a:gd name="T107" fmla="*/ 343 h 512"/>
                <a:gd name="T108" fmla="*/ 329 w 512"/>
                <a:gd name="T109" fmla="*/ 358 h 512"/>
                <a:gd name="T110" fmla="*/ 337 w 512"/>
                <a:gd name="T111" fmla="*/ 362 h 512"/>
                <a:gd name="T112" fmla="*/ 344 w 512"/>
                <a:gd name="T113" fmla="*/ 360 h 512"/>
                <a:gd name="T114" fmla="*/ 401 w 512"/>
                <a:gd name="T115" fmla="*/ 24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160" y="245"/>
                  </a:moveTo>
                  <a:cubicBezTo>
                    <a:pt x="160" y="233"/>
                    <a:pt x="169" y="224"/>
                    <a:pt x="181" y="224"/>
                  </a:cubicBezTo>
                  <a:cubicBezTo>
                    <a:pt x="193" y="224"/>
                    <a:pt x="202" y="233"/>
                    <a:pt x="202" y="245"/>
                  </a:cubicBezTo>
                  <a:cubicBezTo>
                    <a:pt x="202" y="257"/>
                    <a:pt x="193" y="266"/>
                    <a:pt x="181" y="266"/>
                  </a:cubicBezTo>
                  <a:cubicBezTo>
                    <a:pt x="169" y="266"/>
                    <a:pt x="160" y="257"/>
                    <a:pt x="160" y="245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138" y="245"/>
                  </a:moveTo>
                  <a:cubicBezTo>
                    <a:pt x="138" y="269"/>
                    <a:pt x="157" y="288"/>
                    <a:pt x="181" y="288"/>
                  </a:cubicBezTo>
                  <a:cubicBezTo>
                    <a:pt x="205" y="288"/>
                    <a:pt x="224" y="269"/>
                    <a:pt x="224" y="245"/>
                  </a:cubicBezTo>
                  <a:cubicBezTo>
                    <a:pt x="224" y="221"/>
                    <a:pt x="205" y="202"/>
                    <a:pt x="181" y="202"/>
                  </a:cubicBezTo>
                  <a:cubicBezTo>
                    <a:pt x="157" y="202"/>
                    <a:pt x="138" y="221"/>
                    <a:pt x="138" y="245"/>
                  </a:cubicBezTo>
                  <a:close/>
                  <a:moveTo>
                    <a:pt x="256" y="320"/>
                  </a:moveTo>
                  <a:cubicBezTo>
                    <a:pt x="256" y="314"/>
                    <a:pt x="251" y="309"/>
                    <a:pt x="245" y="309"/>
                  </a:cubicBezTo>
                  <a:cubicBezTo>
                    <a:pt x="117" y="309"/>
                    <a:pt x="117" y="309"/>
                    <a:pt x="117" y="309"/>
                  </a:cubicBezTo>
                  <a:cubicBezTo>
                    <a:pt x="111" y="309"/>
                    <a:pt x="106" y="314"/>
                    <a:pt x="106" y="320"/>
                  </a:cubicBezTo>
                  <a:cubicBezTo>
                    <a:pt x="106" y="352"/>
                    <a:pt x="106" y="352"/>
                    <a:pt x="106" y="352"/>
                  </a:cubicBezTo>
                  <a:cubicBezTo>
                    <a:pt x="106" y="358"/>
                    <a:pt x="111" y="362"/>
                    <a:pt x="117" y="362"/>
                  </a:cubicBezTo>
                  <a:cubicBezTo>
                    <a:pt x="123" y="362"/>
                    <a:pt x="128" y="358"/>
                    <a:pt x="128" y="352"/>
                  </a:cubicBezTo>
                  <a:cubicBezTo>
                    <a:pt x="128" y="330"/>
                    <a:pt x="128" y="330"/>
                    <a:pt x="128" y="330"/>
                  </a:cubicBezTo>
                  <a:cubicBezTo>
                    <a:pt x="234" y="330"/>
                    <a:pt x="234" y="330"/>
                    <a:pt x="234" y="330"/>
                  </a:cubicBezTo>
                  <a:cubicBezTo>
                    <a:pt x="234" y="352"/>
                    <a:pt x="234" y="352"/>
                    <a:pt x="234" y="352"/>
                  </a:cubicBezTo>
                  <a:cubicBezTo>
                    <a:pt x="234" y="358"/>
                    <a:pt x="239" y="362"/>
                    <a:pt x="245" y="362"/>
                  </a:cubicBezTo>
                  <a:cubicBezTo>
                    <a:pt x="251" y="362"/>
                    <a:pt x="256" y="358"/>
                    <a:pt x="256" y="352"/>
                  </a:cubicBezTo>
                  <a:lnTo>
                    <a:pt x="256" y="320"/>
                  </a:lnTo>
                  <a:close/>
                  <a:moveTo>
                    <a:pt x="288" y="244"/>
                  </a:moveTo>
                  <a:cubicBezTo>
                    <a:pt x="288" y="234"/>
                    <a:pt x="284" y="223"/>
                    <a:pt x="277" y="215"/>
                  </a:cubicBezTo>
                  <a:cubicBezTo>
                    <a:pt x="273" y="211"/>
                    <a:pt x="266" y="211"/>
                    <a:pt x="262" y="215"/>
                  </a:cubicBezTo>
                  <a:cubicBezTo>
                    <a:pt x="257" y="219"/>
                    <a:pt x="257" y="226"/>
                    <a:pt x="261" y="230"/>
                  </a:cubicBezTo>
                  <a:cubicBezTo>
                    <a:pt x="265" y="234"/>
                    <a:pt x="267" y="239"/>
                    <a:pt x="267" y="244"/>
                  </a:cubicBezTo>
                  <a:cubicBezTo>
                    <a:pt x="267" y="249"/>
                    <a:pt x="265" y="255"/>
                    <a:pt x="261" y="258"/>
                  </a:cubicBezTo>
                  <a:cubicBezTo>
                    <a:pt x="257" y="263"/>
                    <a:pt x="257" y="269"/>
                    <a:pt x="262" y="274"/>
                  </a:cubicBezTo>
                  <a:cubicBezTo>
                    <a:pt x="264" y="275"/>
                    <a:pt x="266" y="276"/>
                    <a:pt x="269" y="276"/>
                  </a:cubicBezTo>
                  <a:cubicBezTo>
                    <a:pt x="272" y="276"/>
                    <a:pt x="275" y="275"/>
                    <a:pt x="277" y="273"/>
                  </a:cubicBezTo>
                  <a:cubicBezTo>
                    <a:pt x="284" y="265"/>
                    <a:pt x="288" y="255"/>
                    <a:pt x="288" y="244"/>
                  </a:cubicBezTo>
                  <a:close/>
                  <a:moveTo>
                    <a:pt x="345" y="244"/>
                  </a:moveTo>
                  <a:cubicBezTo>
                    <a:pt x="345" y="216"/>
                    <a:pt x="332" y="190"/>
                    <a:pt x="310" y="172"/>
                  </a:cubicBezTo>
                  <a:cubicBezTo>
                    <a:pt x="306" y="168"/>
                    <a:pt x="299" y="168"/>
                    <a:pt x="295" y="173"/>
                  </a:cubicBezTo>
                  <a:cubicBezTo>
                    <a:pt x="291" y="177"/>
                    <a:pt x="292" y="184"/>
                    <a:pt x="296" y="188"/>
                  </a:cubicBezTo>
                  <a:cubicBezTo>
                    <a:pt x="313" y="202"/>
                    <a:pt x="323" y="223"/>
                    <a:pt x="323" y="244"/>
                  </a:cubicBezTo>
                  <a:cubicBezTo>
                    <a:pt x="323" y="266"/>
                    <a:pt x="313" y="286"/>
                    <a:pt x="296" y="301"/>
                  </a:cubicBezTo>
                  <a:cubicBezTo>
                    <a:pt x="292" y="304"/>
                    <a:pt x="291" y="311"/>
                    <a:pt x="295" y="316"/>
                  </a:cubicBezTo>
                  <a:cubicBezTo>
                    <a:pt x="297" y="318"/>
                    <a:pt x="300" y="319"/>
                    <a:pt x="303" y="319"/>
                  </a:cubicBezTo>
                  <a:cubicBezTo>
                    <a:pt x="306" y="319"/>
                    <a:pt x="308" y="319"/>
                    <a:pt x="310" y="317"/>
                  </a:cubicBezTo>
                  <a:cubicBezTo>
                    <a:pt x="332" y="299"/>
                    <a:pt x="345" y="272"/>
                    <a:pt x="345" y="244"/>
                  </a:cubicBezTo>
                  <a:close/>
                  <a:moveTo>
                    <a:pt x="401" y="244"/>
                  </a:moveTo>
                  <a:cubicBezTo>
                    <a:pt x="401" y="199"/>
                    <a:pt x="380" y="157"/>
                    <a:pt x="344" y="128"/>
                  </a:cubicBezTo>
                  <a:cubicBezTo>
                    <a:pt x="339" y="125"/>
                    <a:pt x="333" y="126"/>
                    <a:pt x="329" y="130"/>
                  </a:cubicBezTo>
                  <a:cubicBezTo>
                    <a:pt x="325" y="135"/>
                    <a:pt x="326" y="142"/>
                    <a:pt x="331" y="145"/>
                  </a:cubicBezTo>
                  <a:cubicBezTo>
                    <a:pt x="362" y="170"/>
                    <a:pt x="380" y="206"/>
                    <a:pt x="380" y="244"/>
                  </a:cubicBezTo>
                  <a:cubicBezTo>
                    <a:pt x="380" y="283"/>
                    <a:pt x="362" y="319"/>
                    <a:pt x="331" y="343"/>
                  </a:cubicBezTo>
                  <a:cubicBezTo>
                    <a:pt x="326" y="347"/>
                    <a:pt x="325" y="354"/>
                    <a:pt x="329" y="358"/>
                  </a:cubicBezTo>
                  <a:cubicBezTo>
                    <a:pt x="331" y="361"/>
                    <a:pt x="334" y="362"/>
                    <a:pt x="337" y="362"/>
                  </a:cubicBezTo>
                  <a:cubicBezTo>
                    <a:pt x="340" y="362"/>
                    <a:pt x="342" y="362"/>
                    <a:pt x="344" y="360"/>
                  </a:cubicBezTo>
                  <a:cubicBezTo>
                    <a:pt x="380" y="331"/>
                    <a:pt x="401" y="289"/>
                    <a:pt x="401" y="244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139018" y="2719689"/>
            <a:ext cx="8357181" cy="540000"/>
            <a:chOff x="1204332" y="2599952"/>
            <a:chExt cx="8357181" cy="540000"/>
          </a:xfrm>
        </p:grpSpPr>
        <p:sp>
          <p:nvSpPr>
            <p:cNvPr id="100" name="TextBox 99"/>
            <p:cNvSpPr txBox="1"/>
            <p:nvPr/>
          </p:nvSpPr>
          <p:spPr>
            <a:xfrm>
              <a:off x="1997345" y="2684370"/>
              <a:ext cx="756416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800" b="1" kern="0" dirty="0" smtClean="0">
                  <a:latin typeface="Calibri"/>
                </a:rPr>
                <a:t>Piano di implementazione </a:t>
              </a:r>
              <a:r>
                <a:rPr lang="it-IT" sz="1800" kern="0" dirty="0" smtClean="0">
                  <a:latin typeface="Calibri"/>
                </a:rPr>
                <a:t>per le attività di </a:t>
              </a:r>
              <a:r>
                <a:rPr lang="it-IT" sz="1800" kern="0" dirty="0" err="1" smtClean="0">
                  <a:latin typeface="Calibri"/>
                </a:rPr>
                <a:t>testing</a:t>
              </a:r>
              <a:r>
                <a:rPr lang="it-IT" sz="1800" kern="0" dirty="0" smtClean="0">
                  <a:latin typeface="Calibri"/>
                </a:rPr>
                <a:t> e collaudo</a:t>
              </a:r>
              <a:endParaRPr lang="en-US" sz="1800" b="1" kern="0" dirty="0">
                <a:latin typeface="Calibri"/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1204332" y="2599952"/>
              <a:ext cx="540000" cy="540000"/>
            </a:xfrm>
            <a:prstGeom prst="roundRect">
              <a:avLst/>
            </a:prstGeom>
            <a:noFill/>
            <a:ln>
              <a:solidFill>
                <a:srgbClr val="006B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>
              <a:defPPr>
                <a:defRPr lang="it-IT"/>
              </a:defPPr>
              <a:lvl1pPr>
                <a:defRPr sz="1200">
                  <a:latin typeface="Calibri" panose="020F0502020204030204" pitchFamily="34" charset="0"/>
                </a:defRPr>
              </a:lvl1pPr>
            </a:lstStyle>
            <a:p>
              <a:pPr marL="85725" eaLnBrk="1" hangingPunct="1">
                <a:defRPr/>
              </a:pPr>
              <a:endParaRPr lang="it-IT" sz="1292" dirty="0"/>
            </a:p>
            <a:p>
              <a:pPr marL="85725" eaLnBrk="1" hangingPunct="1">
                <a:defRPr/>
              </a:pPr>
              <a:endParaRPr lang="it-IT" sz="1292" dirty="0"/>
            </a:p>
            <a:p>
              <a:pPr marL="85725" eaLnBrk="1" hangingPunct="1">
                <a:defRPr/>
              </a:pPr>
              <a:endParaRPr lang="it-IT" sz="1292" dirty="0"/>
            </a:p>
            <a:p>
              <a:pPr marL="85725" eaLnBrk="1" hangingPunct="1">
                <a:defRPr/>
              </a:pPr>
              <a:endParaRPr lang="it-IT" sz="1292" dirty="0"/>
            </a:p>
            <a:p>
              <a:pPr marL="85725" eaLnBrk="1" hangingPunct="1">
                <a:defRPr/>
              </a:pPr>
              <a:endParaRPr lang="it-IT" sz="1292" dirty="0"/>
            </a:p>
            <a:p>
              <a:pPr marL="85725" eaLnBrk="1" hangingPunct="1">
                <a:defRPr/>
              </a:pPr>
              <a:endParaRPr lang="it-IT" sz="1292" dirty="0"/>
            </a:p>
            <a:p>
              <a:pPr marL="85725" eaLnBrk="1" hangingPunct="1">
                <a:defRPr/>
              </a:pPr>
              <a:endParaRPr lang="it-IT" sz="1292" dirty="0"/>
            </a:p>
          </p:txBody>
        </p:sp>
        <p:sp>
          <p:nvSpPr>
            <p:cNvPr id="22" name="Freeform 279"/>
            <p:cNvSpPr>
              <a:spLocks noChangeAspect="1" noEditPoints="1"/>
            </p:cNvSpPr>
            <p:nvPr/>
          </p:nvSpPr>
          <p:spPr bwMode="auto">
            <a:xfrm>
              <a:off x="1284858" y="2696140"/>
              <a:ext cx="367041" cy="367041"/>
            </a:xfrm>
            <a:custGeom>
              <a:avLst/>
              <a:gdLst>
                <a:gd name="T0" fmla="*/ 149 w 512"/>
                <a:gd name="T1" fmla="*/ 294 h 512"/>
                <a:gd name="T2" fmla="*/ 170 w 512"/>
                <a:gd name="T3" fmla="*/ 192 h 512"/>
                <a:gd name="T4" fmla="*/ 181 w 512"/>
                <a:gd name="T5" fmla="*/ 261 h 512"/>
                <a:gd name="T6" fmla="*/ 192 w 512"/>
                <a:gd name="T7" fmla="*/ 157 h 512"/>
                <a:gd name="T8" fmla="*/ 224 w 512"/>
                <a:gd name="T9" fmla="*/ 142 h 512"/>
                <a:gd name="T10" fmla="*/ 217 w 512"/>
                <a:gd name="T11" fmla="*/ 197 h 512"/>
                <a:gd name="T12" fmla="*/ 235 w 512"/>
                <a:gd name="T13" fmla="*/ 208 h 512"/>
                <a:gd name="T14" fmla="*/ 245 w 512"/>
                <a:gd name="T15" fmla="*/ 189 h 512"/>
                <a:gd name="T16" fmla="*/ 245 w 512"/>
                <a:gd name="T17" fmla="*/ 128 h 512"/>
                <a:gd name="T18" fmla="*/ 266 w 512"/>
                <a:gd name="T19" fmla="*/ 129 h 512"/>
                <a:gd name="T20" fmla="*/ 268 w 512"/>
                <a:gd name="T21" fmla="*/ 194 h 512"/>
                <a:gd name="T22" fmla="*/ 279 w 512"/>
                <a:gd name="T23" fmla="*/ 211 h 512"/>
                <a:gd name="T24" fmla="*/ 283 w 512"/>
                <a:gd name="T25" fmla="*/ 213 h 512"/>
                <a:gd name="T26" fmla="*/ 285 w 512"/>
                <a:gd name="T27" fmla="*/ 213 h 512"/>
                <a:gd name="T28" fmla="*/ 287 w 512"/>
                <a:gd name="T29" fmla="*/ 213 h 512"/>
                <a:gd name="T30" fmla="*/ 294 w 512"/>
                <a:gd name="T31" fmla="*/ 197 h 512"/>
                <a:gd name="T32" fmla="*/ 288 w 512"/>
                <a:gd name="T33" fmla="*/ 142 h 512"/>
                <a:gd name="T34" fmla="*/ 320 w 512"/>
                <a:gd name="T35" fmla="*/ 157 h 512"/>
                <a:gd name="T36" fmla="*/ 330 w 512"/>
                <a:gd name="T37" fmla="*/ 261 h 512"/>
                <a:gd name="T38" fmla="*/ 341 w 512"/>
                <a:gd name="T39" fmla="*/ 192 h 512"/>
                <a:gd name="T40" fmla="*/ 362 w 512"/>
                <a:gd name="T41" fmla="*/ 293 h 512"/>
                <a:gd name="T42" fmla="*/ 384 w 512"/>
                <a:gd name="T43" fmla="*/ 297 h 512"/>
                <a:gd name="T44" fmla="*/ 379 w 512"/>
                <a:gd name="T45" fmla="*/ 307 h 512"/>
                <a:gd name="T46" fmla="*/ 130 w 512"/>
                <a:gd name="T47" fmla="*/ 305 h 512"/>
                <a:gd name="T48" fmla="*/ 128 w 512"/>
                <a:gd name="T49" fmla="*/ 297 h 512"/>
                <a:gd name="T50" fmla="*/ 118 w 512"/>
                <a:gd name="T51" fmla="*/ 319 h 512"/>
                <a:gd name="T52" fmla="*/ 256 w 512"/>
                <a:gd name="T53" fmla="*/ 362 h 512"/>
                <a:gd name="T54" fmla="*/ 257 w 512"/>
                <a:gd name="T55" fmla="*/ 362 h 512"/>
                <a:gd name="T56" fmla="*/ 394 w 512"/>
                <a:gd name="T57" fmla="*/ 319 h 512"/>
                <a:gd name="T58" fmla="*/ 384 w 512"/>
                <a:gd name="T59" fmla="*/ 297 h 512"/>
                <a:gd name="T60" fmla="*/ 256 w 512"/>
                <a:gd name="T61" fmla="*/ 512 h 512"/>
                <a:gd name="T62" fmla="*/ 256 w 512"/>
                <a:gd name="T63" fmla="*/ 0 h 512"/>
                <a:gd name="T64" fmla="*/ 414 w 512"/>
                <a:gd name="T65" fmla="*/ 289 h 512"/>
                <a:gd name="T66" fmla="*/ 384 w 512"/>
                <a:gd name="T67" fmla="*/ 274 h 512"/>
                <a:gd name="T68" fmla="*/ 341 w 512"/>
                <a:gd name="T69" fmla="*/ 156 h 512"/>
                <a:gd name="T70" fmla="*/ 335 w 512"/>
                <a:gd name="T71" fmla="*/ 141 h 512"/>
                <a:gd name="T72" fmla="*/ 288 w 512"/>
                <a:gd name="T73" fmla="*/ 120 h 512"/>
                <a:gd name="T74" fmla="*/ 277 w 512"/>
                <a:gd name="T75" fmla="*/ 106 h 512"/>
                <a:gd name="T76" fmla="*/ 224 w 512"/>
                <a:gd name="T77" fmla="*/ 117 h 512"/>
                <a:gd name="T78" fmla="*/ 187 w 512"/>
                <a:gd name="T79" fmla="*/ 135 h 512"/>
                <a:gd name="T80" fmla="*/ 170 w 512"/>
                <a:gd name="T81" fmla="*/ 150 h 512"/>
                <a:gd name="T82" fmla="*/ 128 w 512"/>
                <a:gd name="T83" fmla="*/ 260 h 512"/>
                <a:gd name="T84" fmla="*/ 105 w 512"/>
                <a:gd name="T85" fmla="*/ 281 h 512"/>
                <a:gd name="T86" fmla="*/ 97 w 512"/>
                <a:gd name="T87" fmla="*/ 325 h 512"/>
                <a:gd name="T88" fmla="*/ 119 w 512"/>
                <a:gd name="T89" fmla="*/ 370 h 512"/>
                <a:gd name="T90" fmla="*/ 256 w 512"/>
                <a:gd name="T91" fmla="*/ 384 h 512"/>
                <a:gd name="T92" fmla="*/ 393 w 512"/>
                <a:gd name="T93" fmla="*/ 370 h 512"/>
                <a:gd name="T94" fmla="*/ 415 w 512"/>
                <a:gd name="T95" fmla="*/ 325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12" h="512">
                  <a:moveTo>
                    <a:pt x="256" y="311"/>
                  </a:moveTo>
                  <a:cubicBezTo>
                    <a:pt x="182" y="311"/>
                    <a:pt x="160" y="298"/>
                    <a:pt x="149" y="294"/>
                  </a:cubicBezTo>
                  <a:cubicBezTo>
                    <a:pt x="149" y="260"/>
                    <a:pt x="149" y="260"/>
                    <a:pt x="149" y="260"/>
                  </a:cubicBezTo>
                  <a:cubicBezTo>
                    <a:pt x="149" y="232"/>
                    <a:pt x="160" y="209"/>
                    <a:pt x="170" y="192"/>
                  </a:cubicBezTo>
                  <a:cubicBezTo>
                    <a:pt x="170" y="250"/>
                    <a:pt x="170" y="250"/>
                    <a:pt x="170" y="250"/>
                  </a:cubicBezTo>
                  <a:cubicBezTo>
                    <a:pt x="170" y="256"/>
                    <a:pt x="175" y="261"/>
                    <a:pt x="181" y="261"/>
                  </a:cubicBezTo>
                  <a:cubicBezTo>
                    <a:pt x="187" y="261"/>
                    <a:pt x="192" y="256"/>
                    <a:pt x="192" y="250"/>
                  </a:cubicBezTo>
                  <a:cubicBezTo>
                    <a:pt x="192" y="157"/>
                    <a:pt x="192" y="157"/>
                    <a:pt x="192" y="157"/>
                  </a:cubicBezTo>
                  <a:cubicBezTo>
                    <a:pt x="192" y="156"/>
                    <a:pt x="195" y="155"/>
                    <a:pt x="197" y="154"/>
                  </a:cubicBezTo>
                  <a:cubicBezTo>
                    <a:pt x="207" y="149"/>
                    <a:pt x="213" y="145"/>
                    <a:pt x="224" y="142"/>
                  </a:cubicBezTo>
                  <a:cubicBezTo>
                    <a:pt x="224" y="186"/>
                    <a:pt x="224" y="186"/>
                    <a:pt x="224" y="186"/>
                  </a:cubicBezTo>
                  <a:cubicBezTo>
                    <a:pt x="217" y="197"/>
                    <a:pt x="217" y="197"/>
                    <a:pt x="217" y="197"/>
                  </a:cubicBezTo>
                  <a:cubicBezTo>
                    <a:pt x="214" y="202"/>
                    <a:pt x="215" y="208"/>
                    <a:pt x="220" y="211"/>
                  </a:cubicBezTo>
                  <a:cubicBezTo>
                    <a:pt x="225" y="214"/>
                    <a:pt x="232" y="213"/>
                    <a:pt x="235" y="208"/>
                  </a:cubicBezTo>
                  <a:cubicBezTo>
                    <a:pt x="243" y="194"/>
                    <a:pt x="243" y="194"/>
                    <a:pt x="243" y="194"/>
                  </a:cubicBezTo>
                  <a:cubicBezTo>
                    <a:pt x="244" y="193"/>
                    <a:pt x="245" y="191"/>
                    <a:pt x="245" y="189"/>
                  </a:cubicBezTo>
                  <a:cubicBezTo>
                    <a:pt x="245" y="129"/>
                    <a:pt x="245" y="129"/>
                    <a:pt x="245" y="129"/>
                  </a:cubicBezTo>
                  <a:cubicBezTo>
                    <a:pt x="245" y="128"/>
                    <a:pt x="245" y="128"/>
                    <a:pt x="245" y="128"/>
                  </a:cubicBezTo>
                  <a:cubicBezTo>
                    <a:pt x="266" y="128"/>
                    <a:pt x="266" y="128"/>
                    <a:pt x="266" y="128"/>
                  </a:cubicBezTo>
                  <a:cubicBezTo>
                    <a:pt x="266" y="129"/>
                    <a:pt x="266" y="129"/>
                    <a:pt x="266" y="129"/>
                  </a:cubicBezTo>
                  <a:cubicBezTo>
                    <a:pt x="266" y="189"/>
                    <a:pt x="266" y="189"/>
                    <a:pt x="266" y="189"/>
                  </a:cubicBezTo>
                  <a:cubicBezTo>
                    <a:pt x="266" y="191"/>
                    <a:pt x="267" y="193"/>
                    <a:pt x="268" y="194"/>
                  </a:cubicBezTo>
                  <a:cubicBezTo>
                    <a:pt x="276" y="208"/>
                    <a:pt x="276" y="208"/>
                    <a:pt x="276" y="208"/>
                  </a:cubicBezTo>
                  <a:cubicBezTo>
                    <a:pt x="277" y="209"/>
                    <a:pt x="278" y="210"/>
                    <a:pt x="279" y="211"/>
                  </a:cubicBezTo>
                  <a:cubicBezTo>
                    <a:pt x="279" y="211"/>
                    <a:pt x="279" y="211"/>
                    <a:pt x="279" y="211"/>
                  </a:cubicBezTo>
                  <a:cubicBezTo>
                    <a:pt x="280" y="212"/>
                    <a:pt x="281" y="212"/>
                    <a:pt x="283" y="213"/>
                  </a:cubicBezTo>
                  <a:cubicBezTo>
                    <a:pt x="283" y="213"/>
                    <a:pt x="283" y="213"/>
                    <a:pt x="283" y="213"/>
                  </a:cubicBezTo>
                  <a:cubicBezTo>
                    <a:pt x="284" y="213"/>
                    <a:pt x="284" y="213"/>
                    <a:pt x="285" y="213"/>
                  </a:cubicBezTo>
                  <a:cubicBezTo>
                    <a:pt x="286" y="213"/>
                    <a:pt x="286" y="213"/>
                    <a:pt x="286" y="213"/>
                  </a:cubicBezTo>
                  <a:cubicBezTo>
                    <a:pt x="287" y="213"/>
                    <a:pt x="287" y="213"/>
                    <a:pt x="287" y="213"/>
                  </a:cubicBezTo>
                  <a:cubicBezTo>
                    <a:pt x="288" y="213"/>
                    <a:pt x="290" y="212"/>
                    <a:pt x="291" y="211"/>
                  </a:cubicBezTo>
                  <a:cubicBezTo>
                    <a:pt x="296" y="208"/>
                    <a:pt x="297" y="202"/>
                    <a:pt x="294" y="197"/>
                  </a:cubicBezTo>
                  <a:cubicBezTo>
                    <a:pt x="288" y="186"/>
                    <a:pt x="288" y="186"/>
                    <a:pt x="288" y="186"/>
                  </a:cubicBezTo>
                  <a:cubicBezTo>
                    <a:pt x="288" y="142"/>
                    <a:pt x="288" y="142"/>
                    <a:pt x="288" y="142"/>
                  </a:cubicBezTo>
                  <a:cubicBezTo>
                    <a:pt x="298" y="145"/>
                    <a:pt x="304" y="149"/>
                    <a:pt x="314" y="154"/>
                  </a:cubicBezTo>
                  <a:cubicBezTo>
                    <a:pt x="316" y="155"/>
                    <a:pt x="320" y="156"/>
                    <a:pt x="320" y="157"/>
                  </a:cubicBezTo>
                  <a:cubicBezTo>
                    <a:pt x="320" y="250"/>
                    <a:pt x="320" y="250"/>
                    <a:pt x="320" y="250"/>
                  </a:cubicBezTo>
                  <a:cubicBezTo>
                    <a:pt x="320" y="256"/>
                    <a:pt x="324" y="261"/>
                    <a:pt x="330" y="261"/>
                  </a:cubicBezTo>
                  <a:cubicBezTo>
                    <a:pt x="336" y="261"/>
                    <a:pt x="341" y="256"/>
                    <a:pt x="341" y="250"/>
                  </a:cubicBezTo>
                  <a:cubicBezTo>
                    <a:pt x="341" y="192"/>
                    <a:pt x="341" y="192"/>
                    <a:pt x="341" y="192"/>
                  </a:cubicBezTo>
                  <a:cubicBezTo>
                    <a:pt x="352" y="209"/>
                    <a:pt x="362" y="232"/>
                    <a:pt x="362" y="260"/>
                  </a:cubicBezTo>
                  <a:cubicBezTo>
                    <a:pt x="362" y="293"/>
                    <a:pt x="362" y="293"/>
                    <a:pt x="362" y="293"/>
                  </a:cubicBezTo>
                  <a:cubicBezTo>
                    <a:pt x="352" y="298"/>
                    <a:pt x="329" y="311"/>
                    <a:pt x="256" y="311"/>
                  </a:cubicBezTo>
                  <a:close/>
                  <a:moveTo>
                    <a:pt x="384" y="297"/>
                  </a:moveTo>
                  <a:cubicBezTo>
                    <a:pt x="384" y="298"/>
                    <a:pt x="384" y="298"/>
                    <a:pt x="384" y="298"/>
                  </a:cubicBezTo>
                  <a:cubicBezTo>
                    <a:pt x="384" y="302"/>
                    <a:pt x="382" y="305"/>
                    <a:pt x="379" y="307"/>
                  </a:cubicBezTo>
                  <a:cubicBezTo>
                    <a:pt x="371" y="314"/>
                    <a:pt x="343" y="332"/>
                    <a:pt x="256" y="332"/>
                  </a:cubicBezTo>
                  <a:cubicBezTo>
                    <a:pt x="155" y="332"/>
                    <a:pt x="133" y="309"/>
                    <a:pt x="130" y="305"/>
                  </a:cubicBezTo>
                  <a:cubicBezTo>
                    <a:pt x="128" y="303"/>
                    <a:pt x="128" y="301"/>
                    <a:pt x="128" y="298"/>
                  </a:cubicBezTo>
                  <a:cubicBezTo>
                    <a:pt x="128" y="297"/>
                    <a:pt x="128" y="297"/>
                    <a:pt x="128" y="297"/>
                  </a:cubicBezTo>
                  <a:cubicBezTo>
                    <a:pt x="118" y="300"/>
                    <a:pt x="118" y="300"/>
                    <a:pt x="118" y="300"/>
                  </a:cubicBezTo>
                  <a:cubicBezTo>
                    <a:pt x="117" y="306"/>
                    <a:pt x="116" y="314"/>
                    <a:pt x="118" y="319"/>
                  </a:cubicBezTo>
                  <a:cubicBezTo>
                    <a:pt x="120" y="328"/>
                    <a:pt x="130" y="346"/>
                    <a:pt x="135" y="355"/>
                  </a:cubicBezTo>
                  <a:cubicBezTo>
                    <a:pt x="141" y="357"/>
                    <a:pt x="167" y="362"/>
                    <a:pt x="256" y="362"/>
                  </a:cubicBezTo>
                  <a:cubicBezTo>
                    <a:pt x="256" y="362"/>
                    <a:pt x="256" y="362"/>
                    <a:pt x="256" y="362"/>
                  </a:cubicBezTo>
                  <a:cubicBezTo>
                    <a:pt x="256" y="362"/>
                    <a:pt x="256" y="362"/>
                    <a:pt x="257" y="362"/>
                  </a:cubicBezTo>
                  <a:cubicBezTo>
                    <a:pt x="345" y="362"/>
                    <a:pt x="371" y="357"/>
                    <a:pt x="377" y="355"/>
                  </a:cubicBezTo>
                  <a:cubicBezTo>
                    <a:pt x="383" y="346"/>
                    <a:pt x="392" y="328"/>
                    <a:pt x="394" y="319"/>
                  </a:cubicBezTo>
                  <a:cubicBezTo>
                    <a:pt x="396" y="314"/>
                    <a:pt x="395" y="306"/>
                    <a:pt x="395" y="300"/>
                  </a:cubicBezTo>
                  <a:lnTo>
                    <a:pt x="384" y="297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14" y="289"/>
                  </a:moveTo>
                  <a:cubicBezTo>
                    <a:pt x="414" y="286"/>
                    <a:pt x="411" y="282"/>
                    <a:pt x="407" y="281"/>
                  </a:cubicBezTo>
                  <a:cubicBezTo>
                    <a:pt x="384" y="274"/>
                    <a:pt x="384" y="274"/>
                    <a:pt x="384" y="274"/>
                  </a:cubicBezTo>
                  <a:cubicBezTo>
                    <a:pt x="384" y="260"/>
                    <a:pt x="384" y="260"/>
                    <a:pt x="384" y="260"/>
                  </a:cubicBezTo>
                  <a:cubicBezTo>
                    <a:pt x="384" y="225"/>
                    <a:pt x="373" y="186"/>
                    <a:pt x="341" y="156"/>
                  </a:cubicBezTo>
                  <a:cubicBezTo>
                    <a:pt x="341" y="150"/>
                    <a:pt x="341" y="150"/>
                    <a:pt x="341" y="150"/>
                  </a:cubicBezTo>
                  <a:cubicBezTo>
                    <a:pt x="341" y="146"/>
                    <a:pt x="339" y="143"/>
                    <a:pt x="335" y="141"/>
                  </a:cubicBezTo>
                  <a:cubicBezTo>
                    <a:pt x="331" y="139"/>
                    <a:pt x="327" y="137"/>
                    <a:pt x="324" y="135"/>
                  </a:cubicBezTo>
                  <a:cubicBezTo>
                    <a:pt x="312" y="129"/>
                    <a:pt x="301" y="123"/>
                    <a:pt x="288" y="120"/>
                  </a:cubicBezTo>
                  <a:cubicBezTo>
                    <a:pt x="288" y="117"/>
                    <a:pt x="288" y="117"/>
                    <a:pt x="288" y="117"/>
                  </a:cubicBezTo>
                  <a:cubicBezTo>
                    <a:pt x="288" y="111"/>
                    <a:pt x="283" y="106"/>
                    <a:pt x="277" y="106"/>
                  </a:cubicBezTo>
                  <a:cubicBezTo>
                    <a:pt x="234" y="106"/>
                    <a:pt x="234" y="106"/>
                    <a:pt x="234" y="106"/>
                  </a:cubicBezTo>
                  <a:cubicBezTo>
                    <a:pt x="228" y="106"/>
                    <a:pt x="224" y="111"/>
                    <a:pt x="224" y="117"/>
                  </a:cubicBezTo>
                  <a:cubicBezTo>
                    <a:pt x="224" y="120"/>
                    <a:pt x="224" y="120"/>
                    <a:pt x="224" y="120"/>
                  </a:cubicBezTo>
                  <a:cubicBezTo>
                    <a:pt x="210" y="123"/>
                    <a:pt x="200" y="129"/>
                    <a:pt x="187" y="135"/>
                  </a:cubicBezTo>
                  <a:cubicBezTo>
                    <a:pt x="184" y="137"/>
                    <a:pt x="180" y="139"/>
                    <a:pt x="176" y="141"/>
                  </a:cubicBezTo>
                  <a:cubicBezTo>
                    <a:pt x="173" y="143"/>
                    <a:pt x="170" y="146"/>
                    <a:pt x="170" y="150"/>
                  </a:cubicBezTo>
                  <a:cubicBezTo>
                    <a:pt x="170" y="156"/>
                    <a:pt x="170" y="156"/>
                    <a:pt x="170" y="156"/>
                  </a:cubicBezTo>
                  <a:cubicBezTo>
                    <a:pt x="138" y="186"/>
                    <a:pt x="128" y="225"/>
                    <a:pt x="128" y="260"/>
                  </a:cubicBezTo>
                  <a:cubicBezTo>
                    <a:pt x="128" y="274"/>
                    <a:pt x="128" y="274"/>
                    <a:pt x="128" y="274"/>
                  </a:cubicBezTo>
                  <a:cubicBezTo>
                    <a:pt x="105" y="281"/>
                    <a:pt x="105" y="281"/>
                    <a:pt x="105" y="281"/>
                  </a:cubicBezTo>
                  <a:cubicBezTo>
                    <a:pt x="101" y="283"/>
                    <a:pt x="99" y="286"/>
                    <a:pt x="98" y="289"/>
                  </a:cubicBezTo>
                  <a:cubicBezTo>
                    <a:pt x="97" y="291"/>
                    <a:pt x="94" y="310"/>
                    <a:pt x="97" y="325"/>
                  </a:cubicBezTo>
                  <a:cubicBezTo>
                    <a:pt x="101" y="339"/>
                    <a:pt x="116" y="365"/>
                    <a:pt x="118" y="368"/>
                  </a:cubicBezTo>
                  <a:cubicBezTo>
                    <a:pt x="118" y="369"/>
                    <a:pt x="119" y="370"/>
                    <a:pt x="119" y="370"/>
                  </a:cubicBezTo>
                  <a:cubicBezTo>
                    <a:pt x="128" y="379"/>
                    <a:pt x="174" y="384"/>
                    <a:pt x="256" y="384"/>
                  </a:cubicBezTo>
                  <a:cubicBezTo>
                    <a:pt x="256" y="384"/>
                    <a:pt x="256" y="384"/>
                    <a:pt x="256" y="384"/>
                  </a:cubicBezTo>
                  <a:cubicBezTo>
                    <a:pt x="256" y="384"/>
                    <a:pt x="256" y="384"/>
                    <a:pt x="257" y="384"/>
                  </a:cubicBezTo>
                  <a:cubicBezTo>
                    <a:pt x="338" y="384"/>
                    <a:pt x="384" y="379"/>
                    <a:pt x="393" y="370"/>
                  </a:cubicBezTo>
                  <a:cubicBezTo>
                    <a:pt x="393" y="370"/>
                    <a:pt x="394" y="369"/>
                    <a:pt x="394" y="368"/>
                  </a:cubicBezTo>
                  <a:cubicBezTo>
                    <a:pt x="396" y="365"/>
                    <a:pt x="411" y="339"/>
                    <a:pt x="415" y="325"/>
                  </a:cubicBezTo>
                  <a:cubicBezTo>
                    <a:pt x="419" y="310"/>
                    <a:pt x="415" y="291"/>
                    <a:pt x="414" y="289"/>
                  </a:cubicBezTo>
                  <a:close/>
                </a:path>
              </a:pathLst>
            </a:custGeom>
            <a:solidFill>
              <a:srgbClr val="006B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" name="Rectangle 3"/>
          <p:cNvSpPr/>
          <p:nvPr/>
        </p:nvSpPr>
        <p:spPr>
          <a:xfrm>
            <a:off x="6320003" y="4414025"/>
            <a:ext cx="409748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it-IT" alt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</a:t>
            </a:r>
            <a:r>
              <a:rPr lang="it-IT" altLang="it-IT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Despatch</a:t>
            </a:r>
            <a:r>
              <a:rPr lang="it-IT" alt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Advice</a:t>
            </a:r>
            <a:endParaRPr lang="it-IT" altLang="it-IT" sz="18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it-IT" alt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Billing / Credit Note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279435" y="3777118"/>
            <a:ext cx="828207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3000"/>
              </a:spcAft>
              <a:buSzPct val="100000"/>
              <a:tabLst>
                <a:tab pos="6729413" algn="r"/>
              </a:tabLst>
            </a:pP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l formato adottato </a:t>
            </a:r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 </a:t>
            </a:r>
            <a:r>
              <a:rPr lang="it-IT" sz="1800" dirty="0" err="1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cent</a:t>
            </a:r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ER per 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 </a:t>
            </a:r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calizzazione 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taliana delle specifiche è quello di </a:t>
            </a:r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PPOL 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e definisce le regole di utilizzo per ogni tipologia di </a:t>
            </a:r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filo.</a:t>
            </a:r>
            <a:endParaRPr lang="it-IT" sz="1800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3935413" y="6511925"/>
            <a:ext cx="2060575" cy="250825"/>
          </a:xfrm>
        </p:spPr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18</a:t>
            </a:fld>
            <a:endParaRPr lang="it-IT" altLang="it-IT" dirty="0"/>
          </a:p>
        </p:txBody>
      </p:sp>
      <p:sp>
        <p:nvSpPr>
          <p:cNvPr id="6" name="Rectangle 5"/>
          <p:cNvSpPr/>
          <p:nvPr/>
        </p:nvSpPr>
        <p:spPr>
          <a:xfrm>
            <a:off x="911281" y="4417151"/>
            <a:ext cx="23748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it-IT" alt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Order </a:t>
            </a:r>
            <a:r>
              <a:rPr lang="it-IT" altLang="it-IT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only</a:t>
            </a:r>
            <a:endParaRPr lang="it-IT" altLang="it-IT" sz="18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it-IT" alt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Ordering</a:t>
            </a:r>
            <a:endParaRPr lang="it-IT" altLang="it-IT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3252987" y="4409163"/>
            <a:ext cx="484793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it-IT" alt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Order Agreement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it-IT" alt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Catalogue</a:t>
            </a:r>
            <a:r>
              <a:rPr lang="it-IT" alt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only</a:t>
            </a:r>
            <a:endParaRPr lang="it-IT" altLang="it-IT" sz="1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78947" y="5523860"/>
            <a:ext cx="331476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it-IT" alt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Specifiche tecniche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it-IT" alt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Sintassi</a:t>
            </a:r>
            <a:endParaRPr lang="it-IT" altLang="it-IT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795247" y="5520200"/>
            <a:ext cx="4953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it-IT" alt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Regole di business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it-IT" alt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Codifiche e Identificatori</a:t>
            </a:r>
          </a:p>
        </p:txBody>
      </p:sp>
      <p:sp>
        <p:nvSpPr>
          <p:cNvPr id="10" name="Rectangle 9"/>
          <p:cNvSpPr/>
          <p:nvPr/>
        </p:nvSpPr>
        <p:spPr>
          <a:xfrm>
            <a:off x="5892244" y="5494938"/>
            <a:ext cx="4953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it-IT" alt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Esempi XML</a:t>
            </a:r>
          </a:p>
          <a:p>
            <a:pPr marL="1257300" lvl="2" indent="-342900">
              <a:buFont typeface="Wingdings" panose="05000000000000000000" pitchFamily="2" charset="2"/>
              <a:buChar char="Ø"/>
            </a:pPr>
            <a:r>
              <a:rPr lang="it-IT" altLang="it-IT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Schematron</a:t>
            </a:r>
            <a:endParaRPr lang="it-IT" altLang="it-IT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Fact"/>
          <p:cNvSpPr>
            <a:spLocks noEditPoints="1"/>
          </p:cNvSpPr>
          <p:nvPr>
            <p:custDataLst>
              <p:tags r:id="rId2"/>
            </p:custDataLst>
          </p:nvPr>
        </p:nvSpPr>
        <p:spPr bwMode="auto">
          <a:xfrm>
            <a:off x="1460004" y="4515367"/>
            <a:ext cx="180000" cy="180000"/>
          </a:xfrm>
          <a:custGeom>
            <a:avLst/>
            <a:gdLst>
              <a:gd name="T0" fmla="*/ 521 w 625"/>
              <a:gd name="T1" fmla="*/ 0 h 590"/>
              <a:gd name="T2" fmla="*/ 104 w 625"/>
              <a:gd name="T3" fmla="*/ 0 h 590"/>
              <a:gd name="T4" fmla="*/ 0 w 625"/>
              <a:gd name="T5" fmla="*/ 104 h 590"/>
              <a:gd name="T6" fmla="*/ 0 w 625"/>
              <a:gd name="T7" fmla="*/ 104 h 590"/>
              <a:gd name="T8" fmla="*/ 0 w 625"/>
              <a:gd name="T9" fmla="*/ 347 h 590"/>
              <a:gd name="T10" fmla="*/ 104 w 625"/>
              <a:gd name="T11" fmla="*/ 451 h 590"/>
              <a:gd name="T12" fmla="*/ 156 w 625"/>
              <a:gd name="T13" fmla="*/ 451 h 590"/>
              <a:gd name="T14" fmla="*/ 104 w 625"/>
              <a:gd name="T15" fmla="*/ 590 h 590"/>
              <a:gd name="T16" fmla="*/ 330 w 625"/>
              <a:gd name="T17" fmla="*/ 451 h 590"/>
              <a:gd name="T18" fmla="*/ 521 w 625"/>
              <a:gd name="T19" fmla="*/ 451 h 590"/>
              <a:gd name="T20" fmla="*/ 625 w 625"/>
              <a:gd name="T21" fmla="*/ 347 h 590"/>
              <a:gd name="T22" fmla="*/ 625 w 625"/>
              <a:gd name="T23" fmla="*/ 330 h 590"/>
              <a:gd name="T24" fmla="*/ 625 w 625"/>
              <a:gd name="T25" fmla="*/ 104 h 590"/>
              <a:gd name="T26" fmla="*/ 625 w 625"/>
              <a:gd name="T27" fmla="*/ 104 h 590"/>
              <a:gd name="T28" fmla="*/ 521 w 625"/>
              <a:gd name="T29" fmla="*/ 0 h 590"/>
              <a:gd name="T30" fmla="*/ 278 w 625"/>
              <a:gd name="T31" fmla="*/ 362 h 590"/>
              <a:gd name="T32" fmla="*/ 166 w 625"/>
              <a:gd name="T33" fmla="*/ 250 h 590"/>
              <a:gd name="T34" fmla="*/ 216 w 625"/>
              <a:gd name="T35" fmla="*/ 201 h 590"/>
              <a:gd name="T36" fmla="*/ 278 w 625"/>
              <a:gd name="T37" fmla="*/ 263 h 590"/>
              <a:gd name="T38" fmla="*/ 436 w 625"/>
              <a:gd name="T39" fmla="*/ 106 h 590"/>
              <a:gd name="T40" fmla="*/ 485 w 625"/>
              <a:gd name="T41" fmla="*/ 155 h 590"/>
              <a:gd name="T42" fmla="*/ 278 w 625"/>
              <a:gd name="T43" fmla="*/ 362 h 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25" h="590">
                <a:moveTo>
                  <a:pt x="521" y="0"/>
                </a:moveTo>
                <a:lnTo>
                  <a:pt x="104" y="0"/>
                </a:lnTo>
                <a:cubicBezTo>
                  <a:pt x="47" y="0"/>
                  <a:pt x="0" y="47"/>
                  <a:pt x="0" y="104"/>
                </a:cubicBezTo>
                <a:lnTo>
                  <a:pt x="0" y="104"/>
                </a:lnTo>
                <a:lnTo>
                  <a:pt x="0" y="347"/>
                </a:lnTo>
                <a:cubicBezTo>
                  <a:pt x="0" y="405"/>
                  <a:pt x="47" y="451"/>
                  <a:pt x="104" y="451"/>
                </a:cubicBezTo>
                <a:lnTo>
                  <a:pt x="156" y="451"/>
                </a:lnTo>
                <a:lnTo>
                  <a:pt x="104" y="590"/>
                </a:lnTo>
                <a:lnTo>
                  <a:pt x="330" y="451"/>
                </a:lnTo>
                <a:lnTo>
                  <a:pt x="521" y="451"/>
                </a:lnTo>
                <a:cubicBezTo>
                  <a:pt x="578" y="451"/>
                  <a:pt x="625" y="405"/>
                  <a:pt x="625" y="347"/>
                </a:cubicBezTo>
                <a:lnTo>
                  <a:pt x="625" y="330"/>
                </a:lnTo>
                <a:lnTo>
                  <a:pt x="625" y="104"/>
                </a:lnTo>
                <a:lnTo>
                  <a:pt x="625" y="104"/>
                </a:lnTo>
                <a:cubicBezTo>
                  <a:pt x="625" y="47"/>
                  <a:pt x="578" y="0"/>
                  <a:pt x="521" y="0"/>
                </a:cubicBezTo>
                <a:close/>
                <a:moveTo>
                  <a:pt x="278" y="362"/>
                </a:moveTo>
                <a:lnTo>
                  <a:pt x="166" y="250"/>
                </a:lnTo>
                <a:lnTo>
                  <a:pt x="216" y="201"/>
                </a:lnTo>
                <a:lnTo>
                  <a:pt x="278" y="263"/>
                </a:lnTo>
                <a:lnTo>
                  <a:pt x="436" y="106"/>
                </a:lnTo>
                <a:lnTo>
                  <a:pt x="485" y="155"/>
                </a:lnTo>
                <a:lnTo>
                  <a:pt x="278" y="362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Fact"/>
          <p:cNvSpPr>
            <a:spLocks noEditPoints="1"/>
          </p:cNvSpPr>
          <p:nvPr>
            <p:custDataLst>
              <p:tags r:id="rId3"/>
            </p:custDataLst>
          </p:nvPr>
        </p:nvSpPr>
        <p:spPr bwMode="auto">
          <a:xfrm>
            <a:off x="6880674" y="4504989"/>
            <a:ext cx="180000" cy="180000"/>
          </a:xfrm>
          <a:custGeom>
            <a:avLst/>
            <a:gdLst>
              <a:gd name="T0" fmla="*/ 521 w 625"/>
              <a:gd name="T1" fmla="*/ 0 h 590"/>
              <a:gd name="T2" fmla="*/ 104 w 625"/>
              <a:gd name="T3" fmla="*/ 0 h 590"/>
              <a:gd name="T4" fmla="*/ 0 w 625"/>
              <a:gd name="T5" fmla="*/ 104 h 590"/>
              <a:gd name="T6" fmla="*/ 0 w 625"/>
              <a:gd name="T7" fmla="*/ 104 h 590"/>
              <a:gd name="T8" fmla="*/ 0 w 625"/>
              <a:gd name="T9" fmla="*/ 347 h 590"/>
              <a:gd name="T10" fmla="*/ 104 w 625"/>
              <a:gd name="T11" fmla="*/ 451 h 590"/>
              <a:gd name="T12" fmla="*/ 156 w 625"/>
              <a:gd name="T13" fmla="*/ 451 h 590"/>
              <a:gd name="T14" fmla="*/ 104 w 625"/>
              <a:gd name="T15" fmla="*/ 590 h 590"/>
              <a:gd name="T16" fmla="*/ 330 w 625"/>
              <a:gd name="T17" fmla="*/ 451 h 590"/>
              <a:gd name="T18" fmla="*/ 521 w 625"/>
              <a:gd name="T19" fmla="*/ 451 h 590"/>
              <a:gd name="T20" fmla="*/ 625 w 625"/>
              <a:gd name="T21" fmla="*/ 347 h 590"/>
              <a:gd name="T22" fmla="*/ 625 w 625"/>
              <a:gd name="T23" fmla="*/ 330 h 590"/>
              <a:gd name="T24" fmla="*/ 625 w 625"/>
              <a:gd name="T25" fmla="*/ 104 h 590"/>
              <a:gd name="T26" fmla="*/ 625 w 625"/>
              <a:gd name="T27" fmla="*/ 104 h 590"/>
              <a:gd name="T28" fmla="*/ 521 w 625"/>
              <a:gd name="T29" fmla="*/ 0 h 590"/>
              <a:gd name="T30" fmla="*/ 278 w 625"/>
              <a:gd name="T31" fmla="*/ 362 h 590"/>
              <a:gd name="T32" fmla="*/ 166 w 625"/>
              <a:gd name="T33" fmla="*/ 250 h 590"/>
              <a:gd name="T34" fmla="*/ 216 w 625"/>
              <a:gd name="T35" fmla="*/ 201 h 590"/>
              <a:gd name="T36" fmla="*/ 278 w 625"/>
              <a:gd name="T37" fmla="*/ 263 h 590"/>
              <a:gd name="T38" fmla="*/ 436 w 625"/>
              <a:gd name="T39" fmla="*/ 106 h 590"/>
              <a:gd name="T40" fmla="*/ 485 w 625"/>
              <a:gd name="T41" fmla="*/ 155 h 590"/>
              <a:gd name="T42" fmla="*/ 278 w 625"/>
              <a:gd name="T43" fmla="*/ 362 h 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25" h="590">
                <a:moveTo>
                  <a:pt x="521" y="0"/>
                </a:moveTo>
                <a:lnTo>
                  <a:pt x="104" y="0"/>
                </a:lnTo>
                <a:cubicBezTo>
                  <a:pt x="47" y="0"/>
                  <a:pt x="0" y="47"/>
                  <a:pt x="0" y="104"/>
                </a:cubicBezTo>
                <a:lnTo>
                  <a:pt x="0" y="104"/>
                </a:lnTo>
                <a:lnTo>
                  <a:pt x="0" y="347"/>
                </a:lnTo>
                <a:cubicBezTo>
                  <a:pt x="0" y="405"/>
                  <a:pt x="47" y="451"/>
                  <a:pt x="104" y="451"/>
                </a:cubicBezTo>
                <a:lnTo>
                  <a:pt x="156" y="451"/>
                </a:lnTo>
                <a:lnTo>
                  <a:pt x="104" y="590"/>
                </a:lnTo>
                <a:lnTo>
                  <a:pt x="330" y="451"/>
                </a:lnTo>
                <a:lnTo>
                  <a:pt x="521" y="451"/>
                </a:lnTo>
                <a:cubicBezTo>
                  <a:pt x="578" y="451"/>
                  <a:pt x="625" y="405"/>
                  <a:pt x="625" y="347"/>
                </a:cubicBezTo>
                <a:lnTo>
                  <a:pt x="625" y="330"/>
                </a:lnTo>
                <a:lnTo>
                  <a:pt x="625" y="104"/>
                </a:lnTo>
                <a:lnTo>
                  <a:pt x="625" y="104"/>
                </a:lnTo>
                <a:cubicBezTo>
                  <a:pt x="625" y="47"/>
                  <a:pt x="578" y="0"/>
                  <a:pt x="521" y="0"/>
                </a:cubicBezTo>
                <a:close/>
                <a:moveTo>
                  <a:pt x="278" y="362"/>
                </a:moveTo>
                <a:lnTo>
                  <a:pt x="166" y="250"/>
                </a:lnTo>
                <a:lnTo>
                  <a:pt x="216" y="201"/>
                </a:lnTo>
                <a:lnTo>
                  <a:pt x="278" y="263"/>
                </a:lnTo>
                <a:lnTo>
                  <a:pt x="436" y="106"/>
                </a:lnTo>
                <a:lnTo>
                  <a:pt x="485" y="155"/>
                </a:lnTo>
                <a:lnTo>
                  <a:pt x="278" y="362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Fact"/>
          <p:cNvSpPr>
            <a:spLocks noEditPoints="1"/>
          </p:cNvSpPr>
          <p:nvPr>
            <p:custDataLst>
              <p:tags r:id="rId4"/>
            </p:custDataLst>
          </p:nvPr>
        </p:nvSpPr>
        <p:spPr bwMode="auto">
          <a:xfrm>
            <a:off x="6880674" y="4778981"/>
            <a:ext cx="180000" cy="180000"/>
          </a:xfrm>
          <a:custGeom>
            <a:avLst/>
            <a:gdLst>
              <a:gd name="T0" fmla="*/ 521 w 625"/>
              <a:gd name="T1" fmla="*/ 0 h 590"/>
              <a:gd name="T2" fmla="*/ 104 w 625"/>
              <a:gd name="T3" fmla="*/ 0 h 590"/>
              <a:gd name="T4" fmla="*/ 0 w 625"/>
              <a:gd name="T5" fmla="*/ 104 h 590"/>
              <a:gd name="T6" fmla="*/ 0 w 625"/>
              <a:gd name="T7" fmla="*/ 104 h 590"/>
              <a:gd name="T8" fmla="*/ 0 w 625"/>
              <a:gd name="T9" fmla="*/ 347 h 590"/>
              <a:gd name="T10" fmla="*/ 104 w 625"/>
              <a:gd name="T11" fmla="*/ 451 h 590"/>
              <a:gd name="T12" fmla="*/ 156 w 625"/>
              <a:gd name="T13" fmla="*/ 451 h 590"/>
              <a:gd name="T14" fmla="*/ 104 w 625"/>
              <a:gd name="T15" fmla="*/ 590 h 590"/>
              <a:gd name="T16" fmla="*/ 330 w 625"/>
              <a:gd name="T17" fmla="*/ 451 h 590"/>
              <a:gd name="T18" fmla="*/ 521 w 625"/>
              <a:gd name="T19" fmla="*/ 451 h 590"/>
              <a:gd name="T20" fmla="*/ 625 w 625"/>
              <a:gd name="T21" fmla="*/ 347 h 590"/>
              <a:gd name="T22" fmla="*/ 625 w 625"/>
              <a:gd name="T23" fmla="*/ 330 h 590"/>
              <a:gd name="T24" fmla="*/ 625 w 625"/>
              <a:gd name="T25" fmla="*/ 104 h 590"/>
              <a:gd name="T26" fmla="*/ 625 w 625"/>
              <a:gd name="T27" fmla="*/ 104 h 590"/>
              <a:gd name="T28" fmla="*/ 521 w 625"/>
              <a:gd name="T29" fmla="*/ 0 h 590"/>
              <a:gd name="T30" fmla="*/ 278 w 625"/>
              <a:gd name="T31" fmla="*/ 362 h 590"/>
              <a:gd name="T32" fmla="*/ 166 w 625"/>
              <a:gd name="T33" fmla="*/ 250 h 590"/>
              <a:gd name="T34" fmla="*/ 216 w 625"/>
              <a:gd name="T35" fmla="*/ 201 h 590"/>
              <a:gd name="T36" fmla="*/ 278 w 625"/>
              <a:gd name="T37" fmla="*/ 263 h 590"/>
              <a:gd name="T38" fmla="*/ 436 w 625"/>
              <a:gd name="T39" fmla="*/ 106 h 590"/>
              <a:gd name="T40" fmla="*/ 485 w 625"/>
              <a:gd name="T41" fmla="*/ 155 h 590"/>
              <a:gd name="T42" fmla="*/ 278 w 625"/>
              <a:gd name="T43" fmla="*/ 362 h 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25" h="590">
                <a:moveTo>
                  <a:pt x="521" y="0"/>
                </a:moveTo>
                <a:lnTo>
                  <a:pt x="104" y="0"/>
                </a:lnTo>
                <a:cubicBezTo>
                  <a:pt x="47" y="0"/>
                  <a:pt x="0" y="47"/>
                  <a:pt x="0" y="104"/>
                </a:cubicBezTo>
                <a:lnTo>
                  <a:pt x="0" y="104"/>
                </a:lnTo>
                <a:lnTo>
                  <a:pt x="0" y="347"/>
                </a:lnTo>
                <a:cubicBezTo>
                  <a:pt x="0" y="405"/>
                  <a:pt x="47" y="451"/>
                  <a:pt x="104" y="451"/>
                </a:cubicBezTo>
                <a:lnTo>
                  <a:pt x="156" y="451"/>
                </a:lnTo>
                <a:lnTo>
                  <a:pt x="104" y="590"/>
                </a:lnTo>
                <a:lnTo>
                  <a:pt x="330" y="451"/>
                </a:lnTo>
                <a:lnTo>
                  <a:pt x="521" y="451"/>
                </a:lnTo>
                <a:cubicBezTo>
                  <a:pt x="578" y="451"/>
                  <a:pt x="625" y="405"/>
                  <a:pt x="625" y="347"/>
                </a:cubicBezTo>
                <a:lnTo>
                  <a:pt x="625" y="330"/>
                </a:lnTo>
                <a:lnTo>
                  <a:pt x="625" y="104"/>
                </a:lnTo>
                <a:lnTo>
                  <a:pt x="625" y="104"/>
                </a:lnTo>
                <a:cubicBezTo>
                  <a:pt x="625" y="47"/>
                  <a:pt x="578" y="0"/>
                  <a:pt x="521" y="0"/>
                </a:cubicBezTo>
                <a:close/>
                <a:moveTo>
                  <a:pt x="278" y="362"/>
                </a:moveTo>
                <a:lnTo>
                  <a:pt x="166" y="250"/>
                </a:lnTo>
                <a:lnTo>
                  <a:pt x="216" y="201"/>
                </a:lnTo>
                <a:lnTo>
                  <a:pt x="278" y="263"/>
                </a:lnTo>
                <a:lnTo>
                  <a:pt x="436" y="106"/>
                </a:lnTo>
                <a:lnTo>
                  <a:pt x="485" y="155"/>
                </a:lnTo>
                <a:lnTo>
                  <a:pt x="278" y="362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512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CustomShape 3">
            <a:extLst>
              <a:ext uri="{FF2B5EF4-FFF2-40B4-BE49-F238E27FC236}">
                <a16:creationId xmlns:a16="http://schemas.microsoft.com/office/drawing/2014/main" id="{4BC9C766-0171-4316-9FE5-1742D5543257}"/>
              </a:ext>
            </a:extLst>
          </p:cNvPr>
          <p:cNvSpPr/>
          <p:nvPr/>
        </p:nvSpPr>
        <p:spPr>
          <a:xfrm>
            <a:off x="884315" y="222120"/>
            <a:ext cx="8665560" cy="516600"/>
          </a:xfrm>
          <a:prstGeom prst="rect">
            <a:avLst/>
          </a:prstGeom>
          <a:noFill/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r">
              <a:lnSpc>
                <a:spcPct val="100000"/>
              </a:lnSpc>
            </a:pPr>
            <a:r>
              <a:rPr lang="it-IT" sz="2800" b="1" strike="noStrike" spc="-1" dirty="0" err="1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Roadmap</a:t>
            </a:r>
            <a:r>
              <a:rPr lang="it-IT" sz="2800" b="1" strike="noStrike" spc="-1" dirty="0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 PEPPOL BIS 3.0</a:t>
            </a:r>
            <a:endParaRPr lang="it-IT" sz="1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57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3935413" y="6511925"/>
            <a:ext cx="2060575" cy="250825"/>
          </a:xfrm>
        </p:spPr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19</a:t>
            </a:fld>
            <a:endParaRPr lang="it-IT" altLang="it-IT" dirty="0"/>
          </a:p>
        </p:txBody>
      </p:sp>
      <p:sp>
        <p:nvSpPr>
          <p:cNvPr id="33" name="Oval 32"/>
          <p:cNvSpPr>
            <a:spLocks noChangeAspect="1"/>
          </p:cNvSpPr>
          <p:nvPr/>
        </p:nvSpPr>
        <p:spPr>
          <a:xfrm>
            <a:off x="6203621" y="4021890"/>
            <a:ext cx="949002" cy="94900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34" name="Oval 33"/>
          <p:cNvSpPr>
            <a:spLocks noChangeAspect="1"/>
          </p:cNvSpPr>
          <p:nvPr/>
        </p:nvSpPr>
        <p:spPr>
          <a:xfrm>
            <a:off x="4170866" y="4021890"/>
            <a:ext cx="949002" cy="94900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35" name="Oval 34"/>
          <p:cNvSpPr>
            <a:spLocks noChangeAspect="1"/>
          </p:cNvSpPr>
          <p:nvPr/>
        </p:nvSpPr>
        <p:spPr>
          <a:xfrm>
            <a:off x="2135729" y="4021890"/>
            <a:ext cx="949002" cy="94900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36" name="Oval 35"/>
          <p:cNvSpPr>
            <a:spLocks noChangeAspect="1"/>
          </p:cNvSpPr>
          <p:nvPr/>
        </p:nvSpPr>
        <p:spPr>
          <a:xfrm>
            <a:off x="2218079" y="4104240"/>
            <a:ext cx="784300" cy="784300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800" b="1" kern="0" dirty="0" smtClean="0">
                <a:solidFill>
                  <a:schemeClr val="bg1"/>
                </a:solidFill>
                <a:latin typeface="Calibri"/>
              </a:rPr>
              <a:t>A</a:t>
            </a:r>
            <a:endParaRPr lang="en-US" sz="1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7" name="Oval 36"/>
          <p:cNvSpPr>
            <a:spLocks noChangeAspect="1"/>
          </p:cNvSpPr>
          <p:nvPr/>
        </p:nvSpPr>
        <p:spPr>
          <a:xfrm>
            <a:off x="4253197" y="4104240"/>
            <a:ext cx="784300" cy="78430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800" b="1" kern="0" dirty="0" smtClean="0">
                <a:solidFill>
                  <a:schemeClr val="bg1"/>
                </a:solidFill>
                <a:latin typeface="Calibri"/>
              </a:rPr>
              <a:t>B</a:t>
            </a:r>
            <a:endParaRPr lang="en-US" sz="1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8" name="Freeform: Shape 79"/>
          <p:cNvSpPr/>
          <p:nvPr>
            <p:custDataLst>
              <p:tags r:id="rId2"/>
            </p:custDataLst>
          </p:nvPr>
        </p:nvSpPr>
        <p:spPr>
          <a:xfrm rot="2811700">
            <a:off x="2956713" y="3516342"/>
            <a:ext cx="1214706" cy="983459"/>
          </a:xfrm>
          <a:custGeom>
            <a:avLst/>
            <a:gdLst>
              <a:gd name="connsiteX0" fmla="*/ 216661 w 1367736"/>
              <a:gd name="connsiteY0" fmla="*/ 836412 h 1529952"/>
              <a:gd name="connsiteX1" fmla="*/ 877535 w 1367736"/>
              <a:gd name="connsiteY1" fmla="*/ 222322 h 1529952"/>
              <a:gd name="connsiteX2" fmla="*/ 834476 w 1367736"/>
              <a:gd name="connsiteY2" fmla="*/ 0 h 1529952"/>
              <a:gd name="connsiteX3" fmla="*/ 1367736 w 1367736"/>
              <a:gd name="connsiteY3" fmla="*/ 302212 h 1529952"/>
              <a:gd name="connsiteX4" fmla="*/ 1015590 w 1367736"/>
              <a:gd name="connsiteY4" fmla="*/ 935122 h 1529952"/>
              <a:gd name="connsiteX5" fmla="*/ 973517 w 1367736"/>
              <a:gd name="connsiteY5" fmla="*/ 717891 h 1529952"/>
              <a:gd name="connsiteX6" fmla="*/ 484636 w 1367736"/>
              <a:gd name="connsiteY6" fmla="*/ 1414839 h 1529952"/>
              <a:gd name="connsiteX7" fmla="*/ 463107 w 1367736"/>
              <a:gd name="connsiteY7" fmla="*/ 1529952 h 1529952"/>
              <a:gd name="connsiteX8" fmla="*/ 288813 w 1367736"/>
              <a:gd name="connsiteY8" fmla="*/ 1238828 h 1529952"/>
              <a:gd name="connsiteX9" fmla="*/ 0 w 1367736"/>
              <a:gd name="connsiteY9" fmla="*/ 1408672 h 1529952"/>
              <a:gd name="connsiteX10" fmla="*/ 8435 w 1367736"/>
              <a:gd name="connsiteY10" fmla="*/ 1360556 h 1529952"/>
              <a:gd name="connsiteX11" fmla="*/ 216661 w 1367736"/>
              <a:gd name="connsiteY11" fmla="*/ 836412 h 152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7736" h="1529952">
                <a:moveTo>
                  <a:pt x="216661" y="836412"/>
                </a:moveTo>
                <a:cubicBezTo>
                  <a:pt x="373454" y="579554"/>
                  <a:pt x="599704" y="365095"/>
                  <a:pt x="877535" y="222322"/>
                </a:cubicBezTo>
                <a:lnTo>
                  <a:pt x="834476" y="0"/>
                </a:lnTo>
                <a:lnTo>
                  <a:pt x="1367736" y="302212"/>
                </a:lnTo>
                <a:lnTo>
                  <a:pt x="1015590" y="935122"/>
                </a:lnTo>
                <a:lnTo>
                  <a:pt x="973517" y="717891"/>
                </a:lnTo>
                <a:cubicBezTo>
                  <a:pt x="727456" y="883898"/>
                  <a:pt x="555324" y="1133466"/>
                  <a:pt x="484636" y="1414839"/>
                </a:cubicBezTo>
                <a:lnTo>
                  <a:pt x="463107" y="1529952"/>
                </a:lnTo>
                <a:lnTo>
                  <a:pt x="288813" y="1238828"/>
                </a:lnTo>
                <a:lnTo>
                  <a:pt x="0" y="1408672"/>
                </a:lnTo>
                <a:lnTo>
                  <a:pt x="8435" y="1360556"/>
                </a:lnTo>
                <a:cubicBezTo>
                  <a:pt x="47802" y="1174046"/>
                  <a:pt x="118665" y="996948"/>
                  <a:pt x="216661" y="836412"/>
                </a:cubicBezTo>
                <a:close/>
              </a:path>
            </a:pathLst>
          </a:custGeom>
          <a:solidFill>
            <a:srgbClr val="92D050"/>
          </a:solidFill>
          <a:ln w="12700">
            <a:solidFill>
              <a:srgbClr val="FFFFFF"/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9" name="Freeform: Shape 80"/>
          <p:cNvSpPr/>
          <p:nvPr>
            <p:custDataLst>
              <p:tags r:id="rId3"/>
            </p:custDataLst>
          </p:nvPr>
        </p:nvSpPr>
        <p:spPr>
          <a:xfrm rot="17211700" flipV="1">
            <a:off x="5182780" y="4357965"/>
            <a:ext cx="967105" cy="1235247"/>
          </a:xfrm>
          <a:custGeom>
            <a:avLst/>
            <a:gdLst>
              <a:gd name="connsiteX0" fmla="*/ 216661 w 1367736"/>
              <a:gd name="connsiteY0" fmla="*/ 836412 h 1529952"/>
              <a:gd name="connsiteX1" fmla="*/ 877535 w 1367736"/>
              <a:gd name="connsiteY1" fmla="*/ 222322 h 1529952"/>
              <a:gd name="connsiteX2" fmla="*/ 834476 w 1367736"/>
              <a:gd name="connsiteY2" fmla="*/ 0 h 1529952"/>
              <a:gd name="connsiteX3" fmla="*/ 1367736 w 1367736"/>
              <a:gd name="connsiteY3" fmla="*/ 302212 h 1529952"/>
              <a:gd name="connsiteX4" fmla="*/ 1015590 w 1367736"/>
              <a:gd name="connsiteY4" fmla="*/ 935122 h 1529952"/>
              <a:gd name="connsiteX5" fmla="*/ 973517 w 1367736"/>
              <a:gd name="connsiteY5" fmla="*/ 717891 h 1529952"/>
              <a:gd name="connsiteX6" fmla="*/ 484636 w 1367736"/>
              <a:gd name="connsiteY6" fmla="*/ 1414839 h 1529952"/>
              <a:gd name="connsiteX7" fmla="*/ 463107 w 1367736"/>
              <a:gd name="connsiteY7" fmla="*/ 1529952 h 1529952"/>
              <a:gd name="connsiteX8" fmla="*/ 288813 w 1367736"/>
              <a:gd name="connsiteY8" fmla="*/ 1238828 h 1529952"/>
              <a:gd name="connsiteX9" fmla="*/ 0 w 1367736"/>
              <a:gd name="connsiteY9" fmla="*/ 1408672 h 1529952"/>
              <a:gd name="connsiteX10" fmla="*/ 8435 w 1367736"/>
              <a:gd name="connsiteY10" fmla="*/ 1360556 h 1529952"/>
              <a:gd name="connsiteX11" fmla="*/ 216661 w 1367736"/>
              <a:gd name="connsiteY11" fmla="*/ 836412 h 152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7736" h="1529952">
                <a:moveTo>
                  <a:pt x="216661" y="836412"/>
                </a:moveTo>
                <a:cubicBezTo>
                  <a:pt x="373454" y="579554"/>
                  <a:pt x="599704" y="365095"/>
                  <a:pt x="877535" y="222322"/>
                </a:cubicBezTo>
                <a:lnTo>
                  <a:pt x="834476" y="0"/>
                </a:lnTo>
                <a:lnTo>
                  <a:pt x="1367736" y="302212"/>
                </a:lnTo>
                <a:lnTo>
                  <a:pt x="1015590" y="935122"/>
                </a:lnTo>
                <a:lnTo>
                  <a:pt x="973517" y="717891"/>
                </a:lnTo>
                <a:cubicBezTo>
                  <a:pt x="727456" y="883898"/>
                  <a:pt x="555324" y="1133466"/>
                  <a:pt x="484636" y="1414839"/>
                </a:cubicBezTo>
                <a:lnTo>
                  <a:pt x="463107" y="1529952"/>
                </a:lnTo>
                <a:lnTo>
                  <a:pt x="288813" y="1238828"/>
                </a:lnTo>
                <a:lnTo>
                  <a:pt x="0" y="1408672"/>
                </a:lnTo>
                <a:lnTo>
                  <a:pt x="8435" y="1360556"/>
                </a:lnTo>
                <a:cubicBezTo>
                  <a:pt x="47802" y="1174046"/>
                  <a:pt x="118665" y="996948"/>
                  <a:pt x="216661" y="836412"/>
                </a:cubicBezTo>
                <a:close/>
              </a:path>
            </a:pathLst>
          </a:custGeom>
          <a:solidFill>
            <a:srgbClr val="92D050"/>
          </a:solidFill>
          <a:ln w="12700">
            <a:solidFill>
              <a:srgbClr val="FFFFFF"/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0" name="Oval 39"/>
          <p:cNvSpPr>
            <a:spLocks noChangeAspect="1"/>
          </p:cNvSpPr>
          <p:nvPr/>
        </p:nvSpPr>
        <p:spPr>
          <a:xfrm>
            <a:off x="6285972" y="4104240"/>
            <a:ext cx="784300" cy="784300"/>
          </a:xfrm>
          <a:prstGeom prst="ellipse">
            <a:avLst/>
          </a:prstGeom>
          <a:solidFill>
            <a:srgbClr val="006D0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800" b="1" kern="0" dirty="0" smtClean="0">
                <a:solidFill>
                  <a:schemeClr val="bg1"/>
                </a:solidFill>
                <a:latin typeface="Calibri"/>
              </a:rPr>
              <a:t>C</a:t>
            </a:r>
            <a:endParaRPr lang="en-US" sz="1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2218079" y="5053242"/>
            <a:ext cx="194616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 smtClean="0">
                <a:solidFill>
                  <a:sysClr val="windowText" lastClr="000000"/>
                </a:solidFill>
                <a:latin typeface="Calibri"/>
              </a:rPr>
              <a:t>PHASE IN</a:t>
            </a:r>
          </a:p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800" i="1" kern="0" dirty="0" smtClean="0">
                <a:solidFill>
                  <a:sysClr val="windowText" lastClr="000000"/>
                </a:solidFill>
                <a:latin typeface="Calibri"/>
              </a:rPr>
              <a:t>12 Dicembre 2018</a:t>
            </a:r>
            <a:endParaRPr lang="en-US" sz="1800" i="1" kern="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358832" y="3457630"/>
            <a:ext cx="20765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 smtClean="0">
                <a:solidFill>
                  <a:sysClr val="windowText" lastClr="000000"/>
                </a:solidFill>
                <a:latin typeface="Calibri"/>
              </a:rPr>
              <a:t>TRANSITION</a:t>
            </a:r>
          </a:p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800" kern="0" dirty="0" smtClean="0">
                <a:solidFill>
                  <a:sysClr val="windowText" lastClr="000000"/>
                </a:solidFill>
                <a:latin typeface="Calibri"/>
              </a:rPr>
              <a:t>15 Maggio 2019</a:t>
            </a:r>
            <a:endParaRPr lang="en-US" sz="1800" kern="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435392" y="5073554"/>
            <a:ext cx="194660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 smtClean="0">
                <a:solidFill>
                  <a:sysClr val="windowText" lastClr="000000"/>
                </a:solidFill>
                <a:latin typeface="Calibri"/>
              </a:rPr>
              <a:t>PHASE OUT</a:t>
            </a:r>
          </a:p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800" i="1" kern="0" dirty="0" smtClean="0">
                <a:solidFill>
                  <a:sysClr val="windowText" lastClr="000000"/>
                </a:solidFill>
                <a:latin typeface="Calibri"/>
              </a:rPr>
              <a:t>15 Maggio 2020</a:t>
            </a:r>
            <a:endParaRPr lang="en-US" sz="1800" i="1" kern="0" dirty="0">
              <a:solidFill>
                <a:sysClr val="windowText" lastClr="000000"/>
              </a:solidFill>
              <a:latin typeface="Calibri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73932" y="5835257"/>
            <a:ext cx="2028715" cy="522682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1139018" y="2719689"/>
            <a:ext cx="7740000" cy="468000"/>
          </a:xfrm>
          <a:prstGeom prst="roundRect">
            <a:avLst/>
          </a:prstGeom>
          <a:solidFill>
            <a:srgbClr val="FFFFCC"/>
          </a:solidFill>
          <a:ln>
            <a:solidFill>
              <a:srgbClr val="006B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it-IT"/>
            </a:defPPr>
            <a:lvl1pPr>
              <a:defRPr sz="1200">
                <a:latin typeface="Calibri" panose="020F0502020204030204" pitchFamily="34" charset="0"/>
              </a:defRPr>
            </a:lvl1pPr>
          </a:lstStyle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</p:txBody>
      </p:sp>
      <p:sp>
        <p:nvSpPr>
          <p:cNvPr id="32" name="Rectangle 31"/>
          <p:cNvSpPr/>
          <p:nvPr/>
        </p:nvSpPr>
        <p:spPr>
          <a:xfrm>
            <a:off x="1173164" y="1124856"/>
            <a:ext cx="838835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 </a:t>
            </a:r>
            <a:r>
              <a:rPr lang="it-IT" sz="18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grazione di PEPPOL </a:t>
            </a:r>
            <a:r>
              <a:rPr lang="it-IT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iene eseguita </a:t>
            </a:r>
            <a:r>
              <a:rPr lang="it-IT" sz="18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 tre </a:t>
            </a:r>
            <a:r>
              <a:rPr lang="it-IT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versi </a:t>
            </a:r>
            <a:r>
              <a:rPr lang="it-IT" sz="18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menti </a:t>
            </a:r>
            <a:r>
              <a:rPr lang="it-IT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mporali, </a:t>
            </a:r>
            <a:r>
              <a:rPr lang="it-IT" sz="18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finiti </a:t>
            </a:r>
            <a:r>
              <a:rPr lang="it-IT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e </a:t>
            </a:r>
            <a:r>
              <a:rPr lang="it-IT" sz="18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el modo seguente:</a:t>
            </a:r>
            <a:endParaRPr lang="it-IT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it-IT" sz="1800" b="1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- PHASE IN, </a:t>
            </a:r>
            <a:r>
              <a:rPr lang="it-IT" sz="18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 nuova </a:t>
            </a:r>
            <a:r>
              <a:rPr lang="it-IT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IS </a:t>
            </a:r>
            <a:r>
              <a:rPr lang="it-IT" sz="18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 viene </a:t>
            </a:r>
            <a:r>
              <a:rPr lang="it-IT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rodotta come </a:t>
            </a:r>
            <a:r>
              <a:rPr lang="it-IT" sz="18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ecifica facoltativa;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it-IT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it-IT" sz="1800" b="1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 - TRANSITION, </a:t>
            </a:r>
            <a:r>
              <a:rPr lang="it-IT" sz="18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 </a:t>
            </a:r>
            <a:r>
              <a:rPr lang="it-IT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IS </a:t>
            </a:r>
            <a:r>
              <a:rPr lang="it-IT" sz="18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 </a:t>
            </a:r>
            <a:r>
              <a:rPr lang="it-IT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stituisce </a:t>
            </a:r>
            <a:r>
              <a:rPr lang="it-IT" sz="18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 precedente BIS 2 e diventa obbligatoria;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it-IT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it-IT" sz="1800" b="1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 - PHASE OUT, </a:t>
            </a:r>
            <a:r>
              <a:rPr lang="it-IT" sz="18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 BIS 2 viene dismessa ed il suo utilizzo non è più consentito.</a:t>
            </a:r>
            <a:endParaRPr lang="it-IT" sz="18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9227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2</a:t>
            </a:fld>
            <a:endParaRPr lang="it-IT" altLang="it-IT" dirty="0"/>
          </a:p>
        </p:txBody>
      </p:sp>
      <p:sp>
        <p:nvSpPr>
          <p:cNvPr id="58" name="Rectangle 4"/>
          <p:cNvSpPr>
            <a:spLocks noChangeArrowheads="1"/>
          </p:cNvSpPr>
          <p:nvPr/>
        </p:nvSpPr>
        <p:spPr bwMode="auto">
          <a:xfrm>
            <a:off x="1235895" y="131817"/>
            <a:ext cx="8325617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it-IT" altLang="it-IT" sz="2800" b="1" dirty="0">
                <a:solidFill>
                  <a:schemeClr val="bg1"/>
                </a:solidFill>
                <a:latin typeface="Calibri" panose="020F0502020204030204" pitchFamily="34" charset="0"/>
              </a:rPr>
              <a:t>Indice dei contenuti</a:t>
            </a:r>
            <a:endParaRPr lang="it-IT" altLang="it-IT" sz="1800" b="1" dirty="0">
              <a:solidFill>
                <a:srgbClr val="006600"/>
              </a:solidFill>
              <a:latin typeface="Calibri" panose="020F0502020204030204" pitchFamily="34" charset="0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1429016" y="1420672"/>
            <a:ext cx="0" cy="4380559"/>
          </a:xfrm>
          <a:prstGeom prst="line">
            <a:avLst/>
          </a:prstGeom>
          <a:ln w="317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val 25"/>
          <p:cNvSpPr/>
          <p:nvPr/>
        </p:nvSpPr>
        <p:spPr bwMode="gray">
          <a:xfrm>
            <a:off x="1303829" y="1296878"/>
            <a:ext cx="283811" cy="252000"/>
          </a:xfrm>
          <a:prstGeom prst="ellipse">
            <a:avLst/>
          </a:prstGeom>
          <a:solidFill>
            <a:schemeClr val="bg1"/>
          </a:solidFill>
          <a:ln w="317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it-IT" sz="1600" i="1" dirty="0" err="1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Oval 26"/>
          <p:cNvSpPr/>
          <p:nvPr/>
        </p:nvSpPr>
        <p:spPr bwMode="gray">
          <a:xfrm>
            <a:off x="1303829" y="5645035"/>
            <a:ext cx="283811" cy="252000"/>
          </a:xfrm>
          <a:prstGeom prst="ellipse">
            <a:avLst/>
          </a:prstGeom>
          <a:solidFill>
            <a:schemeClr val="bg1"/>
          </a:solidFill>
          <a:ln w="317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it-IT" sz="1600" i="1" dirty="0" err="1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Oval 34"/>
          <p:cNvSpPr/>
          <p:nvPr/>
        </p:nvSpPr>
        <p:spPr bwMode="gray">
          <a:xfrm>
            <a:off x="1360274" y="2552344"/>
            <a:ext cx="160203" cy="129038"/>
          </a:xfrm>
          <a:prstGeom prst="ellipse">
            <a:avLst/>
          </a:prstGeom>
          <a:solidFill>
            <a:schemeClr val="bg1"/>
          </a:solidFill>
          <a:ln w="31750" algn="ctr">
            <a:solidFill>
              <a:srgbClr val="0066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it-IT" sz="1600" i="1" dirty="0" err="1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712709" y="2345453"/>
            <a:ext cx="6507653" cy="587441"/>
          </a:xfrm>
          <a:prstGeom prst="rect">
            <a:avLst/>
          </a:prstGeom>
          <a:solidFill>
            <a:schemeClr val="bg1"/>
          </a:solidFill>
          <a:ln>
            <a:solidFill>
              <a:srgbClr val="006600"/>
            </a:solidFill>
          </a:ln>
        </p:spPr>
        <p:txBody>
          <a:bodyPr wrap="square" lIns="144000" tIns="108000" rIns="144000" bIns="108000" rtlCol="0" anchor="ctr">
            <a:spAutoFit/>
          </a:bodyPr>
          <a:lstStyle/>
          <a:p>
            <a:pPr marL="342900" indent="-342900">
              <a:spcBef>
                <a:spcPts val="200"/>
              </a:spcBef>
              <a:spcAft>
                <a:spcPts val="600"/>
              </a:spcAft>
              <a:buAutoNum type="arabicPeriod"/>
            </a:pPr>
            <a:r>
              <a:rPr lang="it-IT" sz="2400" b="1" dirty="0">
                <a:solidFill>
                  <a:srgbClr val="00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materializzazione </a:t>
            </a:r>
            <a:r>
              <a:rPr lang="it-IT" sz="2400" b="1" dirty="0" smtClean="0">
                <a:solidFill>
                  <a:srgbClr val="00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dini </a:t>
            </a:r>
            <a:r>
              <a:rPr lang="it-IT" sz="2400" b="1" dirty="0">
                <a:solidFill>
                  <a:srgbClr val="00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 DDT </a:t>
            </a:r>
          </a:p>
        </p:txBody>
      </p:sp>
      <p:cxnSp>
        <p:nvCxnSpPr>
          <p:cNvPr id="37" name="Straight Connector 36"/>
          <p:cNvCxnSpPr/>
          <p:nvPr/>
        </p:nvCxnSpPr>
        <p:spPr>
          <a:xfrm>
            <a:off x="1501603" y="2616863"/>
            <a:ext cx="239301" cy="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 bwMode="gray">
          <a:xfrm>
            <a:off x="1360274" y="4163635"/>
            <a:ext cx="160203" cy="129038"/>
          </a:xfrm>
          <a:prstGeom prst="ellipse">
            <a:avLst/>
          </a:prstGeom>
          <a:solidFill>
            <a:schemeClr val="bg1"/>
          </a:solidFill>
          <a:ln w="31750" algn="ctr">
            <a:solidFill>
              <a:srgbClr val="0066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it-IT" sz="1600" i="1" dirty="0" err="1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712709" y="3895785"/>
            <a:ext cx="6507653" cy="587441"/>
          </a:xfrm>
          <a:prstGeom prst="rect">
            <a:avLst/>
          </a:prstGeom>
          <a:noFill/>
          <a:ln>
            <a:solidFill>
              <a:srgbClr val="006600"/>
            </a:solidFill>
          </a:ln>
        </p:spPr>
        <p:txBody>
          <a:bodyPr wrap="square" lIns="144000" tIns="108000" rIns="144000" bIns="108000" rtlCol="0" anchor="ctr">
            <a:spAutoFit/>
          </a:bodyPr>
          <a:lstStyle/>
          <a:p>
            <a:pPr marL="342000" indent="-342000">
              <a:spcBef>
                <a:spcPts val="200"/>
              </a:spcBef>
              <a:spcAft>
                <a:spcPts val="600"/>
              </a:spcAft>
              <a:buFont typeface="+mj-lt"/>
              <a:buAutoNum type="arabicPeriod" startAt="2"/>
            </a:pPr>
            <a:r>
              <a:rPr lang="it-IT" sz="2400" b="1" dirty="0">
                <a:solidFill>
                  <a:srgbClr val="00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tturazione elettronica </a:t>
            </a:r>
            <a:r>
              <a:rPr lang="it-IT" sz="2400" b="1" dirty="0" smtClean="0">
                <a:solidFill>
                  <a:srgbClr val="00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uropea</a:t>
            </a:r>
            <a:endParaRPr lang="it-IT" sz="2400" b="1" dirty="0">
              <a:solidFill>
                <a:srgbClr val="0066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>
            <a:off x="1501603" y="4228154"/>
            <a:ext cx="239301" cy="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6944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20</a:t>
            </a:fld>
            <a:endParaRPr lang="it-IT" altLang="it-IT" dirty="0"/>
          </a:p>
        </p:txBody>
      </p:sp>
      <p:sp>
        <p:nvSpPr>
          <p:cNvPr id="14" name="Rectangle 13"/>
          <p:cNvSpPr/>
          <p:nvPr/>
        </p:nvSpPr>
        <p:spPr>
          <a:xfrm>
            <a:off x="1173164" y="1124856"/>
            <a:ext cx="838835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In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previsione dell'entrata in funzione del sistema nazionale "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NSO - Nodo Smistamento Ordini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",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bisogna gestire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lo scambio dei documenti del ciclo degli acquisti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secondo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le modalità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attualmente in uso dal SSR dell’Emilia-Romagna.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POWER_USER_ID_ICONS_Globe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149176" y="3924690"/>
            <a:ext cx="570180" cy="571257"/>
          </a:xfrm>
          <a:custGeom>
            <a:avLst/>
            <a:gdLst>
              <a:gd name="T0" fmla="*/ 625 w 800"/>
              <a:gd name="T1" fmla="*/ 375 h 800"/>
              <a:gd name="T2" fmla="*/ 692 w 800"/>
              <a:gd name="T3" fmla="*/ 208 h 800"/>
              <a:gd name="T4" fmla="*/ 691 w 800"/>
              <a:gd name="T5" fmla="*/ 595 h 800"/>
              <a:gd name="T6" fmla="*/ 625 w 800"/>
              <a:gd name="T7" fmla="*/ 425 h 800"/>
              <a:gd name="T8" fmla="*/ 691 w 800"/>
              <a:gd name="T9" fmla="*/ 595 h 800"/>
              <a:gd name="T10" fmla="*/ 593 w 800"/>
              <a:gd name="T11" fmla="*/ 607 h 800"/>
              <a:gd name="T12" fmla="*/ 532 w 800"/>
              <a:gd name="T13" fmla="*/ 724 h 800"/>
              <a:gd name="T14" fmla="*/ 425 w 800"/>
              <a:gd name="T15" fmla="*/ 579 h 800"/>
              <a:gd name="T16" fmla="*/ 516 w 800"/>
              <a:gd name="T17" fmla="*/ 659 h 800"/>
              <a:gd name="T18" fmla="*/ 425 w 800"/>
              <a:gd name="T19" fmla="*/ 425 h 800"/>
              <a:gd name="T20" fmla="*/ 559 w 800"/>
              <a:gd name="T21" fmla="*/ 546 h 800"/>
              <a:gd name="T22" fmla="*/ 425 w 800"/>
              <a:gd name="T23" fmla="*/ 425 h 800"/>
              <a:gd name="T24" fmla="*/ 559 w 800"/>
              <a:gd name="T25" fmla="*/ 257 h 800"/>
              <a:gd name="T26" fmla="*/ 425 w 800"/>
              <a:gd name="T27" fmla="*/ 375 h 800"/>
              <a:gd name="T28" fmla="*/ 425 w 800"/>
              <a:gd name="T29" fmla="*/ 55 h 800"/>
              <a:gd name="T30" fmla="*/ 545 w 800"/>
              <a:gd name="T31" fmla="*/ 209 h 800"/>
              <a:gd name="T32" fmla="*/ 425 w 800"/>
              <a:gd name="T33" fmla="*/ 55 h 800"/>
              <a:gd name="T34" fmla="*/ 594 w 800"/>
              <a:gd name="T35" fmla="*/ 196 h 800"/>
              <a:gd name="T36" fmla="*/ 661 w 800"/>
              <a:gd name="T37" fmla="*/ 168 h 800"/>
              <a:gd name="T38" fmla="*/ 255 w 800"/>
              <a:gd name="T39" fmla="*/ 209 h 800"/>
              <a:gd name="T40" fmla="*/ 375 w 800"/>
              <a:gd name="T41" fmla="*/ 55 h 800"/>
              <a:gd name="T42" fmla="*/ 375 w 800"/>
              <a:gd name="T43" fmla="*/ 375 h 800"/>
              <a:gd name="T44" fmla="*/ 241 w 800"/>
              <a:gd name="T45" fmla="*/ 257 h 800"/>
              <a:gd name="T46" fmla="*/ 375 w 800"/>
              <a:gd name="T47" fmla="*/ 375 h 800"/>
              <a:gd name="T48" fmla="*/ 242 w 800"/>
              <a:gd name="T49" fmla="*/ 546 h 800"/>
              <a:gd name="T50" fmla="*/ 375 w 800"/>
              <a:gd name="T51" fmla="*/ 425 h 800"/>
              <a:gd name="T52" fmla="*/ 375 w 800"/>
              <a:gd name="T53" fmla="*/ 746 h 800"/>
              <a:gd name="T54" fmla="*/ 256 w 800"/>
              <a:gd name="T55" fmla="*/ 594 h 800"/>
              <a:gd name="T56" fmla="*/ 375 w 800"/>
              <a:gd name="T57" fmla="*/ 746 h 800"/>
              <a:gd name="T58" fmla="*/ 208 w 800"/>
              <a:gd name="T59" fmla="*/ 607 h 800"/>
              <a:gd name="T60" fmla="*/ 141 w 800"/>
              <a:gd name="T61" fmla="*/ 635 h 800"/>
              <a:gd name="T62" fmla="*/ 52 w 800"/>
              <a:gd name="T63" fmla="*/ 425 h 800"/>
              <a:gd name="T64" fmla="*/ 194 w 800"/>
              <a:gd name="T65" fmla="*/ 559 h 800"/>
              <a:gd name="T66" fmla="*/ 108 w 800"/>
              <a:gd name="T67" fmla="*/ 208 h 800"/>
              <a:gd name="T68" fmla="*/ 176 w 800"/>
              <a:gd name="T69" fmla="*/ 375 h 800"/>
              <a:gd name="T70" fmla="*/ 108 w 800"/>
              <a:gd name="T71" fmla="*/ 208 h 800"/>
              <a:gd name="T72" fmla="*/ 207 w 800"/>
              <a:gd name="T73" fmla="*/ 196 h 800"/>
              <a:gd name="T74" fmla="*/ 268 w 800"/>
              <a:gd name="T75" fmla="*/ 76 h 800"/>
              <a:gd name="T76" fmla="*/ 425 w 800"/>
              <a:gd name="T77" fmla="*/ 0 h 800"/>
              <a:gd name="T78" fmla="*/ 375 w 800"/>
              <a:gd name="T79" fmla="*/ 1 h 800"/>
              <a:gd name="T80" fmla="*/ 0 w 800"/>
              <a:gd name="T81" fmla="*/ 375 h 800"/>
              <a:gd name="T82" fmla="*/ 1 w 800"/>
              <a:gd name="T83" fmla="*/ 425 h 800"/>
              <a:gd name="T84" fmla="*/ 375 w 800"/>
              <a:gd name="T85" fmla="*/ 800 h 800"/>
              <a:gd name="T86" fmla="*/ 425 w 800"/>
              <a:gd name="T87" fmla="*/ 799 h 800"/>
              <a:gd name="T88" fmla="*/ 800 w 800"/>
              <a:gd name="T89" fmla="*/ 425 h 800"/>
              <a:gd name="T90" fmla="*/ 799 w 800"/>
              <a:gd name="T91" fmla="*/ 375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00" h="800">
                <a:moveTo>
                  <a:pt x="749" y="375"/>
                </a:moveTo>
                <a:lnTo>
                  <a:pt x="625" y="375"/>
                </a:lnTo>
                <a:cubicBezTo>
                  <a:pt x="623" y="329"/>
                  <a:pt x="617" y="285"/>
                  <a:pt x="607" y="244"/>
                </a:cubicBezTo>
                <a:cubicBezTo>
                  <a:pt x="638" y="234"/>
                  <a:pt x="667" y="222"/>
                  <a:pt x="692" y="208"/>
                </a:cubicBezTo>
                <a:cubicBezTo>
                  <a:pt x="725" y="257"/>
                  <a:pt x="745" y="314"/>
                  <a:pt x="749" y="375"/>
                </a:cubicBezTo>
                <a:close/>
                <a:moveTo>
                  <a:pt x="691" y="595"/>
                </a:moveTo>
                <a:cubicBezTo>
                  <a:pt x="666" y="581"/>
                  <a:pt x="637" y="569"/>
                  <a:pt x="607" y="559"/>
                </a:cubicBezTo>
                <a:cubicBezTo>
                  <a:pt x="617" y="518"/>
                  <a:pt x="623" y="473"/>
                  <a:pt x="625" y="425"/>
                </a:cubicBezTo>
                <a:lnTo>
                  <a:pt x="749" y="425"/>
                </a:lnTo>
                <a:cubicBezTo>
                  <a:pt x="745" y="488"/>
                  <a:pt x="724" y="546"/>
                  <a:pt x="691" y="595"/>
                </a:cubicBezTo>
                <a:close/>
                <a:moveTo>
                  <a:pt x="532" y="724"/>
                </a:moveTo>
                <a:cubicBezTo>
                  <a:pt x="557" y="693"/>
                  <a:pt x="577" y="653"/>
                  <a:pt x="593" y="607"/>
                </a:cubicBezTo>
                <a:cubicBezTo>
                  <a:pt x="617" y="615"/>
                  <a:pt x="639" y="624"/>
                  <a:pt x="660" y="635"/>
                </a:cubicBezTo>
                <a:cubicBezTo>
                  <a:pt x="625" y="673"/>
                  <a:pt x="581" y="704"/>
                  <a:pt x="532" y="724"/>
                </a:cubicBezTo>
                <a:close/>
                <a:moveTo>
                  <a:pt x="425" y="746"/>
                </a:moveTo>
                <a:lnTo>
                  <a:pt x="425" y="579"/>
                </a:lnTo>
                <a:cubicBezTo>
                  <a:pt x="467" y="580"/>
                  <a:pt x="507" y="585"/>
                  <a:pt x="545" y="594"/>
                </a:cubicBezTo>
                <a:cubicBezTo>
                  <a:pt x="536" y="617"/>
                  <a:pt x="527" y="639"/>
                  <a:pt x="516" y="659"/>
                </a:cubicBezTo>
                <a:cubicBezTo>
                  <a:pt x="490" y="705"/>
                  <a:pt x="458" y="735"/>
                  <a:pt x="425" y="746"/>
                </a:cubicBezTo>
                <a:close/>
                <a:moveTo>
                  <a:pt x="425" y="425"/>
                </a:moveTo>
                <a:lnTo>
                  <a:pt x="575" y="425"/>
                </a:lnTo>
                <a:cubicBezTo>
                  <a:pt x="573" y="468"/>
                  <a:pt x="568" y="508"/>
                  <a:pt x="559" y="546"/>
                </a:cubicBezTo>
                <a:cubicBezTo>
                  <a:pt x="516" y="536"/>
                  <a:pt x="472" y="530"/>
                  <a:pt x="425" y="529"/>
                </a:cubicBezTo>
                <a:lnTo>
                  <a:pt x="425" y="425"/>
                </a:lnTo>
                <a:close/>
                <a:moveTo>
                  <a:pt x="425" y="275"/>
                </a:moveTo>
                <a:cubicBezTo>
                  <a:pt x="472" y="273"/>
                  <a:pt x="517" y="267"/>
                  <a:pt x="559" y="257"/>
                </a:cubicBezTo>
                <a:cubicBezTo>
                  <a:pt x="568" y="294"/>
                  <a:pt x="573" y="334"/>
                  <a:pt x="575" y="375"/>
                </a:cubicBezTo>
                <a:lnTo>
                  <a:pt x="425" y="375"/>
                </a:lnTo>
                <a:lnTo>
                  <a:pt x="425" y="275"/>
                </a:lnTo>
                <a:close/>
                <a:moveTo>
                  <a:pt x="425" y="55"/>
                </a:moveTo>
                <a:cubicBezTo>
                  <a:pt x="458" y="65"/>
                  <a:pt x="490" y="96"/>
                  <a:pt x="516" y="142"/>
                </a:cubicBezTo>
                <a:cubicBezTo>
                  <a:pt x="527" y="162"/>
                  <a:pt x="537" y="185"/>
                  <a:pt x="545" y="209"/>
                </a:cubicBezTo>
                <a:cubicBezTo>
                  <a:pt x="507" y="218"/>
                  <a:pt x="467" y="223"/>
                  <a:pt x="425" y="225"/>
                </a:cubicBezTo>
                <a:lnTo>
                  <a:pt x="425" y="55"/>
                </a:lnTo>
                <a:close/>
                <a:moveTo>
                  <a:pt x="661" y="168"/>
                </a:moveTo>
                <a:cubicBezTo>
                  <a:pt x="641" y="179"/>
                  <a:pt x="618" y="188"/>
                  <a:pt x="594" y="196"/>
                </a:cubicBezTo>
                <a:cubicBezTo>
                  <a:pt x="578" y="149"/>
                  <a:pt x="557" y="108"/>
                  <a:pt x="532" y="76"/>
                </a:cubicBezTo>
                <a:cubicBezTo>
                  <a:pt x="582" y="97"/>
                  <a:pt x="626" y="128"/>
                  <a:pt x="661" y="168"/>
                </a:cubicBezTo>
                <a:close/>
                <a:moveTo>
                  <a:pt x="375" y="225"/>
                </a:moveTo>
                <a:cubicBezTo>
                  <a:pt x="334" y="223"/>
                  <a:pt x="293" y="218"/>
                  <a:pt x="255" y="209"/>
                </a:cubicBezTo>
                <a:cubicBezTo>
                  <a:pt x="264" y="185"/>
                  <a:pt x="273" y="162"/>
                  <a:pt x="285" y="142"/>
                </a:cubicBezTo>
                <a:cubicBezTo>
                  <a:pt x="311" y="96"/>
                  <a:pt x="343" y="65"/>
                  <a:pt x="375" y="55"/>
                </a:cubicBezTo>
                <a:lnTo>
                  <a:pt x="375" y="225"/>
                </a:lnTo>
                <a:close/>
                <a:moveTo>
                  <a:pt x="375" y="375"/>
                </a:moveTo>
                <a:lnTo>
                  <a:pt x="226" y="375"/>
                </a:lnTo>
                <a:cubicBezTo>
                  <a:pt x="228" y="334"/>
                  <a:pt x="233" y="294"/>
                  <a:pt x="241" y="257"/>
                </a:cubicBezTo>
                <a:cubicBezTo>
                  <a:pt x="284" y="267"/>
                  <a:pt x="329" y="273"/>
                  <a:pt x="375" y="275"/>
                </a:cubicBezTo>
                <a:lnTo>
                  <a:pt x="375" y="375"/>
                </a:lnTo>
                <a:close/>
                <a:moveTo>
                  <a:pt x="375" y="529"/>
                </a:moveTo>
                <a:cubicBezTo>
                  <a:pt x="329" y="530"/>
                  <a:pt x="284" y="536"/>
                  <a:pt x="242" y="546"/>
                </a:cubicBezTo>
                <a:cubicBezTo>
                  <a:pt x="233" y="508"/>
                  <a:pt x="228" y="467"/>
                  <a:pt x="226" y="425"/>
                </a:cubicBezTo>
                <a:lnTo>
                  <a:pt x="375" y="425"/>
                </a:lnTo>
                <a:lnTo>
                  <a:pt x="375" y="529"/>
                </a:lnTo>
                <a:close/>
                <a:moveTo>
                  <a:pt x="375" y="746"/>
                </a:moveTo>
                <a:cubicBezTo>
                  <a:pt x="343" y="735"/>
                  <a:pt x="311" y="705"/>
                  <a:pt x="285" y="659"/>
                </a:cubicBezTo>
                <a:cubicBezTo>
                  <a:pt x="274" y="639"/>
                  <a:pt x="264" y="617"/>
                  <a:pt x="256" y="594"/>
                </a:cubicBezTo>
                <a:cubicBezTo>
                  <a:pt x="294" y="585"/>
                  <a:pt x="334" y="580"/>
                  <a:pt x="375" y="579"/>
                </a:cubicBezTo>
                <a:lnTo>
                  <a:pt x="375" y="746"/>
                </a:lnTo>
                <a:close/>
                <a:moveTo>
                  <a:pt x="141" y="635"/>
                </a:moveTo>
                <a:cubicBezTo>
                  <a:pt x="161" y="624"/>
                  <a:pt x="184" y="615"/>
                  <a:pt x="208" y="607"/>
                </a:cubicBezTo>
                <a:cubicBezTo>
                  <a:pt x="223" y="653"/>
                  <a:pt x="244" y="693"/>
                  <a:pt x="268" y="724"/>
                </a:cubicBezTo>
                <a:cubicBezTo>
                  <a:pt x="219" y="704"/>
                  <a:pt x="176" y="673"/>
                  <a:pt x="141" y="635"/>
                </a:cubicBezTo>
                <a:close/>
                <a:moveTo>
                  <a:pt x="109" y="595"/>
                </a:moveTo>
                <a:cubicBezTo>
                  <a:pt x="77" y="546"/>
                  <a:pt x="56" y="488"/>
                  <a:pt x="52" y="425"/>
                </a:cubicBezTo>
                <a:lnTo>
                  <a:pt x="176" y="425"/>
                </a:lnTo>
                <a:cubicBezTo>
                  <a:pt x="177" y="473"/>
                  <a:pt x="184" y="518"/>
                  <a:pt x="194" y="559"/>
                </a:cubicBezTo>
                <a:cubicBezTo>
                  <a:pt x="163" y="569"/>
                  <a:pt x="135" y="581"/>
                  <a:pt x="109" y="595"/>
                </a:cubicBezTo>
                <a:close/>
                <a:moveTo>
                  <a:pt x="108" y="208"/>
                </a:moveTo>
                <a:cubicBezTo>
                  <a:pt x="134" y="222"/>
                  <a:pt x="163" y="234"/>
                  <a:pt x="193" y="244"/>
                </a:cubicBezTo>
                <a:cubicBezTo>
                  <a:pt x="183" y="285"/>
                  <a:pt x="177" y="329"/>
                  <a:pt x="176" y="375"/>
                </a:cubicBezTo>
                <a:lnTo>
                  <a:pt x="52" y="375"/>
                </a:lnTo>
                <a:cubicBezTo>
                  <a:pt x="56" y="314"/>
                  <a:pt x="76" y="257"/>
                  <a:pt x="108" y="208"/>
                </a:cubicBezTo>
                <a:close/>
                <a:moveTo>
                  <a:pt x="268" y="76"/>
                </a:moveTo>
                <a:cubicBezTo>
                  <a:pt x="244" y="108"/>
                  <a:pt x="223" y="149"/>
                  <a:pt x="207" y="196"/>
                </a:cubicBezTo>
                <a:cubicBezTo>
                  <a:pt x="183" y="188"/>
                  <a:pt x="160" y="179"/>
                  <a:pt x="139" y="168"/>
                </a:cubicBezTo>
                <a:cubicBezTo>
                  <a:pt x="175" y="128"/>
                  <a:pt x="219" y="97"/>
                  <a:pt x="268" y="76"/>
                </a:cubicBezTo>
                <a:close/>
                <a:moveTo>
                  <a:pt x="425" y="1"/>
                </a:moveTo>
                <a:lnTo>
                  <a:pt x="425" y="0"/>
                </a:lnTo>
                <a:lnTo>
                  <a:pt x="375" y="0"/>
                </a:lnTo>
                <a:lnTo>
                  <a:pt x="375" y="1"/>
                </a:lnTo>
                <a:cubicBezTo>
                  <a:pt x="174" y="14"/>
                  <a:pt x="14" y="174"/>
                  <a:pt x="1" y="375"/>
                </a:cubicBezTo>
                <a:lnTo>
                  <a:pt x="0" y="375"/>
                </a:lnTo>
                <a:lnTo>
                  <a:pt x="0" y="425"/>
                </a:lnTo>
                <a:lnTo>
                  <a:pt x="1" y="425"/>
                </a:lnTo>
                <a:cubicBezTo>
                  <a:pt x="14" y="626"/>
                  <a:pt x="174" y="787"/>
                  <a:pt x="375" y="799"/>
                </a:cubicBezTo>
                <a:lnTo>
                  <a:pt x="375" y="800"/>
                </a:lnTo>
                <a:lnTo>
                  <a:pt x="425" y="800"/>
                </a:lnTo>
                <a:lnTo>
                  <a:pt x="425" y="799"/>
                </a:lnTo>
                <a:cubicBezTo>
                  <a:pt x="626" y="787"/>
                  <a:pt x="787" y="626"/>
                  <a:pt x="799" y="425"/>
                </a:cubicBezTo>
                <a:lnTo>
                  <a:pt x="800" y="425"/>
                </a:lnTo>
                <a:lnTo>
                  <a:pt x="800" y="375"/>
                </a:lnTo>
                <a:lnTo>
                  <a:pt x="799" y="375"/>
                </a:lnTo>
                <a:cubicBezTo>
                  <a:pt x="787" y="174"/>
                  <a:pt x="626" y="14"/>
                  <a:pt x="425" y="1"/>
                </a:cubicBezTo>
                <a:close/>
              </a:path>
            </a:pathLst>
          </a:custGeom>
          <a:solidFill>
            <a:srgbClr val="2F5597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US" sz="1350" kern="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5" name="Arc 4"/>
          <p:cNvSpPr>
            <a:spLocks noChangeAspect="1"/>
          </p:cNvSpPr>
          <p:nvPr/>
        </p:nvSpPr>
        <p:spPr>
          <a:xfrm>
            <a:off x="632379" y="3413445"/>
            <a:ext cx="1604510" cy="1604510"/>
          </a:xfrm>
          <a:prstGeom prst="arc">
            <a:avLst>
              <a:gd name="adj1" fmla="val 6337643"/>
              <a:gd name="adj2" fmla="val 0"/>
            </a:avLst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6" name="Arc 5"/>
          <p:cNvSpPr>
            <a:spLocks noChangeAspect="1"/>
          </p:cNvSpPr>
          <p:nvPr/>
        </p:nvSpPr>
        <p:spPr>
          <a:xfrm rot="7470034">
            <a:off x="852586" y="3613841"/>
            <a:ext cx="1205493" cy="1205493"/>
          </a:xfrm>
          <a:prstGeom prst="arc">
            <a:avLst>
              <a:gd name="adj1" fmla="val 6337643"/>
              <a:gd name="adj2" fmla="val 0"/>
            </a:avLst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7" name="Arc 6"/>
          <p:cNvSpPr>
            <a:spLocks noChangeAspect="1"/>
          </p:cNvSpPr>
          <p:nvPr/>
        </p:nvSpPr>
        <p:spPr>
          <a:xfrm rot="10507968">
            <a:off x="274442" y="3089780"/>
            <a:ext cx="2277907" cy="2277907"/>
          </a:xfrm>
          <a:prstGeom prst="arc">
            <a:avLst>
              <a:gd name="adj1" fmla="val 6337643"/>
              <a:gd name="adj2" fmla="val 6289723"/>
            </a:avLst>
          </a:prstGeom>
          <a:ln w="38100">
            <a:solidFill>
              <a:srgbClr val="006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42" name="Oval 41"/>
          <p:cNvSpPr/>
          <p:nvPr/>
        </p:nvSpPr>
        <p:spPr bwMode="auto">
          <a:xfrm>
            <a:off x="1829495" y="4881462"/>
            <a:ext cx="381000" cy="416905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41" name="Oval 40"/>
          <p:cNvSpPr/>
          <p:nvPr/>
        </p:nvSpPr>
        <p:spPr bwMode="auto">
          <a:xfrm>
            <a:off x="1802741" y="4916605"/>
            <a:ext cx="486329" cy="381197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38" name="Freeform 346">
            <a:extLst>
              <a:ext uri="{FF2B5EF4-FFF2-40B4-BE49-F238E27FC236}">
                <a16:creationId xmlns:a16="http://schemas.microsoft.com/office/drawing/2014/main" id="{1F3A4E7F-132B-4287-9B93-CD7FBE448DD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781870" y="4830014"/>
            <a:ext cx="539895" cy="540094"/>
          </a:xfrm>
          <a:custGeom>
            <a:avLst/>
            <a:gdLst>
              <a:gd name="T0" fmla="*/ 308124844 w 512"/>
              <a:gd name="T1" fmla="*/ 438272227 h 512"/>
              <a:gd name="T2" fmla="*/ 165742031 w 512"/>
              <a:gd name="T3" fmla="*/ 224698008 h 512"/>
              <a:gd name="T4" fmla="*/ 189102305 w 512"/>
              <a:gd name="T5" fmla="*/ 249169922 h 512"/>
              <a:gd name="T6" fmla="*/ 295889414 w 512"/>
              <a:gd name="T7" fmla="*/ 260293711 h 512"/>
              <a:gd name="T8" fmla="*/ 189102305 w 512"/>
              <a:gd name="T9" fmla="*/ 272529141 h 512"/>
              <a:gd name="T10" fmla="*/ 189102305 w 512"/>
              <a:gd name="T11" fmla="*/ 249169922 h 512"/>
              <a:gd name="T12" fmla="*/ 284765625 w 512"/>
              <a:gd name="T13" fmla="*/ 295889414 h 512"/>
              <a:gd name="T14" fmla="*/ 284765625 w 512"/>
              <a:gd name="T15" fmla="*/ 320361328 h 512"/>
              <a:gd name="T16" fmla="*/ 177978516 w 512"/>
              <a:gd name="T17" fmla="*/ 308124844 h 512"/>
              <a:gd name="T18" fmla="*/ 189102305 w 512"/>
              <a:gd name="T19" fmla="*/ 343720547 h 512"/>
              <a:gd name="T20" fmla="*/ 295889414 w 512"/>
              <a:gd name="T21" fmla="*/ 355957031 h 512"/>
              <a:gd name="T22" fmla="*/ 189102305 w 512"/>
              <a:gd name="T23" fmla="*/ 367080820 h 512"/>
              <a:gd name="T24" fmla="*/ 189102305 w 512"/>
              <a:gd name="T25" fmla="*/ 343720547 h 512"/>
              <a:gd name="T26" fmla="*/ 284765625 w 512"/>
              <a:gd name="T27" fmla="*/ 391552734 h 512"/>
              <a:gd name="T28" fmla="*/ 284765625 w 512"/>
              <a:gd name="T29" fmla="*/ 414911953 h 512"/>
              <a:gd name="T30" fmla="*/ 177978516 w 512"/>
              <a:gd name="T31" fmla="*/ 402676523 h 512"/>
              <a:gd name="T32" fmla="*/ 284765625 w 512"/>
              <a:gd name="T33" fmla="*/ 0 h 512"/>
              <a:gd name="T34" fmla="*/ 284765625 w 512"/>
              <a:gd name="T35" fmla="*/ 569531250 h 512"/>
              <a:gd name="T36" fmla="*/ 284765625 w 512"/>
              <a:gd name="T37" fmla="*/ 0 h 512"/>
              <a:gd name="T38" fmla="*/ 320361328 w 512"/>
              <a:gd name="T39" fmla="*/ 462744141 h 512"/>
              <a:gd name="T40" fmla="*/ 142382813 w 512"/>
              <a:gd name="T41" fmla="*/ 450507656 h 512"/>
              <a:gd name="T42" fmla="*/ 153506602 w 512"/>
              <a:gd name="T43" fmla="*/ 201337734 h 512"/>
              <a:gd name="T44" fmla="*/ 331485117 w 512"/>
              <a:gd name="T45" fmla="*/ 213574219 h 512"/>
              <a:gd name="T46" fmla="*/ 379316250 w 512"/>
              <a:gd name="T47" fmla="*/ 402676523 h 512"/>
              <a:gd name="T48" fmla="*/ 355957031 w 512"/>
              <a:gd name="T49" fmla="*/ 402676523 h 512"/>
              <a:gd name="T50" fmla="*/ 201337734 w 512"/>
              <a:gd name="T51" fmla="*/ 177978516 h 512"/>
              <a:gd name="T52" fmla="*/ 201337734 w 512"/>
              <a:gd name="T53" fmla="*/ 153506602 h 512"/>
              <a:gd name="T54" fmla="*/ 379316250 w 512"/>
              <a:gd name="T55" fmla="*/ 165742031 h 512"/>
              <a:gd name="T56" fmla="*/ 427148438 w 512"/>
              <a:gd name="T57" fmla="*/ 355957031 h 512"/>
              <a:gd name="T58" fmla="*/ 402676523 w 512"/>
              <a:gd name="T59" fmla="*/ 355957031 h 512"/>
              <a:gd name="T60" fmla="*/ 249169922 w 512"/>
              <a:gd name="T61" fmla="*/ 130146328 h 512"/>
              <a:gd name="T62" fmla="*/ 249169922 w 512"/>
              <a:gd name="T63" fmla="*/ 106787109 h 512"/>
              <a:gd name="T64" fmla="*/ 427148438 w 512"/>
              <a:gd name="T65" fmla="*/ 117910898 h 512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512" h="512">
                <a:moveTo>
                  <a:pt x="149" y="394"/>
                </a:moveTo>
                <a:cubicBezTo>
                  <a:pt x="277" y="394"/>
                  <a:pt x="277" y="394"/>
                  <a:pt x="277" y="394"/>
                </a:cubicBezTo>
                <a:cubicBezTo>
                  <a:pt x="277" y="202"/>
                  <a:pt x="277" y="202"/>
                  <a:pt x="277" y="202"/>
                </a:cubicBezTo>
                <a:cubicBezTo>
                  <a:pt x="149" y="202"/>
                  <a:pt x="149" y="202"/>
                  <a:pt x="149" y="202"/>
                </a:cubicBezTo>
                <a:lnTo>
                  <a:pt x="149" y="394"/>
                </a:lnTo>
                <a:close/>
                <a:moveTo>
                  <a:pt x="170" y="224"/>
                </a:moveTo>
                <a:cubicBezTo>
                  <a:pt x="256" y="224"/>
                  <a:pt x="256" y="224"/>
                  <a:pt x="256" y="224"/>
                </a:cubicBezTo>
                <a:cubicBezTo>
                  <a:pt x="262" y="224"/>
                  <a:pt x="266" y="228"/>
                  <a:pt x="266" y="234"/>
                </a:cubicBezTo>
                <a:cubicBezTo>
                  <a:pt x="266" y="240"/>
                  <a:pt x="262" y="245"/>
                  <a:pt x="256" y="245"/>
                </a:cubicBezTo>
                <a:cubicBezTo>
                  <a:pt x="170" y="245"/>
                  <a:pt x="170" y="245"/>
                  <a:pt x="170" y="245"/>
                </a:cubicBezTo>
                <a:cubicBezTo>
                  <a:pt x="164" y="245"/>
                  <a:pt x="160" y="240"/>
                  <a:pt x="160" y="234"/>
                </a:cubicBezTo>
                <a:cubicBezTo>
                  <a:pt x="160" y="228"/>
                  <a:pt x="164" y="224"/>
                  <a:pt x="170" y="224"/>
                </a:cubicBezTo>
                <a:close/>
                <a:moveTo>
                  <a:pt x="170" y="266"/>
                </a:moveTo>
                <a:cubicBezTo>
                  <a:pt x="256" y="266"/>
                  <a:pt x="256" y="266"/>
                  <a:pt x="256" y="266"/>
                </a:cubicBezTo>
                <a:cubicBezTo>
                  <a:pt x="262" y="266"/>
                  <a:pt x="266" y="271"/>
                  <a:pt x="266" y="277"/>
                </a:cubicBezTo>
                <a:cubicBezTo>
                  <a:pt x="266" y="283"/>
                  <a:pt x="262" y="288"/>
                  <a:pt x="256" y="288"/>
                </a:cubicBezTo>
                <a:cubicBezTo>
                  <a:pt x="170" y="288"/>
                  <a:pt x="170" y="288"/>
                  <a:pt x="170" y="288"/>
                </a:cubicBezTo>
                <a:cubicBezTo>
                  <a:pt x="164" y="288"/>
                  <a:pt x="160" y="283"/>
                  <a:pt x="160" y="277"/>
                </a:cubicBezTo>
                <a:cubicBezTo>
                  <a:pt x="160" y="271"/>
                  <a:pt x="164" y="266"/>
                  <a:pt x="170" y="266"/>
                </a:cubicBezTo>
                <a:close/>
                <a:moveTo>
                  <a:pt x="170" y="309"/>
                </a:moveTo>
                <a:cubicBezTo>
                  <a:pt x="256" y="309"/>
                  <a:pt x="256" y="309"/>
                  <a:pt x="256" y="309"/>
                </a:cubicBezTo>
                <a:cubicBezTo>
                  <a:pt x="262" y="309"/>
                  <a:pt x="266" y="314"/>
                  <a:pt x="266" y="320"/>
                </a:cubicBezTo>
                <a:cubicBezTo>
                  <a:pt x="266" y="326"/>
                  <a:pt x="262" y="330"/>
                  <a:pt x="256" y="330"/>
                </a:cubicBezTo>
                <a:cubicBezTo>
                  <a:pt x="170" y="330"/>
                  <a:pt x="170" y="330"/>
                  <a:pt x="170" y="330"/>
                </a:cubicBezTo>
                <a:cubicBezTo>
                  <a:pt x="164" y="330"/>
                  <a:pt x="160" y="326"/>
                  <a:pt x="160" y="320"/>
                </a:cubicBezTo>
                <a:cubicBezTo>
                  <a:pt x="160" y="314"/>
                  <a:pt x="164" y="309"/>
                  <a:pt x="170" y="309"/>
                </a:cubicBezTo>
                <a:close/>
                <a:moveTo>
                  <a:pt x="170" y="352"/>
                </a:moveTo>
                <a:cubicBezTo>
                  <a:pt x="256" y="352"/>
                  <a:pt x="256" y="352"/>
                  <a:pt x="256" y="352"/>
                </a:cubicBezTo>
                <a:cubicBezTo>
                  <a:pt x="262" y="352"/>
                  <a:pt x="266" y="356"/>
                  <a:pt x="266" y="362"/>
                </a:cubicBezTo>
                <a:cubicBezTo>
                  <a:pt x="266" y="368"/>
                  <a:pt x="262" y="373"/>
                  <a:pt x="256" y="373"/>
                </a:cubicBezTo>
                <a:cubicBezTo>
                  <a:pt x="170" y="373"/>
                  <a:pt x="170" y="373"/>
                  <a:pt x="170" y="373"/>
                </a:cubicBezTo>
                <a:cubicBezTo>
                  <a:pt x="164" y="373"/>
                  <a:pt x="160" y="368"/>
                  <a:pt x="160" y="362"/>
                </a:cubicBezTo>
                <a:cubicBezTo>
                  <a:pt x="160" y="356"/>
                  <a:pt x="164" y="352"/>
                  <a:pt x="170" y="352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98" y="405"/>
                </a:moveTo>
                <a:cubicBezTo>
                  <a:pt x="298" y="411"/>
                  <a:pt x="294" y="416"/>
                  <a:pt x="288" y="416"/>
                </a:cubicBezTo>
                <a:cubicBezTo>
                  <a:pt x="138" y="416"/>
                  <a:pt x="138" y="416"/>
                  <a:pt x="138" y="416"/>
                </a:cubicBezTo>
                <a:cubicBezTo>
                  <a:pt x="132" y="416"/>
                  <a:pt x="128" y="411"/>
                  <a:pt x="128" y="405"/>
                </a:cubicBezTo>
                <a:cubicBezTo>
                  <a:pt x="128" y="192"/>
                  <a:pt x="128" y="192"/>
                  <a:pt x="128" y="192"/>
                </a:cubicBezTo>
                <a:cubicBezTo>
                  <a:pt x="128" y="186"/>
                  <a:pt x="132" y="181"/>
                  <a:pt x="138" y="181"/>
                </a:cubicBezTo>
                <a:cubicBezTo>
                  <a:pt x="288" y="181"/>
                  <a:pt x="288" y="181"/>
                  <a:pt x="288" y="181"/>
                </a:cubicBezTo>
                <a:cubicBezTo>
                  <a:pt x="294" y="181"/>
                  <a:pt x="298" y="186"/>
                  <a:pt x="298" y="192"/>
                </a:cubicBezTo>
                <a:lnTo>
                  <a:pt x="298" y="405"/>
                </a:lnTo>
                <a:close/>
                <a:moveTo>
                  <a:pt x="341" y="362"/>
                </a:moveTo>
                <a:cubicBezTo>
                  <a:pt x="341" y="368"/>
                  <a:pt x="336" y="373"/>
                  <a:pt x="330" y="373"/>
                </a:cubicBezTo>
                <a:cubicBezTo>
                  <a:pt x="324" y="373"/>
                  <a:pt x="320" y="368"/>
                  <a:pt x="320" y="362"/>
                </a:cubicBezTo>
                <a:cubicBezTo>
                  <a:pt x="320" y="160"/>
                  <a:pt x="320" y="160"/>
                  <a:pt x="320" y="160"/>
                </a:cubicBezTo>
                <a:cubicBezTo>
                  <a:pt x="181" y="160"/>
                  <a:pt x="181" y="160"/>
                  <a:pt x="181" y="160"/>
                </a:cubicBezTo>
                <a:cubicBezTo>
                  <a:pt x="175" y="160"/>
                  <a:pt x="170" y="155"/>
                  <a:pt x="170" y="149"/>
                </a:cubicBezTo>
                <a:cubicBezTo>
                  <a:pt x="170" y="143"/>
                  <a:pt x="175" y="138"/>
                  <a:pt x="181" y="138"/>
                </a:cubicBezTo>
                <a:cubicBezTo>
                  <a:pt x="330" y="138"/>
                  <a:pt x="330" y="138"/>
                  <a:pt x="330" y="138"/>
                </a:cubicBezTo>
                <a:cubicBezTo>
                  <a:pt x="336" y="138"/>
                  <a:pt x="341" y="143"/>
                  <a:pt x="341" y="149"/>
                </a:cubicBezTo>
                <a:lnTo>
                  <a:pt x="341" y="362"/>
                </a:lnTo>
                <a:close/>
                <a:moveTo>
                  <a:pt x="384" y="320"/>
                </a:moveTo>
                <a:cubicBezTo>
                  <a:pt x="384" y="326"/>
                  <a:pt x="379" y="330"/>
                  <a:pt x="373" y="330"/>
                </a:cubicBezTo>
                <a:cubicBezTo>
                  <a:pt x="367" y="330"/>
                  <a:pt x="362" y="326"/>
                  <a:pt x="362" y="320"/>
                </a:cubicBezTo>
                <a:cubicBezTo>
                  <a:pt x="362" y="117"/>
                  <a:pt x="362" y="117"/>
                  <a:pt x="362" y="117"/>
                </a:cubicBezTo>
                <a:cubicBezTo>
                  <a:pt x="224" y="117"/>
                  <a:pt x="224" y="117"/>
                  <a:pt x="224" y="117"/>
                </a:cubicBezTo>
                <a:cubicBezTo>
                  <a:pt x="218" y="117"/>
                  <a:pt x="213" y="112"/>
                  <a:pt x="213" y="106"/>
                </a:cubicBezTo>
                <a:cubicBezTo>
                  <a:pt x="213" y="100"/>
                  <a:pt x="218" y="96"/>
                  <a:pt x="224" y="96"/>
                </a:cubicBezTo>
                <a:cubicBezTo>
                  <a:pt x="373" y="96"/>
                  <a:pt x="373" y="96"/>
                  <a:pt x="373" y="96"/>
                </a:cubicBezTo>
                <a:cubicBezTo>
                  <a:pt x="379" y="96"/>
                  <a:pt x="384" y="100"/>
                  <a:pt x="384" y="106"/>
                </a:cubicBezTo>
                <a:lnTo>
                  <a:pt x="384" y="320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44" name="TextBox 43"/>
          <p:cNvSpPr txBox="1"/>
          <p:nvPr/>
        </p:nvSpPr>
        <p:spPr>
          <a:xfrm>
            <a:off x="3013224" y="3967492"/>
            <a:ext cx="14763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ttura</a:t>
            </a:r>
            <a:endParaRPr lang="en-US" sz="18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203196" y="2907679"/>
            <a:ext cx="14763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800" b="1" dirty="0" smtClean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dine</a:t>
            </a:r>
            <a:endParaRPr lang="en-US" sz="1800" b="1" dirty="0">
              <a:solidFill>
                <a:srgbClr val="92D05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2479776" y="4798265"/>
            <a:ext cx="15213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8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cumento </a:t>
            </a:r>
          </a:p>
          <a:p>
            <a:r>
              <a:rPr lang="it-IT" sz="18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 Trasporto</a:t>
            </a:r>
            <a:endParaRPr lang="en-US" sz="18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Oval 47"/>
          <p:cNvSpPr/>
          <p:nvPr/>
        </p:nvSpPr>
        <p:spPr bwMode="auto">
          <a:xfrm>
            <a:off x="1511870" y="2944472"/>
            <a:ext cx="540000" cy="351051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47" name="Freeform 153"/>
          <p:cNvSpPr>
            <a:spLocks noChangeAspect="1" noEditPoints="1"/>
          </p:cNvSpPr>
          <p:nvPr/>
        </p:nvSpPr>
        <p:spPr bwMode="auto">
          <a:xfrm>
            <a:off x="1511870" y="2839807"/>
            <a:ext cx="540000" cy="540000"/>
          </a:xfrm>
          <a:custGeom>
            <a:avLst/>
            <a:gdLst>
              <a:gd name="T0" fmla="*/ 378 w 512"/>
              <a:gd name="T1" fmla="*/ 181 h 512"/>
              <a:gd name="T2" fmla="*/ 256 w 512"/>
              <a:gd name="T3" fmla="*/ 233 h 512"/>
              <a:gd name="T4" fmla="*/ 208 w 512"/>
              <a:gd name="T5" fmla="*/ 213 h 512"/>
              <a:gd name="T6" fmla="*/ 330 w 512"/>
              <a:gd name="T7" fmla="*/ 161 h 512"/>
              <a:gd name="T8" fmla="*/ 378 w 512"/>
              <a:gd name="T9" fmla="*/ 181 h 512"/>
              <a:gd name="T10" fmla="*/ 303 w 512"/>
              <a:gd name="T11" fmla="*/ 149 h 512"/>
              <a:gd name="T12" fmla="*/ 256 w 512"/>
              <a:gd name="T13" fmla="*/ 129 h 512"/>
              <a:gd name="T14" fmla="*/ 133 w 512"/>
              <a:gd name="T15" fmla="*/ 181 h 512"/>
              <a:gd name="T16" fmla="*/ 181 w 512"/>
              <a:gd name="T17" fmla="*/ 201 h 512"/>
              <a:gd name="T18" fmla="*/ 303 w 512"/>
              <a:gd name="T19" fmla="*/ 149 h 512"/>
              <a:gd name="T20" fmla="*/ 117 w 512"/>
              <a:gd name="T21" fmla="*/ 324 h 512"/>
              <a:gd name="T22" fmla="*/ 245 w 512"/>
              <a:gd name="T23" fmla="*/ 388 h 512"/>
              <a:gd name="T24" fmla="*/ 245 w 512"/>
              <a:gd name="T25" fmla="*/ 252 h 512"/>
              <a:gd name="T26" fmla="*/ 117 w 512"/>
              <a:gd name="T27" fmla="*/ 197 h 512"/>
              <a:gd name="T28" fmla="*/ 117 w 512"/>
              <a:gd name="T29" fmla="*/ 324 h 512"/>
              <a:gd name="T30" fmla="*/ 334 w 512"/>
              <a:gd name="T31" fmla="*/ 292 h 512"/>
              <a:gd name="T32" fmla="*/ 309 w 512"/>
              <a:gd name="T33" fmla="*/ 302 h 512"/>
              <a:gd name="T34" fmla="*/ 309 w 512"/>
              <a:gd name="T35" fmla="*/ 325 h 512"/>
              <a:gd name="T36" fmla="*/ 334 w 512"/>
              <a:gd name="T37" fmla="*/ 314 h 512"/>
              <a:gd name="T38" fmla="*/ 334 w 512"/>
              <a:gd name="T39" fmla="*/ 292 h 512"/>
              <a:gd name="T40" fmla="*/ 266 w 512"/>
              <a:gd name="T41" fmla="*/ 252 h 512"/>
              <a:gd name="T42" fmla="*/ 394 w 512"/>
              <a:gd name="T43" fmla="*/ 197 h 512"/>
              <a:gd name="T44" fmla="*/ 394 w 512"/>
              <a:gd name="T45" fmla="*/ 334 h 512"/>
              <a:gd name="T46" fmla="*/ 266 w 512"/>
              <a:gd name="T47" fmla="*/ 389 h 512"/>
              <a:gd name="T48" fmla="*/ 266 w 512"/>
              <a:gd name="T49" fmla="*/ 252 h 512"/>
              <a:gd name="T50" fmla="*/ 288 w 512"/>
              <a:gd name="T51" fmla="*/ 341 h 512"/>
              <a:gd name="T52" fmla="*/ 292 w 512"/>
              <a:gd name="T53" fmla="*/ 350 h 512"/>
              <a:gd name="T54" fmla="*/ 298 w 512"/>
              <a:gd name="T55" fmla="*/ 352 h 512"/>
              <a:gd name="T56" fmla="*/ 303 w 512"/>
              <a:gd name="T57" fmla="*/ 351 h 512"/>
              <a:gd name="T58" fmla="*/ 348 w 512"/>
              <a:gd name="T59" fmla="*/ 331 h 512"/>
              <a:gd name="T60" fmla="*/ 355 w 512"/>
              <a:gd name="T61" fmla="*/ 321 h 512"/>
              <a:gd name="T62" fmla="*/ 355 w 512"/>
              <a:gd name="T63" fmla="*/ 275 h 512"/>
              <a:gd name="T64" fmla="*/ 350 w 512"/>
              <a:gd name="T65" fmla="*/ 267 h 512"/>
              <a:gd name="T66" fmla="*/ 340 w 512"/>
              <a:gd name="T67" fmla="*/ 266 h 512"/>
              <a:gd name="T68" fmla="*/ 294 w 512"/>
              <a:gd name="T69" fmla="*/ 285 h 512"/>
              <a:gd name="T70" fmla="*/ 288 w 512"/>
              <a:gd name="T71" fmla="*/ 295 h 512"/>
              <a:gd name="T72" fmla="*/ 288 w 512"/>
              <a:gd name="T73" fmla="*/ 341 h 512"/>
              <a:gd name="T74" fmla="*/ 512 w 512"/>
              <a:gd name="T75" fmla="*/ 256 h 512"/>
              <a:gd name="T76" fmla="*/ 256 w 512"/>
              <a:gd name="T77" fmla="*/ 512 h 512"/>
              <a:gd name="T78" fmla="*/ 0 w 512"/>
              <a:gd name="T79" fmla="*/ 256 h 512"/>
              <a:gd name="T80" fmla="*/ 256 w 512"/>
              <a:gd name="T81" fmla="*/ 0 h 512"/>
              <a:gd name="T82" fmla="*/ 512 w 512"/>
              <a:gd name="T83" fmla="*/ 256 h 512"/>
              <a:gd name="T84" fmla="*/ 416 w 512"/>
              <a:gd name="T85" fmla="*/ 181 h 512"/>
              <a:gd name="T86" fmla="*/ 409 w 512"/>
              <a:gd name="T87" fmla="*/ 171 h 512"/>
              <a:gd name="T88" fmla="*/ 260 w 512"/>
              <a:gd name="T89" fmla="*/ 107 h 512"/>
              <a:gd name="T90" fmla="*/ 251 w 512"/>
              <a:gd name="T91" fmla="*/ 107 h 512"/>
              <a:gd name="T92" fmla="*/ 102 w 512"/>
              <a:gd name="T93" fmla="*/ 171 h 512"/>
              <a:gd name="T94" fmla="*/ 102 w 512"/>
              <a:gd name="T95" fmla="*/ 171 h 512"/>
              <a:gd name="T96" fmla="*/ 102 w 512"/>
              <a:gd name="T97" fmla="*/ 171 h 512"/>
              <a:gd name="T98" fmla="*/ 102 w 512"/>
              <a:gd name="T99" fmla="*/ 171 h 512"/>
              <a:gd name="T100" fmla="*/ 96 w 512"/>
              <a:gd name="T101" fmla="*/ 181 h 512"/>
              <a:gd name="T102" fmla="*/ 96 w 512"/>
              <a:gd name="T103" fmla="*/ 330 h 512"/>
              <a:gd name="T104" fmla="*/ 102 w 512"/>
              <a:gd name="T105" fmla="*/ 340 h 512"/>
              <a:gd name="T106" fmla="*/ 251 w 512"/>
              <a:gd name="T107" fmla="*/ 415 h 512"/>
              <a:gd name="T108" fmla="*/ 256 w 512"/>
              <a:gd name="T109" fmla="*/ 416 h 512"/>
              <a:gd name="T110" fmla="*/ 256 w 512"/>
              <a:gd name="T111" fmla="*/ 416 h 512"/>
              <a:gd name="T112" fmla="*/ 256 w 512"/>
              <a:gd name="T113" fmla="*/ 416 h 512"/>
              <a:gd name="T114" fmla="*/ 256 w 512"/>
              <a:gd name="T115" fmla="*/ 416 h 512"/>
              <a:gd name="T116" fmla="*/ 259 w 512"/>
              <a:gd name="T117" fmla="*/ 415 h 512"/>
              <a:gd name="T118" fmla="*/ 260 w 512"/>
              <a:gd name="T119" fmla="*/ 415 h 512"/>
              <a:gd name="T120" fmla="*/ 409 w 512"/>
              <a:gd name="T121" fmla="*/ 351 h 512"/>
              <a:gd name="T122" fmla="*/ 416 w 512"/>
              <a:gd name="T123" fmla="*/ 341 h 512"/>
              <a:gd name="T124" fmla="*/ 416 w 512"/>
              <a:gd name="T125" fmla="*/ 18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2" h="512">
                <a:moveTo>
                  <a:pt x="378" y="181"/>
                </a:moveTo>
                <a:cubicBezTo>
                  <a:pt x="256" y="233"/>
                  <a:pt x="256" y="233"/>
                  <a:pt x="256" y="233"/>
                </a:cubicBezTo>
                <a:cubicBezTo>
                  <a:pt x="208" y="213"/>
                  <a:pt x="208" y="213"/>
                  <a:pt x="208" y="213"/>
                </a:cubicBezTo>
                <a:cubicBezTo>
                  <a:pt x="330" y="161"/>
                  <a:pt x="330" y="161"/>
                  <a:pt x="330" y="161"/>
                </a:cubicBezTo>
                <a:lnTo>
                  <a:pt x="378" y="181"/>
                </a:lnTo>
                <a:close/>
                <a:moveTo>
                  <a:pt x="303" y="149"/>
                </a:moveTo>
                <a:cubicBezTo>
                  <a:pt x="256" y="129"/>
                  <a:pt x="256" y="129"/>
                  <a:pt x="256" y="129"/>
                </a:cubicBezTo>
                <a:cubicBezTo>
                  <a:pt x="133" y="181"/>
                  <a:pt x="133" y="181"/>
                  <a:pt x="133" y="181"/>
                </a:cubicBezTo>
                <a:cubicBezTo>
                  <a:pt x="181" y="201"/>
                  <a:pt x="181" y="201"/>
                  <a:pt x="181" y="201"/>
                </a:cubicBezTo>
                <a:lnTo>
                  <a:pt x="303" y="149"/>
                </a:lnTo>
                <a:close/>
                <a:moveTo>
                  <a:pt x="117" y="324"/>
                </a:moveTo>
                <a:cubicBezTo>
                  <a:pt x="245" y="388"/>
                  <a:pt x="245" y="388"/>
                  <a:pt x="245" y="388"/>
                </a:cubicBezTo>
                <a:cubicBezTo>
                  <a:pt x="245" y="252"/>
                  <a:pt x="245" y="252"/>
                  <a:pt x="245" y="252"/>
                </a:cubicBezTo>
                <a:cubicBezTo>
                  <a:pt x="117" y="197"/>
                  <a:pt x="117" y="197"/>
                  <a:pt x="117" y="197"/>
                </a:cubicBezTo>
                <a:lnTo>
                  <a:pt x="117" y="324"/>
                </a:lnTo>
                <a:close/>
                <a:moveTo>
                  <a:pt x="334" y="292"/>
                </a:moveTo>
                <a:cubicBezTo>
                  <a:pt x="309" y="302"/>
                  <a:pt x="309" y="302"/>
                  <a:pt x="309" y="302"/>
                </a:cubicBezTo>
                <a:cubicBezTo>
                  <a:pt x="309" y="325"/>
                  <a:pt x="309" y="325"/>
                  <a:pt x="309" y="325"/>
                </a:cubicBezTo>
                <a:cubicBezTo>
                  <a:pt x="334" y="314"/>
                  <a:pt x="334" y="314"/>
                  <a:pt x="334" y="314"/>
                </a:cubicBezTo>
                <a:lnTo>
                  <a:pt x="334" y="292"/>
                </a:lnTo>
                <a:close/>
                <a:moveTo>
                  <a:pt x="266" y="252"/>
                </a:moveTo>
                <a:cubicBezTo>
                  <a:pt x="394" y="197"/>
                  <a:pt x="394" y="197"/>
                  <a:pt x="394" y="197"/>
                </a:cubicBezTo>
                <a:cubicBezTo>
                  <a:pt x="394" y="223"/>
                  <a:pt x="394" y="334"/>
                  <a:pt x="394" y="334"/>
                </a:cubicBezTo>
                <a:cubicBezTo>
                  <a:pt x="266" y="389"/>
                  <a:pt x="266" y="389"/>
                  <a:pt x="266" y="389"/>
                </a:cubicBezTo>
                <a:lnTo>
                  <a:pt x="266" y="252"/>
                </a:lnTo>
                <a:close/>
                <a:moveTo>
                  <a:pt x="288" y="341"/>
                </a:moveTo>
                <a:cubicBezTo>
                  <a:pt x="288" y="345"/>
                  <a:pt x="289" y="348"/>
                  <a:pt x="292" y="350"/>
                </a:cubicBezTo>
                <a:cubicBezTo>
                  <a:pt x="294" y="351"/>
                  <a:pt x="296" y="352"/>
                  <a:pt x="298" y="352"/>
                </a:cubicBezTo>
                <a:cubicBezTo>
                  <a:pt x="300" y="352"/>
                  <a:pt x="301" y="351"/>
                  <a:pt x="303" y="351"/>
                </a:cubicBezTo>
                <a:cubicBezTo>
                  <a:pt x="348" y="331"/>
                  <a:pt x="348" y="331"/>
                  <a:pt x="348" y="331"/>
                </a:cubicBezTo>
                <a:cubicBezTo>
                  <a:pt x="352" y="329"/>
                  <a:pt x="355" y="326"/>
                  <a:pt x="355" y="321"/>
                </a:cubicBezTo>
                <a:cubicBezTo>
                  <a:pt x="355" y="275"/>
                  <a:pt x="355" y="275"/>
                  <a:pt x="355" y="275"/>
                </a:cubicBezTo>
                <a:cubicBezTo>
                  <a:pt x="355" y="272"/>
                  <a:pt x="353" y="269"/>
                  <a:pt x="350" y="267"/>
                </a:cubicBezTo>
                <a:cubicBezTo>
                  <a:pt x="347" y="265"/>
                  <a:pt x="343" y="264"/>
                  <a:pt x="340" y="266"/>
                </a:cubicBezTo>
                <a:cubicBezTo>
                  <a:pt x="294" y="285"/>
                  <a:pt x="294" y="285"/>
                  <a:pt x="294" y="285"/>
                </a:cubicBezTo>
                <a:cubicBezTo>
                  <a:pt x="290" y="287"/>
                  <a:pt x="288" y="291"/>
                  <a:pt x="288" y="295"/>
                </a:cubicBezTo>
                <a:lnTo>
                  <a:pt x="288" y="341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181"/>
                </a:moveTo>
                <a:cubicBezTo>
                  <a:pt x="416" y="177"/>
                  <a:pt x="413" y="173"/>
                  <a:pt x="409" y="171"/>
                </a:cubicBezTo>
                <a:cubicBezTo>
                  <a:pt x="260" y="107"/>
                  <a:pt x="260" y="107"/>
                  <a:pt x="260" y="107"/>
                </a:cubicBezTo>
                <a:cubicBezTo>
                  <a:pt x="257" y="106"/>
                  <a:pt x="254" y="106"/>
                  <a:pt x="251" y="107"/>
                </a:cubicBezTo>
                <a:cubicBezTo>
                  <a:pt x="102" y="171"/>
                  <a:pt x="102" y="171"/>
                  <a:pt x="102" y="171"/>
                </a:cubicBezTo>
                <a:cubicBezTo>
                  <a:pt x="102" y="171"/>
                  <a:pt x="102" y="171"/>
                  <a:pt x="102" y="171"/>
                </a:cubicBezTo>
                <a:cubicBezTo>
                  <a:pt x="102" y="171"/>
                  <a:pt x="102" y="171"/>
                  <a:pt x="102" y="171"/>
                </a:cubicBezTo>
                <a:cubicBezTo>
                  <a:pt x="102" y="171"/>
                  <a:pt x="102" y="171"/>
                  <a:pt x="102" y="171"/>
                </a:cubicBezTo>
                <a:cubicBezTo>
                  <a:pt x="98" y="173"/>
                  <a:pt x="96" y="177"/>
                  <a:pt x="96" y="181"/>
                </a:cubicBezTo>
                <a:cubicBezTo>
                  <a:pt x="96" y="330"/>
                  <a:pt x="96" y="330"/>
                  <a:pt x="96" y="330"/>
                </a:cubicBezTo>
                <a:cubicBezTo>
                  <a:pt x="96" y="334"/>
                  <a:pt x="98" y="338"/>
                  <a:pt x="102" y="340"/>
                </a:cubicBezTo>
                <a:cubicBezTo>
                  <a:pt x="251" y="415"/>
                  <a:pt x="251" y="415"/>
                  <a:pt x="251" y="415"/>
                </a:cubicBezTo>
                <a:cubicBezTo>
                  <a:pt x="252" y="415"/>
                  <a:pt x="254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7" y="416"/>
                  <a:pt x="258" y="415"/>
                  <a:pt x="259" y="415"/>
                </a:cubicBezTo>
                <a:cubicBezTo>
                  <a:pt x="260" y="415"/>
                  <a:pt x="260" y="415"/>
                  <a:pt x="260" y="415"/>
                </a:cubicBezTo>
                <a:cubicBezTo>
                  <a:pt x="409" y="351"/>
                  <a:pt x="409" y="351"/>
                  <a:pt x="409" y="351"/>
                </a:cubicBezTo>
                <a:cubicBezTo>
                  <a:pt x="413" y="349"/>
                  <a:pt x="416" y="345"/>
                  <a:pt x="416" y="341"/>
                </a:cubicBezTo>
                <a:lnTo>
                  <a:pt x="416" y="181"/>
                </a:lnTo>
                <a:close/>
              </a:path>
            </a:pathLst>
          </a:custGeom>
          <a:solidFill>
            <a:srgbClr val="92D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49" name="Group 48"/>
          <p:cNvGrpSpPr/>
          <p:nvPr/>
        </p:nvGrpSpPr>
        <p:grpSpPr>
          <a:xfrm>
            <a:off x="2338732" y="3882158"/>
            <a:ext cx="541588" cy="540000"/>
            <a:chOff x="6225184" y="5773576"/>
            <a:chExt cx="541588" cy="540000"/>
          </a:xfrm>
        </p:grpSpPr>
        <p:sp>
          <p:nvSpPr>
            <p:cNvPr id="50" name="Oval 49"/>
            <p:cNvSpPr>
              <a:spLocks noChangeAspect="1"/>
            </p:cNvSpPr>
            <p:nvPr/>
          </p:nvSpPr>
          <p:spPr>
            <a:xfrm>
              <a:off x="6286871" y="5834473"/>
              <a:ext cx="418213" cy="4182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en-US" sz="2100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1" name="Freeform 914"/>
            <p:cNvSpPr>
              <a:spLocks noChangeAspect="1" noEditPoints="1"/>
            </p:cNvSpPr>
            <p:nvPr/>
          </p:nvSpPr>
          <p:spPr bwMode="auto">
            <a:xfrm>
              <a:off x="6225184" y="5773576"/>
              <a:ext cx="541588" cy="540000"/>
            </a:xfrm>
            <a:custGeom>
              <a:avLst/>
              <a:gdLst>
                <a:gd name="T0" fmla="*/ 192 w 512"/>
                <a:gd name="T1" fmla="*/ 224 h 512"/>
                <a:gd name="T2" fmla="*/ 352 w 512"/>
                <a:gd name="T3" fmla="*/ 224 h 512"/>
                <a:gd name="T4" fmla="*/ 352 w 512"/>
                <a:gd name="T5" fmla="*/ 352 h 512"/>
                <a:gd name="T6" fmla="*/ 117 w 512"/>
                <a:gd name="T7" fmla="*/ 352 h 512"/>
                <a:gd name="T8" fmla="*/ 117 w 512"/>
                <a:gd name="T9" fmla="*/ 202 h 512"/>
                <a:gd name="T10" fmla="*/ 174 w 512"/>
                <a:gd name="T11" fmla="*/ 202 h 512"/>
                <a:gd name="T12" fmla="*/ 182 w 512"/>
                <a:gd name="T13" fmla="*/ 218 h 512"/>
                <a:gd name="T14" fmla="*/ 192 w 512"/>
                <a:gd name="T15" fmla="*/ 224 h 512"/>
                <a:gd name="T16" fmla="*/ 512 w 512"/>
                <a:gd name="T17" fmla="*/ 256 h 512"/>
                <a:gd name="T18" fmla="*/ 256 w 512"/>
                <a:gd name="T19" fmla="*/ 512 h 512"/>
                <a:gd name="T20" fmla="*/ 0 w 512"/>
                <a:gd name="T21" fmla="*/ 256 h 512"/>
                <a:gd name="T22" fmla="*/ 256 w 512"/>
                <a:gd name="T23" fmla="*/ 0 h 512"/>
                <a:gd name="T24" fmla="*/ 512 w 512"/>
                <a:gd name="T25" fmla="*/ 256 h 512"/>
                <a:gd name="T26" fmla="*/ 373 w 512"/>
                <a:gd name="T27" fmla="*/ 213 h 512"/>
                <a:gd name="T28" fmla="*/ 362 w 512"/>
                <a:gd name="T29" fmla="*/ 202 h 512"/>
                <a:gd name="T30" fmla="*/ 198 w 512"/>
                <a:gd name="T31" fmla="*/ 202 h 512"/>
                <a:gd name="T32" fmla="*/ 191 w 512"/>
                <a:gd name="T33" fmla="*/ 187 h 512"/>
                <a:gd name="T34" fmla="*/ 181 w 512"/>
                <a:gd name="T35" fmla="*/ 181 h 512"/>
                <a:gd name="T36" fmla="*/ 106 w 512"/>
                <a:gd name="T37" fmla="*/ 181 h 512"/>
                <a:gd name="T38" fmla="*/ 96 w 512"/>
                <a:gd name="T39" fmla="*/ 192 h 512"/>
                <a:gd name="T40" fmla="*/ 96 w 512"/>
                <a:gd name="T41" fmla="*/ 362 h 512"/>
                <a:gd name="T42" fmla="*/ 106 w 512"/>
                <a:gd name="T43" fmla="*/ 373 h 512"/>
                <a:gd name="T44" fmla="*/ 362 w 512"/>
                <a:gd name="T45" fmla="*/ 373 h 512"/>
                <a:gd name="T46" fmla="*/ 373 w 512"/>
                <a:gd name="T47" fmla="*/ 362 h 512"/>
                <a:gd name="T48" fmla="*/ 373 w 512"/>
                <a:gd name="T49" fmla="*/ 213 h 512"/>
                <a:gd name="T50" fmla="*/ 416 w 512"/>
                <a:gd name="T51" fmla="*/ 170 h 512"/>
                <a:gd name="T52" fmla="*/ 405 w 512"/>
                <a:gd name="T53" fmla="*/ 160 h 512"/>
                <a:gd name="T54" fmla="*/ 241 w 512"/>
                <a:gd name="T55" fmla="*/ 160 h 512"/>
                <a:gd name="T56" fmla="*/ 233 w 512"/>
                <a:gd name="T57" fmla="*/ 144 h 512"/>
                <a:gd name="T58" fmla="*/ 224 w 512"/>
                <a:gd name="T59" fmla="*/ 138 h 512"/>
                <a:gd name="T60" fmla="*/ 149 w 512"/>
                <a:gd name="T61" fmla="*/ 138 h 512"/>
                <a:gd name="T62" fmla="*/ 138 w 512"/>
                <a:gd name="T63" fmla="*/ 149 h 512"/>
                <a:gd name="T64" fmla="*/ 149 w 512"/>
                <a:gd name="T65" fmla="*/ 160 h 512"/>
                <a:gd name="T66" fmla="*/ 217 w 512"/>
                <a:gd name="T67" fmla="*/ 160 h 512"/>
                <a:gd name="T68" fmla="*/ 225 w 512"/>
                <a:gd name="T69" fmla="*/ 175 h 512"/>
                <a:gd name="T70" fmla="*/ 234 w 512"/>
                <a:gd name="T71" fmla="*/ 181 h 512"/>
                <a:gd name="T72" fmla="*/ 394 w 512"/>
                <a:gd name="T73" fmla="*/ 181 h 512"/>
                <a:gd name="T74" fmla="*/ 394 w 512"/>
                <a:gd name="T75" fmla="*/ 320 h 512"/>
                <a:gd name="T76" fmla="*/ 405 w 512"/>
                <a:gd name="T77" fmla="*/ 330 h 512"/>
                <a:gd name="T78" fmla="*/ 416 w 512"/>
                <a:gd name="T79" fmla="*/ 320 h 512"/>
                <a:gd name="T80" fmla="*/ 416 w 512"/>
                <a:gd name="T81" fmla="*/ 17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12" h="512">
                  <a:moveTo>
                    <a:pt x="192" y="224"/>
                  </a:moveTo>
                  <a:cubicBezTo>
                    <a:pt x="352" y="224"/>
                    <a:pt x="352" y="224"/>
                    <a:pt x="352" y="224"/>
                  </a:cubicBezTo>
                  <a:cubicBezTo>
                    <a:pt x="352" y="352"/>
                    <a:pt x="352" y="352"/>
                    <a:pt x="352" y="352"/>
                  </a:cubicBezTo>
                  <a:cubicBezTo>
                    <a:pt x="117" y="352"/>
                    <a:pt x="117" y="352"/>
                    <a:pt x="117" y="352"/>
                  </a:cubicBezTo>
                  <a:cubicBezTo>
                    <a:pt x="117" y="202"/>
                    <a:pt x="117" y="202"/>
                    <a:pt x="117" y="202"/>
                  </a:cubicBezTo>
                  <a:cubicBezTo>
                    <a:pt x="174" y="202"/>
                    <a:pt x="174" y="202"/>
                    <a:pt x="174" y="202"/>
                  </a:cubicBezTo>
                  <a:cubicBezTo>
                    <a:pt x="182" y="218"/>
                    <a:pt x="182" y="218"/>
                    <a:pt x="182" y="218"/>
                  </a:cubicBezTo>
                  <a:cubicBezTo>
                    <a:pt x="184" y="221"/>
                    <a:pt x="188" y="224"/>
                    <a:pt x="192" y="224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73" y="213"/>
                  </a:moveTo>
                  <a:cubicBezTo>
                    <a:pt x="373" y="207"/>
                    <a:pt x="368" y="202"/>
                    <a:pt x="362" y="202"/>
                  </a:cubicBezTo>
                  <a:cubicBezTo>
                    <a:pt x="198" y="202"/>
                    <a:pt x="198" y="202"/>
                    <a:pt x="198" y="202"/>
                  </a:cubicBezTo>
                  <a:cubicBezTo>
                    <a:pt x="191" y="187"/>
                    <a:pt x="191" y="187"/>
                    <a:pt x="191" y="187"/>
                  </a:cubicBezTo>
                  <a:cubicBezTo>
                    <a:pt x="189" y="183"/>
                    <a:pt x="185" y="181"/>
                    <a:pt x="181" y="181"/>
                  </a:cubicBezTo>
                  <a:cubicBezTo>
                    <a:pt x="106" y="181"/>
                    <a:pt x="106" y="181"/>
                    <a:pt x="106" y="181"/>
                  </a:cubicBezTo>
                  <a:cubicBezTo>
                    <a:pt x="100" y="181"/>
                    <a:pt x="96" y="186"/>
                    <a:pt x="96" y="192"/>
                  </a:cubicBezTo>
                  <a:cubicBezTo>
                    <a:pt x="96" y="362"/>
                    <a:pt x="96" y="362"/>
                    <a:pt x="96" y="362"/>
                  </a:cubicBezTo>
                  <a:cubicBezTo>
                    <a:pt x="96" y="368"/>
                    <a:pt x="100" y="373"/>
                    <a:pt x="106" y="373"/>
                  </a:cubicBezTo>
                  <a:cubicBezTo>
                    <a:pt x="362" y="373"/>
                    <a:pt x="362" y="373"/>
                    <a:pt x="362" y="373"/>
                  </a:cubicBezTo>
                  <a:cubicBezTo>
                    <a:pt x="368" y="373"/>
                    <a:pt x="373" y="368"/>
                    <a:pt x="373" y="362"/>
                  </a:cubicBezTo>
                  <a:lnTo>
                    <a:pt x="373" y="213"/>
                  </a:lnTo>
                  <a:close/>
                  <a:moveTo>
                    <a:pt x="416" y="170"/>
                  </a:moveTo>
                  <a:cubicBezTo>
                    <a:pt x="416" y="164"/>
                    <a:pt x="411" y="160"/>
                    <a:pt x="405" y="160"/>
                  </a:cubicBezTo>
                  <a:cubicBezTo>
                    <a:pt x="241" y="160"/>
                    <a:pt x="241" y="160"/>
                    <a:pt x="241" y="160"/>
                  </a:cubicBezTo>
                  <a:cubicBezTo>
                    <a:pt x="233" y="144"/>
                    <a:pt x="233" y="144"/>
                    <a:pt x="233" y="144"/>
                  </a:cubicBezTo>
                  <a:cubicBezTo>
                    <a:pt x="231" y="141"/>
                    <a:pt x="228" y="138"/>
                    <a:pt x="224" y="138"/>
                  </a:cubicBezTo>
                  <a:cubicBezTo>
                    <a:pt x="149" y="138"/>
                    <a:pt x="149" y="138"/>
                    <a:pt x="149" y="138"/>
                  </a:cubicBezTo>
                  <a:cubicBezTo>
                    <a:pt x="143" y="138"/>
                    <a:pt x="138" y="143"/>
                    <a:pt x="138" y="149"/>
                  </a:cubicBezTo>
                  <a:cubicBezTo>
                    <a:pt x="138" y="155"/>
                    <a:pt x="143" y="160"/>
                    <a:pt x="149" y="160"/>
                  </a:cubicBezTo>
                  <a:cubicBezTo>
                    <a:pt x="217" y="160"/>
                    <a:pt x="217" y="160"/>
                    <a:pt x="217" y="160"/>
                  </a:cubicBezTo>
                  <a:cubicBezTo>
                    <a:pt x="225" y="175"/>
                    <a:pt x="225" y="175"/>
                    <a:pt x="225" y="175"/>
                  </a:cubicBezTo>
                  <a:cubicBezTo>
                    <a:pt x="227" y="179"/>
                    <a:pt x="230" y="181"/>
                    <a:pt x="234" y="181"/>
                  </a:cubicBezTo>
                  <a:cubicBezTo>
                    <a:pt x="394" y="181"/>
                    <a:pt x="394" y="181"/>
                    <a:pt x="394" y="181"/>
                  </a:cubicBezTo>
                  <a:cubicBezTo>
                    <a:pt x="394" y="320"/>
                    <a:pt x="394" y="320"/>
                    <a:pt x="394" y="320"/>
                  </a:cubicBezTo>
                  <a:cubicBezTo>
                    <a:pt x="394" y="326"/>
                    <a:pt x="399" y="330"/>
                    <a:pt x="405" y="330"/>
                  </a:cubicBezTo>
                  <a:cubicBezTo>
                    <a:pt x="411" y="330"/>
                    <a:pt x="416" y="326"/>
                    <a:pt x="416" y="320"/>
                  </a:cubicBezTo>
                  <a:lnTo>
                    <a:pt x="416" y="17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4" name="Rounded Rectangle 23"/>
          <p:cNvSpPr/>
          <p:nvPr/>
        </p:nvSpPr>
        <p:spPr bwMode="auto">
          <a:xfrm>
            <a:off x="4183494" y="2354437"/>
            <a:ext cx="5378019" cy="3589229"/>
          </a:xfrm>
          <a:prstGeom prst="roundRect">
            <a:avLst/>
          </a:prstGeom>
          <a:noFill/>
          <a:ln w="3175">
            <a:solidFill>
              <a:srgbClr val="027E46"/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 algn="just" eaLnBrk="1" hangingPunct="1">
              <a:defRPr/>
            </a:pPr>
            <a:endParaRPr lang="it-IT" sz="11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Rectangle 4"/>
          <p:cNvSpPr>
            <a:spLocks noChangeArrowheads="1"/>
          </p:cNvSpPr>
          <p:nvPr/>
        </p:nvSpPr>
        <p:spPr bwMode="auto">
          <a:xfrm>
            <a:off x="4674225" y="2256990"/>
            <a:ext cx="1677124" cy="3361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buSzPct val="70000"/>
              <a:buFont typeface="Wingdings" panose="05000000000000000000" pitchFamily="2" charset="2"/>
              <a:buNone/>
            </a:pPr>
            <a:endParaRPr lang="it-IT" altLang="it-IT" sz="1400" dirty="0">
              <a:latin typeface="+mj-lt"/>
            </a:endParaRPr>
          </a:p>
        </p:txBody>
      </p:sp>
      <p:sp>
        <p:nvSpPr>
          <p:cNvPr id="26" name="Rectangle 7"/>
          <p:cNvSpPr>
            <a:spLocks noChangeArrowheads="1"/>
          </p:cNvSpPr>
          <p:nvPr/>
        </p:nvSpPr>
        <p:spPr bwMode="auto">
          <a:xfrm>
            <a:off x="5078716" y="2169772"/>
            <a:ext cx="1225853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it-IT" sz="1800" b="1" i="1" dirty="0" err="1" smtClean="0">
                <a:solidFill>
                  <a:srgbClr val="006B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icazioni</a:t>
            </a:r>
            <a:endParaRPr lang="en-GB" altLang="it-IT" sz="1800" b="1" i="1" dirty="0">
              <a:solidFill>
                <a:srgbClr val="006B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418935" y="2548124"/>
            <a:ext cx="496521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it-IT" sz="1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La 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comunicazione diretta nella modalità PEPPOL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può avvenire mediante registrazione a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Service Provider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(modalità consigliata);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SATER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(per quantitativi di  ordini ridotti).</a:t>
            </a:r>
          </a:p>
          <a:p>
            <a:pPr algn="just"/>
            <a:endParaRPr lang="it-IT" sz="1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Sarà necessario ottenere l’identificativo PEPPOL al fine di ricevere ordini in modalità elettronica.</a:t>
            </a:r>
          </a:p>
          <a:p>
            <a:pPr algn="just"/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Le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modalità operative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 per ottenere l’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ID PEPPOL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 sono descritte nel manuale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«Guida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per la registrazione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PEPPOL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».</a:t>
            </a:r>
            <a:endParaRPr lang="it-IT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it-IT" sz="1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Oval 8"/>
          <p:cNvSpPr/>
          <p:nvPr/>
        </p:nvSpPr>
        <p:spPr bwMode="auto">
          <a:xfrm>
            <a:off x="4557859" y="1963760"/>
            <a:ext cx="437288" cy="46871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32" name="Freeform 430"/>
          <p:cNvSpPr>
            <a:spLocks noChangeAspect="1" noEditPoints="1"/>
          </p:cNvSpPr>
          <p:nvPr/>
        </p:nvSpPr>
        <p:spPr bwMode="auto">
          <a:xfrm>
            <a:off x="4506503" y="2076445"/>
            <a:ext cx="540000" cy="540000"/>
          </a:xfrm>
          <a:custGeom>
            <a:avLst/>
            <a:gdLst>
              <a:gd name="T0" fmla="*/ 235 w 512"/>
              <a:gd name="T1" fmla="*/ 139 h 512"/>
              <a:gd name="T2" fmla="*/ 256 w 512"/>
              <a:gd name="T3" fmla="*/ 118 h 512"/>
              <a:gd name="T4" fmla="*/ 277 w 512"/>
              <a:gd name="T5" fmla="*/ 139 h 512"/>
              <a:gd name="T6" fmla="*/ 256 w 512"/>
              <a:gd name="T7" fmla="*/ 160 h 512"/>
              <a:gd name="T8" fmla="*/ 235 w 512"/>
              <a:gd name="T9" fmla="*/ 139 h 512"/>
              <a:gd name="T10" fmla="*/ 267 w 512"/>
              <a:gd name="T11" fmla="*/ 363 h 512"/>
              <a:gd name="T12" fmla="*/ 267 w 512"/>
              <a:gd name="T13" fmla="*/ 224 h 512"/>
              <a:gd name="T14" fmla="*/ 213 w 512"/>
              <a:gd name="T15" fmla="*/ 224 h 512"/>
              <a:gd name="T16" fmla="*/ 213 w 512"/>
              <a:gd name="T17" fmla="*/ 246 h 512"/>
              <a:gd name="T18" fmla="*/ 235 w 512"/>
              <a:gd name="T19" fmla="*/ 246 h 512"/>
              <a:gd name="T20" fmla="*/ 245 w 512"/>
              <a:gd name="T21" fmla="*/ 256 h 512"/>
              <a:gd name="T22" fmla="*/ 245 w 512"/>
              <a:gd name="T23" fmla="*/ 363 h 512"/>
              <a:gd name="T24" fmla="*/ 235 w 512"/>
              <a:gd name="T25" fmla="*/ 374 h 512"/>
              <a:gd name="T26" fmla="*/ 203 w 512"/>
              <a:gd name="T27" fmla="*/ 374 h 512"/>
              <a:gd name="T28" fmla="*/ 203 w 512"/>
              <a:gd name="T29" fmla="*/ 395 h 512"/>
              <a:gd name="T30" fmla="*/ 309 w 512"/>
              <a:gd name="T31" fmla="*/ 395 h 512"/>
              <a:gd name="T32" fmla="*/ 309 w 512"/>
              <a:gd name="T33" fmla="*/ 374 h 512"/>
              <a:gd name="T34" fmla="*/ 277 w 512"/>
              <a:gd name="T35" fmla="*/ 374 h 512"/>
              <a:gd name="T36" fmla="*/ 267 w 512"/>
              <a:gd name="T37" fmla="*/ 363 h 512"/>
              <a:gd name="T38" fmla="*/ 512 w 512"/>
              <a:gd name="T39" fmla="*/ 256 h 512"/>
              <a:gd name="T40" fmla="*/ 256 w 512"/>
              <a:gd name="T41" fmla="*/ 512 h 512"/>
              <a:gd name="T42" fmla="*/ 0 w 512"/>
              <a:gd name="T43" fmla="*/ 256 h 512"/>
              <a:gd name="T44" fmla="*/ 256 w 512"/>
              <a:gd name="T45" fmla="*/ 0 h 512"/>
              <a:gd name="T46" fmla="*/ 512 w 512"/>
              <a:gd name="T47" fmla="*/ 256 h 512"/>
              <a:gd name="T48" fmla="*/ 213 w 512"/>
              <a:gd name="T49" fmla="*/ 139 h 512"/>
              <a:gd name="T50" fmla="*/ 256 w 512"/>
              <a:gd name="T51" fmla="*/ 182 h 512"/>
              <a:gd name="T52" fmla="*/ 299 w 512"/>
              <a:gd name="T53" fmla="*/ 139 h 512"/>
              <a:gd name="T54" fmla="*/ 256 w 512"/>
              <a:gd name="T55" fmla="*/ 96 h 512"/>
              <a:gd name="T56" fmla="*/ 213 w 512"/>
              <a:gd name="T57" fmla="*/ 139 h 512"/>
              <a:gd name="T58" fmla="*/ 331 w 512"/>
              <a:gd name="T59" fmla="*/ 363 h 512"/>
              <a:gd name="T60" fmla="*/ 320 w 512"/>
              <a:gd name="T61" fmla="*/ 352 h 512"/>
              <a:gd name="T62" fmla="*/ 288 w 512"/>
              <a:gd name="T63" fmla="*/ 352 h 512"/>
              <a:gd name="T64" fmla="*/ 288 w 512"/>
              <a:gd name="T65" fmla="*/ 214 h 512"/>
              <a:gd name="T66" fmla="*/ 277 w 512"/>
              <a:gd name="T67" fmla="*/ 203 h 512"/>
              <a:gd name="T68" fmla="*/ 203 w 512"/>
              <a:gd name="T69" fmla="*/ 203 h 512"/>
              <a:gd name="T70" fmla="*/ 192 w 512"/>
              <a:gd name="T71" fmla="*/ 214 h 512"/>
              <a:gd name="T72" fmla="*/ 192 w 512"/>
              <a:gd name="T73" fmla="*/ 256 h 512"/>
              <a:gd name="T74" fmla="*/ 203 w 512"/>
              <a:gd name="T75" fmla="*/ 267 h 512"/>
              <a:gd name="T76" fmla="*/ 224 w 512"/>
              <a:gd name="T77" fmla="*/ 267 h 512"/>
              <a:gd name="T78" fmla="*/ 224 w 512"/>
              <a:gd name="T79" fmla="*/ 352 h 512"/>
              <a:gd name="T80" fmla="*/ 192 w 512"/>
              <a:gd name="T81" fmla="*/ 352 h 512"/>
              <a:gd name="T82" fmla="*/ 181 w 512"/>
              <a:gd name="T83" fmla="*/ 363 h 512"/>
              <a:gd name="T84" fmla="*/ 181 w 512"/>
              <a:gd name="T85" fmla="*/ 406 h 512"/>
              <a:gd name="T86" fmla="*/ 192 w 512"/>
              <a:gd name="T87" fmla="*/ 416 h 512"/>
              <a:gd name="T88" fmla="*/ 320 w 512"/>
              <a:gd name="T89" fmla="*/ 416 h 512"/>
              <a:gd name="T90" fmla="*/ 331 w 512"/>
              <a:gd name="T91" fmla="*/ 406 h 512"/>
              <a:gd name="T92" fmla="*/ 331 w 512"/>
              <a:gd name="T93" fmla="*/ 36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12" h="512">
                <a:moveTo>
                  <a:pt x="235" y="139"/>
                </a:moveTo>
                <a:cubicBezTo>
                  <a:pt x="235" y="127"/>
                  <a:pt x="244" y="118"/>
                  <a:pt x="256" y="118"/>
                </a:cubicBezTo>
                <a:cubicBezTo>
                  <a:pt x="268" y="118"/>
                  <a:pt x="277" y="127"/>
                  <a:pt x="277" y="139"/>
                </a:cubicBezTo>
                <a:cubicBezTo>
                  <a:pt x="277" y="151"/>
                  <a:pt x="268" y="160"/>
                  <a:pt x="256" y="160"/>
                </a:cubicBezTo>
                <a:cubicBezTo>
                  <a:pt x="244" y="160"/>
                  <a:pt x="235" y="151"/>
                  <a:pt x="235" y="139"/>
                </a:cubicBezTo>
                <a:close/>
                <a:moveTo>
                  <a:pt x="267" y="363"/>
                </a:moveTo>
                <a:cubicBezTo>
                  <a:pt x="267" y="224"/>
                  <a:pt x="267" y="224"/>
                  <a:pt x="267" y="224"/>
                </a:cubicBezTo>
                <a:cubicBezTo>
                  <a:pt x="213" y="224"/>
                  <a:pt x="213" y="224"/>
                  <a:pt x="213" y="224"/>
                </a:cubicBezTo>
                <a:cubicBezTo>
                  <a:pt x="213" y="246"/>
                  <a:pt x="213" y="246"/>
                  <a:pt x="213" y="246"/>
                </a:cubicBezTo>
                <a:cubicBezTo>
                  <a:pt x="235" y="246"/>
                  <a:pt x="235" y="246"/>
                  <a:pt x="235" y="246"/>
                </a:cubicBezTo>
                <a:cubicBezTo>
                  <a:pt x="241" y="246"/>
                  <a:pt x="245" y="250"/>
                  <a:pt x="245" y="256"/>
                </a:cubicBezTo>
                <a:cubicBezTo>
                  <a:pt x="245" y="363"/>
                  <a:pt x="245" y="363"/>
                  <a:pt x="245" y="363"/>
                </a:cubicBezTo>
                <a:cubicBezTo>
                  <a:pt x="245" y="369"/>
                  <a:pt x="241" y="374"/>
                  <a:pt x="235" y="374"/>
                </a:cubicBezTo>
                <a:cubicBezTo>
                  <a:pt x="203" y="374"/>
                  <a:pt x="203" y="374"/>
                  <a:pt x="203" y="374"/>
                </a:cubicBezTo>
                <a:cubicBezTo>
                  <a:pt x="203" y="395"/>
                  <a:pt x="203" y="395"/>
                  <a:pt x="203" y="395"/>
                </a:cubicBezTo>
                <a:cubicBezTo>
                  <a:pt x="309" y="395"/>
                  <a:pt x="309" y="395"/>
                  <a:pt x="309" y="395"/>
                </a:cubicBezTo>
                <a:cubicBezTo>
                  <a:pt x="309" y="374"/>
                  <a:pt x="309" y="374"/>
                  <a:pt x="309" y="374"/>
                </a:cubicBezTo>
                <a:cubicBezTo>
                  <a:pt x="277" y="374"/>
                  <a:pt x="277" y="374"/>
                  <a:pt x="277" y="374"/>
                </a:cubicBezTo>
                <a:cubicBezTo>
                  <a:pt x="271" y="374"/>
                  <a:pt x="267" y="369"/>
                  <a:pt x="267" y="363"/>
                </a:cubicBez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213" y="139"/>
                </a:moveTo>
                <a:cubicBezTo>
                  <a:pt x="213" y="163"/>
                  <a:pt x="232" y="182"/>
                  <a:pt x="256" y="182"/>
                </a:cubicBezTo>
                <a:cubicBezTo>
                  <a:pt x="280" y="182"/>
                  <a:pt x="299" y="163"/>
                  <a:pt x="299" y="139"/>
                </a:cubicBezTo>
                <a:cubicBezTo>
                  <a:pt x="299" y="115"/>
                  <a:pt x="280" y="96"/>
                  <a:pt x="256" y="96"/>
                </a:cubicBezTo>
                <a:cubicBezTo>
                  <a:pt x="232" y="96"/>
                  <a:pt x="213" y="115"/>
                  <a:pt x="213" y="139"/>
                </a:cubicBezTo>
                <a:close/>
                <a:moveTo>
                  <a:pt x="331" y="363"/>
                </a:moveTo>
                <a:cubicBezTo>
                  <a:pt x="331" y="357"/>
                  <a:pt x="326" y="352"/>
                  <a:pt x="320" y="352"/>
                </a:cubicBezTo>
                <a:cubicBezTo>
                  <a:pt x="288" y="352"/>
                  <a:pt x="288" y="352"/>
                  <a:pt x="288" y="352"/>
                </a:cubicBezTo>
                <a:cubicBezTo>
                  <a:pt x="288" y="214"/>
                  <a:pt x="288" y="214"/>
                  <a:pt x="288" y="214"/>
                </a:cubicBezTo>
                <a:cubicBezTo>
                  <a:pt x="288" y="208"/>
                  <a:pt x="283" y="203"/>
                  <a:pt x="277" y="203"/>
                </a:cubicBezTo>
                <a:cubicBezTo>
                  <a:pt x="203" y="203"/>
                  <a:pt x="203" y="203"/>
                  <a:pt x="203" y="203"/>
                </a:cubicBezTo>
                <a:cubicBezTo>
                  <a:pt x="197" y="203"/>
                  <a:pt x="192" y="208"/>
                  <a:pt x="192" y="214"/>
                </a:cubicBezTo>
                <a:cubicBezTo>
                  <a:pt x="192" y="256"/>
                  <a:pt x="192" y="256"/>
                  <a:pt x="192" y="256"/>
                </a:cubicBezTo>
                <a:cubicBezTo>
                  <a:pt x="192" y="262"/>
                  <a:pt x="197" y="267"/>
                  <a:pt x="203" y="267"/>
                </a:cubicBezTo>
                <a:cubicBezTo>
                  <a:pt x="224" y="267"/>
                  <a:pt x="224" y="267"/>
                  <a:pt x="224" y="267"/>
                </a:cubicBezTo>
                <a:cubicBezTo>
                  <a:pt x="224" y="352"/>
                  <a:pt x="224" y="352"/>
                  <a:pt x="224" y="352"/>
                </a:cubicBezTo>
                <a:cubicBezTo>
                  <a:pt x="192" y="352"/>
                  <a:pt x="192" y="352"/>
                  <a:pt x="192" y="352"/>
                </a:cubicBezTo>
                <a:cubicBezTo>
                  <a:pt x="186" y="352"/>
                  <a:pt x="181" y="357"/>
                  <a:pt x="181" y="363"/>
                </a:cubicBezTo>
                <a:cubicBezTo>
                  <a:pt x="181" y="406"/>
                  <a:pt x="181" y="406"/>
                  <a:pt x="181" y="406"/>
                </a:cubicBezTo>
                <a:cubicBezTo>
                  <a:pt x="181" y="412"/>
                  <a:pt x="186" y="416"/>
                  <a:pt x="192" y="416"/>
                </a:cubicBezTo>
                <a:cubicBezTo>
                  <a:pt x="320" y="416"/>
                  <a:pt x="320" y="416"/>
                  <a:pt x="320" y="416"/>
                </a:cubicBezTo>
                <a:cubicBezTo>
                  <a:pt x="326" y="416"/>
                  <a:pt x="331" y="412"/>
                  <a:pt x="331" y="406"/>
                </a:cubicBezTo>
                <a:lnTo>
                  <a:pt x="331" y="363"/>
                </a:lnTo>
                <a:close/>
              </a:path>
            </a:pathLst>
          </a:custGeom>
          <a:solidFill>
            <a:srgbClr val="006B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7" name="CustomShape 3">
            <a:extLst>
              <a:ext uri="{FF2B5EF4-FFF2-40B4-BE49-F238E27FC236}">
                <a16:creationId xmlns:a16="http://schemas.microsoft.com/office/drawing/2014/main" id="{4BC9C766-0171-4316-9FE5-1742D5543257}"/>
              </a:ext>
            </a:extLst>
          </p:cNvPr>
          <p:cNvSpPr/>
          <p:nvPr/>
        </p:nvSpPr>
        <p:spPr>
          <a:xfrm>
            <a:off x="884315" y="222120"/>
            <a:ext cx="8665560" cy="516600"/>
          </a:xfrm>
          <a:prstGeom prst="rect">
            <a:avLst/>
          </a:prstGeom>
          <a:noFill/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r">
              <a:lnSpc>
                <a:spcPct val="100000"/>
              </a:lnSpc>
            </a:pPr>
            <a:r>
              <a:rPr lang="it-IT" sz="2800" b="1" strike="noStrike" spc="-1" dirty="0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libri"/>
                <a:ea typeface="DejaVu Sans"/>
              </a:rPr>
              <a:t>Supporto per gli Operatori Economici</a:t>
            </a:r>
            <a:endParaRPr lang="it-IT" sz="1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277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"/>
          <p:cNvSpPr>
            <a:spLocks noChangeArrowheads="1"/>
          </p:cNvSpPr>
          <p:nvPr/>
        </p:nvSpPr>
        <p:spPr bwMode="auto">
          <a:xfrm>
            <a:off x="1047750" y="222250"/>
            <a:ext cx="8513763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eaLnBrk="0" hangingPunct="0">
              <a:buClr>
                <a:srgbClr val="CC0000"/>
              </a:buClr>
              <a:buSzPct val="70000"/>
              <a:buFont typeface="Wingdings" pitchFamily="2" charset="2"/>
              <a:buNone/>
            </a:pPr>
            <a:r>
              <a:rPr lang="it-IT" sz="28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 nuovi profili compatibili con NSO</a:t>
            </a:r>
            <a:endParaRPr lang="it-IT" sz="1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1165769" y="3402830"/>
            <a:ext cx="8312619" cy="1397684"/>
            <a:chOff x="1248894" y="4039622"/>
            <a:chExt cx="8312620" cy="1397684"/>
          </a:xfrm>
        </p:grpSpPr>
        <p:grpSp>
          <p:nvGrpSpPr>
            <p:cNvPr id="63" name="Group 62"/>
            <p:cNvGrpSpPr/>
            <p:nvPr/>
          </p:nvGrpSpPr>
          <p:grpSpPr>
            <a:xfrm>
              <a:off x="1248894" y="4039622"/>
              <a:ext cx="8312620" cy="680374"/>
              <a:chOff x="1235895" y="4613144"/>
              <a:chExt cx="8325617" cy="680374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2024920" y="4768666"/>
                <a:ext cx="7536592" cy="3693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tabLst>
                    <a:tab pos="6729413" algn="r"/>
                  </a:tabLst>
                </a:pPr>
                <a:r>
                  <a:rPr lang="it-IT" sz="1800" b="1" dirty="0" smtClean="0">
                    <a:solidFill>
                      <a:srgbClr val="007E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Ordine con Risposta</a:t>
                </a:r>
                <a:endParaRPr lang="it-IT" sz="1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grpSp>
            <p:nvGrpSpPr>
              <p:cNvPr id="40" name="Group 39"/>
              <p:cNvGrpSpPr>
                <a:grpSpLocks noChangeAspect="1"/>
              </p:cNvGrpSpPr>
              <p:nvPr/>
            </p:nvGrpSpPr>
            <p:grpSpPr>
              <a:xfrm>
                <a:off x="1235895" y="4613144"/>
                <a:ext cx="747989" cy="680374"/>
                <a:chOff x="2222533" y="4516844"/>
                <a:chExt cx="747989" cy="680374"/>
              </a:xfrm>
            </p:grpSpPr>
            <p:sp>
              <p:nvSpPr>
                <p:cNvPr id="16" name="Freeform 417"/>
                <p:cNvSpPr>
                  <a:spLocks noEditPoints="1"/>
                </p:cNvSpPr>
                <p:nvPr/>
              </p:nvSpPr>
              <p:spPr bwMode="auto">
                <a:xfrm>
                  <a:off x="2405229" y="4676216"/>
                  <a:ext cx="382596" cy="361631"/>
                </a:xfrm>
                <a:custGeom>
                  <a:avLst/>
                  <a:gdLst>
                    <a:gd name="T0" fmla="*/ 68 w 163"/>
                    <a:gd name="T1" fmla="*/ 25 h 154"/>
                    <a:gd name="T2" fmla="*/ 68 w 163"/>
                    <a:gd name="T3" fmla="*/ 11 h 154"/>
                    <a:gd name="T4" fmla="*/ 68 w 163"/>
                    <a:gd name="T5" fmla="*/ 8 h 154"/>
                    <a:gd name="T6" fmla="*/ 67 w 163"/>
                    <a:gd name="T7" fmla="*/ 8 h 154"/>
                    <a:gd name="T8" fmla="*/ 67 w 163"/>
                    <a:gd name="T9" fmla="*/ 6 h 154"/>
                    <a:gd name="T10" fmla="*/ 66 w 163"/>
                    <a:gd name="T11" fmla="*/ 5 h 154"/>
                    <a:gd name="T12" fmla="*/ 65 w 163"/>
                    <a:gd name="T13" fmla="*/ 3 h 154"/>
                    <a:gd name="T14" fmla="*/ 64 w 163"/>
                    <a:gd name="T15" fmla="*/ 3 h 154"/>
                    <a:gd name="T16" fmla="*/ 62 w 163"/>
                    <a:gd name="T17" fmla="*/ 1 h 154"/>
                    <a:gd name="T18" fmla="*/ 50 w 163"/>
                    <a:gd name="T19" fmla="*/ 3 h 154"/>
                    <a:gd name="T20" fmla="*/ 4 w 163"/>
                    <a:gd name="T21" fmla="*/ 43 h 154"/>
                    <a:gd name="T22" fmla="*/ 0 w 163"/>
                    <a:gd name="T23" fmla="*/ 52 h 154"/>
                    <a:gd name="T24" fmla="*/ 4 w 163"/>
                    <a:gd name="T25" fmla="*/ 60 h 154"/>
                    <a:gd name="T26" fmla="*/ 51 w 163"/>
                    <a:gd name="T27" fmla="*/ 101 h 154"/>
                    <a:gd name="T28" fmla="*/ 57 w 163"/>
                    <a:gd name="T29" fmla="*/ 104 h 154"/>
                    <a:gd name="T30" fmla="*/ 58 w 163"/>
                    <a:gd name="T31" fmla="*/ 104 h 154"/>
                    <a:gd name="T32" fmla="*/ 59 w 163"/>
                    <a:gd name="T33" fmla="*/ 103 h 154"/>
                    <a:gd name="T34" fmla="*/ 62 w 163"/>
                    <a:gd name="T35" fmla="*/ 102 h 154"/>
                    <a:gd name="T36" fmla="*/ 68 w 163"/>
                    <a:gd name="T37" fmla="*/ 93 h 154"/>
                    <a:gd name="T38" fmla="*/ 68 w 163"/>
                    <a:gd name="T39" fmla="*/ 79 h 154"/>
                    <a:gd name="T40" fmla="*/ 123 w 163"/>
                    <a:gd name="T41" fmla="*/ 112 h 154"/>
                    <a:gd name="T42" fmla="*/ 100 w 163"/>
                    <a:gd name="T43" fmla="*/ 138 h 154"/>
                    <a:gd name="T44" fmla="*/ 96 w 163"/>
                    <a:gd name="T45" fmla="*/ 149 h 154"/>
                    <a:gd name="T46" fmla="*/ 104 w 163"/>
                    <a:gd name="T47" fmla="*/ 154 h 154"/>
                    <a:gd name="T48" fmla="*/ 106 w 163"/>
                    <a:gd name="T49" fmla="*/ 154 h 154"/>
                    <a:gd name="T50" fmla="*/ 163 w 163"/>
                    <a:gd name="T51" fmla="*/ 94 h 154"/>
                    <a:gd name="T52" fmla="*/ 68 w 163"/>
                    <a:gd name="T53" fmla="*/ 25 h 154"/>
                    <a:gd name="T54" fmla="*/ 119 w 163"/>
                    <a:gd name="T55" fmla="*/ 138 h 154"/>
                    <a:gd name="T56" fmla="*/ 133 w 163"/>
                    <a:gd name="T57" fmla="*/ 112 h 154"/>
                    <a:gd name="T58" fmla="*/ 63 w 163"/>
                    <a:gd name="T59" fmla="*/ 69 h 154"/>
                    <a:gd name="T60" fmla="*/ 58 w 163"/>
                    <a:gd name="T61" fmla="*/ 69 h 154"/>
                    <a:gd name="T62" fmla="*/ 58 w 163"/>
                    <a:gd name="T63" fmla="*/ 93 h 154"/>
                    <a:gd name="T64" fmla="*/ 58 w 163"/>
                    <a:gd name="T65" fmla="*/ 94 h 154"/>
                    <a:gd name="T66" fmla="*/ 57 w 163"/>
                    <a:gd name="T67" fmla="*/ 94 h 154"/>
                    <a:gd name="T68" fmla="*/ 57 w 163"/>
                    <a:gd name="T69" fmla="*/ 94 h 154"/>
                    <a:gd name="T70" fmla="*/ 10 w 163"/>
                    <a:gd name="T71" fmla="*/ 53 h 154"/>
                    <a:gd name="T72" fmla="*/ 9 w 163"/>
                    <a:gd name="T73" fmla="*/ 52 h 154"/>
                    <a:gd name="T74" fmla="*/ 10 w 163"/>
                    <a:gd name="T75" fmla="*/ 51 h 154"/>
                    <a:gd name="T76" fmla="*/ 56 w 163"/>
                    <a:gd name="T77" fmla="*/ 10 h 154"/>
                    <a:gd name="T78" fmla="*/ 58 w 163"/>
                    <a:gd name="T79" fmla="*/ 10 h 154"/>
                    <a:gd name="T80" fmla="*/ 58 w 163"/>
                    <a:gd name="T81" fmla="*/ 11 h 154"/>
                    <a:gd name="T82" fmla="*/ 58 w 163"/>
                    <a:gd name="T83" fmla="*/ 11 h 154"/>
                    <a:gd name="T84" fmla="*/ 58 w 163"/>
                    <a:gd name="T85" fmla="*/ 34 h 154"/>
                    <a:gd name="T86" fmla="*/ 63 w 163"/>
                    <a:gd name="T87" fmla="*/ 34 h 154"/>
                    <a:gd name="T88" fmla="*/ 153 w 163"/>
                    <a:gd name="T89" fmla="*/ 94 h 154"/>
                    <a:gd name="T90" fmla="*/ 119 w 163"/>
                    <a:gd name="T91" fmla="*/ 138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63" h="154">
                      <a:moveTo>
                        <a:pt x="68" y="25"/>
                      </a:moveTo>
                      <a:cubicBezTo>
                        <a:pt x="68" y="11"/>
                        <a:pt x="68" y="11"/>
                        <a:pt x="68" y="11"/>
                      </a:cubicBezTo>
                      <a:cubicBezTo>
                        <a:pt x="68" y="10"/>
                        <a:pt x="68" y="9"/>
                        <a:pt x="68" y="8"/>
                      </a:cubicBezTo>
                      <a:cubicBezTo>
                        <a:pt x="67" y="8"/>
                        <a:pt x="67" y="8"/>
                        <a:pt x="67" y="8"/>
                      </a:cubicBezTo>
                      <a:cubicBezTo>
                        <a:pt x="67" y="7"/>
                        <a:pt x="67" y="6"/>
                        <a:pt x="67" y="6"/>
                      </a:cubicBezTo>
                      <a:cubicBezTo>
                        <a:pt x="66" y="5"/>
                        <a:pt x="66" y="5"/>
                        <a:pt x="66" y="5"/>
                      </a:cubicBezTo>
                      <a:cubicBezTo>
                        <a:pt x="66" y="5"/>
                        <a:pt x="65" y="4"/>
                        <a:pt x="65" y="3"/>
                      </a:cubicBezTo>
                      <a:cubicBezTo>
                        <a:pt x="64" y="3"/>
                        <a:pt x="64" y="3"/>
                        <a:pt x="64" y="3"/>
                      </a:cubicBezTo>
                      <a:cubicBezTo>
                        <a:pt x="63" y="2"/>
                        <a:pt x="63" y="2"/>
                        <a:pt x="62" y="1"/>
                      </a:cubicBezTo>
                      <a:cubicBezTo>
                        <a:pt x="58" y="0"/>
                        <a:pt x="54" y="0"/>
                        <a:pt x="50" y="3"/>
                      </a:cubicBezTo>
                      <a:cubicBezTo>
                        <a:pt x="4" y="43"/>
                        <a:pt x="4" y="43"/>
                        <a:pt x="4" y="43"/>
                      </a:cubicBezTo>
                      <a:cubicBezTo>
                        <a:pt x="1" y="45"/>
                        <a:pt x="0" y="48"/>
                        <a:pt x="0" y="52"/>
                      </a:cubicBezTo>
                      <a:cubicBezTo>
                        <a:pt x="0" y="55"/>
                        <a:pt x="1" y="59"/>
                        <a:pt x="4" y="60"/>
                      </a:cubicBezTo>
                      <a:cubicBezTo>
                        <a:pt x="51" y="101"/>
                        <a:pt x="51" y="101"/>
                        <a:pt x="51" y="101"/>
                      </a:cubicBezTo>
                      <a:cubicBezTo>
                        <a:pt x="52" y="103"/>
                        <a:pt x="55" y="104"/>
                        <a:pt x="57" y="104"/>
                      </a:cubicBezTo>
                      <a:cubicBezTo>
                        <a:pt x="58" y="104"/>
                        <a:pt x="58" y="104"/>
                        <a:pt x="58" y="104"/>
                      </a:cubicBezTo>
                      <a:cubicBezTo>
                        <a:pt x="58" y="103"/>
                        <a:pt x="59" y="103"/>
                        <a:pt x="59" y="103"/>
                      </a:cubicBezTo>
                      <a:cubicBezTo>
                        <a:pt x="60" y="103"/>
                        <a:pt x="61" y="103"/>
                        <a:pt x="62" y="102"/>
                      </a:cubicBezTo>
                      <a:cubicBezTo>
                        <a:pt x="66" y="101"/>
                        <a:pt x="68" y="97"/>
                        <a:pt x="68" y="93"/>
                      </a:cubicBezTo>
                      <a:cubicBezTo>
                        <a:pt x="68" y="79"/>
                        <a:pt x="68" y="79"/>
                        <a:pt x="68" y="79"/>
                      </a:cubicBezTo>
                      <a:cubicBezTo>
                        <a:pt x="100" y="82"/>
                        <a:pt x="123" y="96"/>
                        <a:pt x="123" y="112"/>
                      </a:cubicBezTo>
                      <a:cubicBezTo>
                        <a:pt x="123" y="122"/>
                        <a:pt x="115" y="132"/>
                        <a:pt x="100" y="138"/>
                      </a:cubicBezTo>
                      <a:cubicBezTo>
                        <a:pt x="96" y="140"/>
                        <a:pt x="94" y="145"/>
                        <a:pt x="96" y="149"/>
                      </a:cubicBezTo>
                      <a:cubicBezTo>
                        <a:pt x="97" y="152"/>
                        <a:pt x="100" y="154"/>
                        <a:pt x="104" y="154"/>
                      </a:cubicBezTo>
                      <a:cubicBezTo>
                        <a:pt x="105" y="154"/>
                        <a:pt x="105" y="154"/>
                        <a:pt x="106" y="154"/>
                      </a:cubicBezTo>
                      <a:cubicBezTo>
                        <a:pt x="142" y="141"/>
                        <a:pt x="163" y="119"/>
                        <a:pt x="163" y="94"/>
                      </a:cubicBezTo>
                      <a:cubicBezTo>
                        <a:pt x="163" y="60"/>
                        <a:pt x="123" y="32"/>
                        <a:pt x="68" y="25"/>
                      </a:cubicBezTo>
                      <a:close/>
                      <a:moveTo>
                        <a:pt x="119" y="138"/>
                      </a:moveTo>
                      <a:cubicBezTo>
                        <a:pt x="128" y="131"/>
                        <a:pt x="133" y="122"/>
                        <a:pt x="133" y="112"/>
                      </a:cubicBezTo>
                      <a:cubicBezTo>
                        <a:pt x="133" y="90"/>
                        <a:pt x="104" y="72"/>
                        <a:pt x="63" y="69"/>
                      </a:cubicBezTo>
                      <a:cubicBezTo>
                        <a:pt x="58" y="69"/>
                        <a:pt x="58" y="69"/>
                        <a:pt x="58" y="69"/>
                      </a:cubicBezTo>
                      <a:cubicBezTo>
                        <a:pt x="58" y="93"/>
                        <a:pt x="58" y="93"/>
                        <a:pt x="58" y="93"/>
                      </a:cubicBezTo>
                      <a:cubicBezTo>
                        <a:pt x="58" y="93"/>
                        <a:pt x="58" y="94"/>
                        <a:pt x="58" y="94"/>
                      </a:cubicBezTo>
                      <a:cubicBezTo>
                        <a:pt x="57" y="94"/>
                        <a:pt x="57" y="94"/>
                        <a:pt x="57" y="94"/>
                      </a:cubicBezTo>
                      <a:cubicBezTo>
                        <a:pt x="57" y="94"/>
                        <a:pt x="56" y="94"/>
                        <a:pt x="57" y="94"/>
                      </a:cubicBezTo>
                      <a:cubicBezTo>
                        <a:pt x="10" y="53"/>
                        <a:pt x="10" y="53"/>
                        <a:pt x="10" y="53"/>
                      </a:cubicBezTo>
                      <a:cubicBezTo>
                        <a:pt x="9" y="53"/>
                        <a:pt x="9" y="52"/>
                        <a:pt x="9" y="52"/>
                      </a:cubicBezTo>
                      <a:cubicBezTo>
                        <a:pt x="9" y="52"/>
                        <a:pt x="9" y="51"/>
                        <a:pt x="10" y="51"/>
                      </a:cubicBezTo>
                      <a:cubicBezTo>
                        <a:pt x="56" y="10"/>
                        <a:pt x="56" y="10"/>
                        <a:pt x="56" y="10"/>
                      </a:cubicBezTo>
                      <a:cubicBezTo>
                        <a:pt x="57" y="10"/>
                        <a:pt x="57" y="10"/>
                        <a:pt x="58" y="10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8" y="34"/>
                        <a:pt x="58" y="34"/>
                        <a:pt x="58" y="34"/>
                      </a:cubicBezTo>
                      <a:cubicBezTo>
                        <a:pt x="63" y="34"/>
                        <a:pt x="63" y="34"/>
                        <a:pt x="63" y="34"/>
                      </a:cubicBezTo>
                      <a:cubicBezTo>
                        <a:pt x="116" y="39"/>
                        <a:pt x="153" y="65"/>
                        <a:pt x="153" y="94"/>
                      </a:cubicBezTo>
                      <a:cubicBezTo>
                        <a:pt x="153" y="111"/>
                        <a:pt x="141" y="127"/>
                        <a:pt x="119" y="138"/>
                      </a:cubicBezTo>
                      <a:close/>
                    </a:path>
                  </a:pathLst>
                </a:custGeom>
                <a:solidFill>
                  <a:srgbClr val="007E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3" name="Freeform 277"/>
                <p:cNvSpPr>
                  <a:spLocks noChangeAspect="1" noEditPoints="1"/>
                </p:cNvSpPr>
                <p:nvPr/>
              </p:nvSpPr>
              <p:spPr bwMode="auto">
                <a:xfrm>
                  <a:off x="2222533" y="4516844"/>
                  <a:ext cx="747989" cy="680374"/>
                </a:xfrm>
                <a:custGeom>
                  <a:avLst/>
                  <a:gdLst>
                    <a:gd name="T0" fmla="*/ 222 w 269"/>
                    <a:gd name="T1" fmla="*/ 36 h 245"/>
                    <a:gd name="T2" fmla="*/ 135 w 269"/>
                    <a:gd name="T3" fmla="*/ 0 h 245"/>
                    <a:gd name="T4" fmla="*/ 48 w 269"/>
                    <a:gd name="T5" fmla="*/ 36 h 245"/>
                    <a:gd name="T6" fmla="*/ 48 w 269"/>
                    <a:gd name="T7" fmla="*/ 209 h 245"/>
                    <a:gd name="T8" fmla="*/ 135 w 269"/>
                    <a:gd name="T9" fmla="*/ 245 h 245"/>
                    <a:gd name="T10" fmla="*/ 135 w 269"/>
                    <a:gd name="T11" fmla="*/ 245 h 245"/>
                    <a:gd name="T12" fmla="*/ 222 w 269"/>
                    <a:gd name="T13" fmla="*/ 209 h 245"/>
                    <a:gd name="T14" fmla="*/ 222 w 269"/>
                    <a:gd name="T15" fmla="*/ 36 h 245"/>
                    <a:gd name="T16" fmla="*/ 215 w 269"/>
                    <a:gd name="T17" fmla="*/ 202 h 245"/>
                    <a:gd name="T18" fmla="*/ 135 w 269"/>
                    <a:gd name="T19" fmla="*/ 235 h 245"/>
                    <a:gd name="T20" fmla="*/ 135 w 269"/>
                    <a:gd name="T21" fmla="*/ 235 h 245"/>
                    <a:gd name="T22" fmla="*/ 55 w 269"/>
                    <a:gd name="T23" fmla="*/ 202 h 245"/>
                    <a:gd name="T24" fmla="*/ 55 w 269"/>
                    <a:gd name="T25" fmla="*/ 43 h 245"/>
                    <a:gd name="T26" fmla="*/ 135 w 269"/>
                    <a:gd name="T27" fmla="*/ 10 h 245"/>
                    <a:gd name="T28" fmla="*/ 215 w 269"/>
                    <a:gd name="T29" fmla="*/ 43 h 245"/>
                    <a:gd name="T30" fmla="*/ 215 w 269"/>
                    <a:gd name="T31" fmla="*/ 202 h 2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69" h="245">
                      <a:moveTo>
                        <a:pt x="222" y="36"/>
                      </a:moveTo>
                      <a:cubicBezTo>
                        <a:pt x="198" y="13"/>
                        <a:pt x="168" y="0"/>
                        <a:pt x="135" y="0"/>
                      </a:cubicBezTo>
                      <a:cubicBezTo>
                        <a:pt x="102" y="0"/>
                        <a:pt x="71" y="13"/>
                        <a:pt x="48" y="36"/>
                      </a:cubicBezTo>
                      <a:cubicBezTo>
                        <a:pt x="0" y="84"/>
                        <a:pt x="0" y="161"/>
                        <a:pt x="48" y="209"/>
                      </a:cubicBezTo>
                      <a:cubicBezTo>
                        <a:pt x="71" y="232"/>
                        <a:pt x="102" y="245"/>
                        <a:pt x="135" y="245"/>
                      </a:cubicBezTo>
                      <a:cubicBezTo>
                        <a:pt x="135" y="245"/>
                        <a:pt x="135" y="245"/>
                        <a:pt x="135" y="245"/>
                      </a:cubicBezTo>
                      <a:cubicBezTo>
                        <a:pt x="168" y="245"/>
                        <a:pt x="198" y="232"/>
                        <a:pt x="222" y="209"/>
                      </a:cubicBezTo>
                      <a:cubicBezTo>
                        <a:pt x="269" y="161"/>
                        <a:pt x="269" y="84"/>
                        <a:pt x="222" y="36"/>
                      </a:cubicBezTo>
                      <a:close/>
                      <a:moveTo>
                        <a:pt x="215" y="202"/>
                      </a:moveTo>
                      <a:cubicBezTo>
                        <a:pt x="193" y="223"/>
                        <a:pt x="165" y="235"/>
                        <a:pt x="135" y="235"/>
                      </a:cubicBezTo>
                      <a:cubicBezTo>
                        <a:pt x="135" y="235"/>
                        <a:pt x="135" y="235"/>
                        <a:pt x="135" y="235"/>
                      </a:cubicBezTo>
                      <a:cubicBezTo>
                        <a:pt x="105" y="235"/>
                        <a:pt x="76" y="223"/>
                        <a:pt x="55" y="202"/>
                      </a:cubicBezTo>
                      <a:cubicBezTo>
                        <a:pt x="11" y="158"/>
                        <a:pt x="11" y="87"/>
                        <a:pt x="55" y="43"/>
                      </a:cubicBezTo>
                      <a:cubicBezTo>
                        <a:pt x="76" y="21"/>
                        <a:pt x="105" y="10"/>
                        <a:pt x="135" y="10"/>
                      </a:cubicBezTo>
                      <a:cubicBezTo>
                        <a:pt x="165" y="10"/>
                        <a:pt x="193" y="21"/>
                        <a:pt x="215" y="43"/>
                      </a:cubicBezTo>
                      <a:cubicBezTo>
                        <a:pt x="258" y="87"/>
                        <a:pt x="258" y="158"/>
                        <a:pt x="215" y="202"/>
                      </a:cubicBezTo>
                      <a:close/>
                    </a:path>
                  </a:pathLst>
                </a:custGeom>
                <a:solidFill>
                  <a:srgbClr val="231F2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</p:grpSp>
        <p:sp>
          <p:nvSpPr>
            <p:cNvPr id="12" name="Rectangle 11"/>
            <p:cNvSpPr/>
            <p:nvPr/>
          </p:nvSpPr>
          <p:spPr>
            <a:xfrm>
              <a:off x="2047969" y="4513976"/>
              <a:ext cx="7513544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eaLnBrk="1" fontAlgn="auto" hangingPunct="1">
                <a:spcBef>
                  <a:spcPts val="0"/>
                </a:spcBef>
                <a:spcAft>
                  <a:spcPts val="0"/>
                </a:spcAft>
                <a:buSzPct val="100000"/>
                <a:tabLst>
                  <a:tab pos="6729413" algn="r"/>
                </a:tabLst>
              </a:pPr>
              <a:r>
                <a:rPr lang="it-IT" sz="1800" dirty="0">
                  <a:latin typeface="Calibri" panose="020F0502020204030204" pitchFamily="34" charset="0"/>
                  <a:cs typeface="Calibri" panose="020F0502020204030204" pitchFamily="34" charset="0"/>
                </a:rPr>
                <a:t>Documento rappresentativo dell’ordine di acquisto di beni e servizi  e del messaggio di risposta con cui il Fornitore accetta, declina o propone dei cambiamenti (Risposta con modifiche) all’Ordine ricevuto.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1165769" y="2131938"/>
            <a:ext cx="8312619" cy="1120499"/>
            <a:chOff x="1248894" y="2307169"/>
            <a:chExt cx="8312619" cy="1120499"/>
          </a:xfrm>
        </p:grpSpPr>
        <p:grpSp>
          <p:nvGrpSpPr>
            <p:cNvPr id="61" name="Group 60"/>
            <p:cNvGrpSpPr/>
            <p:nvPr/>
          </p:nvGrpSpPr>
          <p:grpSpPr>
            <a:xfrm>
              <a:off x="1248894" y="2307169"/>
              <a:ext cx="8312619" cy="680374"/>
              <a:chOff x="1235895" y="3235778"/>
              <a:chExt cx="8325617" cy="680374"/>
            </a:xfrm>
          </p:grpSpPr>
          <p:sp>
            <p:nvSpPr>
              <p:cNvPr id="4" name="Rectangle 3"/>
              <p:cNvSpPr/>
              <p:nvPr/>
            </p:nvSpPr>
            <p:spPr>
              <a:xfrm>
                <a:off x="2024919" y="3391299"/>
                <a:ext cx="7536593" cy="3693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SzPct val="100000"/>
                  <a:tabLst>
                    <a:tab pos="6729413" algn="r"/>
                  </a:tabLst>
                </a:pPr>
                <a:r>
                  <a:rPr lang="it-IT" sz="1800" b="1" dirty="0" smtClean="0">
                    <a:solidFill>
                      <a:srgbClr val="007E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Ordine  </a:t>
                </a:r>
                <a:r>
                  <a:rPr lang="it-IT" sz="1800" b="1" i="1" dirty="0">
                    <a:solidFill>
                      <a:srgbClr val="FF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- </a:t>
                </a:r>
                <a:r>
                  <a:rPr lang="it-IT" sz="1800" i="1" dirty="0">
                    <a:solidFill>
                      <a:srgbClr val="FF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già implementato in </a:t>
                </a:r>
                <a:r>
                  <a:rPr lang="it-IT" sz="1800" i="1" dirty="0" smtClean="0">
                    <a:solidFill>
                      <a:srgbClr val="FF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ER</a:t>
                </a:r>
                <a:endParaRPr lang="it-IT" sz="1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grpSp>
            <p:nvGrpSpPr>
              <p:cNvPr id="31" name="Group 30"/>
              <p:cNvGrpSpPr/>
              <p:nvPr/>
            </p:nvGrpSpPr>
            <p:grpSpPr>
              <a:xfrm>
                <a:off x="1235895" y="3235778"/>
                <a:ext cx="747989" cy="680374"/>
                <a:chOff x="883767" y="3477172"/>
                <a:chExt cx="747989" cy="680374"/>
              </a:xfrm>
            </p:grpSpPr>
            <p:grpSp>
              <p:nvGrpSpPr>
                <p:cNvPr id="7" name="Group 6"/>
                <p:cNvGrpSpPr/>
                <p:nvPr/>
              </p:nvGrpSpPr>
              <p:grpSpPr>
                <a:xfrm>
                  <a:off x="1020579" y="3629945"/>
                  <a:ext cx="411767" cy="370826"/>
                  <a:chOff x="3657600" y="4200526"/>
                  <a:chExt cx="776288" cy="661988"/>
                </a:xfrm>
                <a:solidFill>
                  <a:srgbClr val="007E00"/>
                </a:solidFill>
              </p:grpSpPr>
              <p:sp>
                <p:nvSpPr>
                  <p:cNvPr id="8" name="Freeform 62"/>
                  <p:cNvSpPr>
                    <a:spLocks noEditPoints="1"/>
                  </p:cNvSpPr>
                  <p:nvPr/>
                </p:nvSpPr>
                <p:spPr bwMode="auto">
                  <a:xfrm>
                    <a:off x="3657600" y="4200526"/>
                    <a:ext cx="776288" cy="661988"/>
                  </a:xfrm>
                  <a:custGeom>
                    <a:avLst/>
                    <a:gdLst>
                      <a:gd name="T0" fmla="*/ 186 w 187"/>
                      <a:gd name="T1" fmla="*/ 5 h 160"/>
                      <a:gd name="T2" fmla="*/ 183 w 187"/>
                      <a:gd name="T3" fmla="*/ 4 h 160"/>
                      <a:gd name="T4" fmla="*/ 66 w 187"/>
                      <a:gd name="T5" fmla="*/ 1 h 160"/>
                      <a:gd name="T6" fmla="*/ 62 w 187"/>
                      <a:gd name="T7" fmla="*/ 4 h 160"/>
                      <a:gd name="T8" fmla="*/ 42 w 187"/>
                      <a:gd name="T9" fmla="*/ 103 h 160"/>
                      <a:gd name="T10" fmla="*/ 44 w 187"/>
                      <a:gd name="T11" fmla="*/ 108 h 160"/>
                      <a:gd name="T12" fmla="*/ 49 w 187"/>
                      <a:gd name="T13" fmla="*/ 106 h 160"/>
                      <a:gd name="T14" fmla="*/ 69 w 187"/>
                      <a:gd name="T15" fmla="*/ 8 h 160"/>
                      <a:gd name="T16" fmla="*/ 179 w 187"/>
                      <a:gd name="T17" fmla="*/ 11 h 160"/>
                      <a:gd name="T18" fmla="*/ 139 w 187"/>
                      <a:gd name="T19" fmla="*/ 152 h 160"/>
                      <a:gd name="T20" fmla="*/ 110 w 187"/>
                      <a:gd name="T21" fmla="*/ 120 h 160"/>
                      <a:gd name="T22" fmla="*/ 107 w 187"/>
                      <a:gd name="T23" fmla="*/ 118 h 160"/>
                      <a:gd name="T24" fmla="*/ 4 w 187"/>
                      <a:gd name="T25" fmla="*/ 116 h 160"/>
                      <a:gd name="T26" fmla="*/ 1 w 187"/>
                      <a:gd name="T27" fmla="*/ 117 h 160"/>
                      <a:gd name="T28" fmla="*/ 0 w 187"/>
                      <a:gd name="T29" fmla="*/ 121 h 160"/>
                      <a:gd name="T30" fmla="*/ 37 w 187"/>
                      <a:gd name="T31" fmla="*/ 159 h 160"/>
                      <a:gd name="T32" fmla="*/ 137 w 187"/>
                      <a:gd name="T33" fmla="*/ 160 h 160"/>
                      <a:gd name="T34" fmla="*/ 137 w 187"/>
                      <a:gd name="T35" fmla="*/ 160 h 160"/>
                      <a:gd name="T36" fmla="*/ 139 w 187"/>
                      <a:gd name="T37" fmla="*/ 160 h 160"/>
                      <a:gd name="T38" fmla="*/ 140 w 187"/>
                      <a:gd name="T39" fmla="*/ 159 h 160"/>
                      <a:gd name="T40" fmla="*/ 187 w 187"/>
                      <a:gd name="T41" fmla="*/ 8 h 160"/>
                      <a:gd name="T42" fmla="*/ 186 w 187"/>
                      <a:gd name="T43" fmla="*/ 5 h 160"/>
                      <a:gd name="T44" fmla="*/ 37 w 187"/>
                      <a:gd name="T45" fmla="*/ 151 h 160"/>
                      <a:gd name="T46" fmla="*/ 9 w 187"/>
                      <a:gd name="T47" fmla="*/ 124 h 160"/>
                      <a:gd name="T48" fmla="*/ 105 w 187"/>
                      <a:gd name="T49" fmla="*/ 126 h 160"/>
                      <a:gd name="T50" fmla="*/ 122 w 187"/>
                      <a:gd name="T51" fmla="*/ 152 h 160"/>
                      <a:gd name="T52" fmla="*/ 37 w 187"/>
                      <a:gd name="T53" fmla="*/ 151 h 1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</a:cxnLst>
                    <a:rect l="0" t="0" r="r" b="b"/>
                    <a:pathLst>
                      <a:path w="187" h="160">
                        <a:moveTo>
                          <a:pt x="186" y="5"/>
                        </a:moveTo>
                        <a:cubicBezTo>
                          <a:pt x="185" y="4"/>
                          <a:pt x="184" y="4"/>
                          <a:pt x="183" y="4"/>
                        </a:cubicBezTo>
                        <a:cubicBezTo>
                          <a:pt x="66" y="1"/>
                          <a:pt x="66" y="1"/>
                          <a:pt x="66" y="1"/>
                        </a:cubicBezTo>
                        <a:cubicBezTo>
                          <a:pt x="64" y="0"/>
                          <a:pt x="62" y="2"/>
                          <a:pt x="62" y="4"/>
                        </a:cubicBezTo>
                        <a:cubicBezTo>
                          <a:pt x="62" y="5"/>
                          <a:pt x="58" y="68"/>
                          <a:pt x="42" y="103"/>
                        </a:cubicBezTo>
                        <a:cubicBezTo>
                          <a:pt x="41" y="105"/>
                          <a:pt x="42" y="107"/>
                          <a:pt x="44" y="108"/>
                        </a:cubicBezTo>
                        <a:cubicBezTo>
                          <a:pt x="45" y="109"/>
                          <a:pt x="48" y="108"/>
                          <a:pt x="49" y="106"/>
                        </a:cubicBezTo>
                        <a:cubicBezTo>
                          <a:pt x="63" y="75"/>
                          <a:pt x="68" y="23"/>
                          <a:pt x="69" y="8"/>
                        </a:cubicBezTo>
                        <a:cubicBezTo>
                          <a:pt x="179" y="11"/>
                          <a:pt x="179" y="11"/>
                          <a:pt x="179" y="11"/>
                        </a:cubicBezTo>
                        <a:cubicBezTo>
                          <a:pt x="173" y="77"/>
                          <a:pt x="158" y="149"/>
                          <a:pt x="139" y="152"/>
                        </a:cubicBezTo>
                        <a:cubicBezTo>
                          <a:pt x="131" y="153"/>
                          <a:pt x="121" y="142"/>
                          <a:pt x="110" y="120"/>
                        </a:cubicBezTo>
                        <a:cubicBezTo>
                          <a:pt x="110" y="119"/>
                          <a:pt x="108" y="118"/>
                          <a:pt x="107" y="118"/>
                        </a:cubicBezTo>
                        <a:cubicBezTo>
                          <a:pt x="4" y="116"/>
                          <a:pt x="4" y="116"/>
                          <a:pt x="4" y="116"/>
                        </a:cubicBezTo>
                        <a:cubicBezTo>
                          <a:pt x="3" y="116"/>
                          <a:pt x="1" y="116"/>
                          <a:pt x="1" y="117"/>
                        </a:cubicBezTo>
                        <a:cubicBezTo>
                          <a:pt x="0" y="118"/>
                          <a:pt x="0" y="119"/>
                          <a:pt x="0" y="121"/>
                        </a:cubicBezTo>
                        <a:cubicBezTo>
                          <a:pt x="0" y="122"/>
                          <a:pt x="8" y="158"/>
                          <a:pt x="37" y="159"/>
                        </a:cubicBezTo>
                        <a:cubicBezTo>
                          <a:pt x="71" y="159"/>
                          <a:pt x="136" y="160"/>
                          <a:pt x="137" y="160"/>
                        </a:cubicBezTo>
                        <a:cubicBezTo>
                          <a:pt x="137" y="160"/>
                          <a:pt x="137" y="160"/>
                          <a:pt x="137" y="160"/>
                        </a:cubicBezTo>
                        <a:cubicBezTo>
                          <a:pt x="138" y="160"/>
                          <a:pt x="138" y="160"/>
                          <a:pt x="139" y="160"/>
                        </a:cubicBezTo>
                        <a:cubicBezTo>
                          <a:pt x="139" y="160"/>
                          <a:pt x="139" y="160"/>
                          <a:pt x="140" y="159"/>
                        </a:cubicBezTo>
                        <a:cubicBezTo>
                          <a:pt x="172" y="154"/>
                          <a:pt x="184" y="42"/>
                          <a:pt x="187" y="8"/>
                        </a:cubicBezTo>
                        <a:cubicBezTo>
                          <a:pt x="187" y="7"/>
                          <a:pt x="186" y="6"/>
                          <a:pt x="186" y="5"/>
                        </a:cubicBezTo>
                        <a:close/>
                        <a:moveTo>
                          <a:pt x="37" y="151"/>
                        </a:moveTo>
                        <a:cubicBezTo>
                          <a:pt x="20" y="151"/>
                          <a:pt x="12" y="132"/>
                          <a:pt x="9" y="124"/>
                        </a:cubicBezTo>
                        <a:cubicBezTo>
                          <a:pt x="105" y="126"/>
                          <a:pt x="105" y="126"/>
                          <a:pt x="105" y="126"/>
                        </a:cubicBezTo>
                        <a:cubicBezTo>
                          <a:pt x="110" y="138"/>
                          <a:pt x="116" y="147"/>
                          <a:pt x="122" y="152"/>
                        </a:cubicBezTo>
                        <a:cubicBezTo>
                          <a:pt x="100" y="152"/>
                          <a:pt x="61" y="152"/>
                          <a:pt x="37" y="15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800" dirty="0">
                      <a:latin typeface="Calibri" panose="020F0502020204030204" pitchFamily="34" charset="0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9" name="Freeform 63"/>
                  <p:cNvSpPr>
                    <a:spLocks/>
                  </p:cNvSpPr>
                  <p:nvPr/>
                </p:nvSpPr>
                <p:spPr bwMode="auto">
                  <a:xfrm>
                    <a:off x="4014788" y="4344988"/>
                    <a:ext cx="277813" cy="41275"/>
                  </a:xfrm>
                  <a:custGeom>
                    <a:avLst/>
                    <a:gdLst>
                      <a:gd name="T0" fmla="*/ 63 w 67"/>
                      <a:gd name="T1" fmla="*/ 10 h 10"/>
                      <a:gd name="T2" fmla="*/ 64 w 67"/>
                      <a:gd name="T3" fmla="*/ 10 h 10"/>
                      <a:gd name="T4" fmla="*/ 67 w 67"/>
                      <a:gd name="T5" fmla="*/ 6 h 10"/>
                      <a:gd name="T6" fmla="*/ 64 w 67"/>
                      <a:gd name="T7" fmla="*/ 2 h 10"/>
                      <a:gd name="T8" fmla="*/ 4 w 67"/>
                      <a:gd name="T9" fmla="*/ 0 h 10"/>
                      <a:gd name="T10" fmla="*/ 0 w 67"/>
                      <a:gd name="T11" fmla="*/ 4 h 10"/>
                      <a:gd name="T12" fmla="*/ 4 w 67"/>
                      <a:gd name="T13" fmla="*/ 8 h 10"/>
                      <a:gd name="T14" fmla="*/ 63 w 67"/>
                      <a:gd name="T15" fmla="*/ 10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67" h="10">
                        <a:moveTo>
                          <a:pt x="63" y="10"/>
                        </a:moveTo>
                        <a:cubicBezTo>
                          <a:pt x="63" y="10"/>
                          <a:pt x="63" y="10"/>
                          <a:pt x="64" y="10"/>
                        </a:cubicBezTo>
                        <a:cubicBezTo>
                          <a:pt x="66" y="10"/>
                          <a:pt x="67" y="8"/>
                          <a:pt x="67" y="6"/>
                        </a:cubicBezTo>
                        <a:cubicBezTo>
                          <a:pt x="67" y="4"/>
                          <a:pt x="66" y="3"/>
                          <a:pt x="64" y="2"/>
                        </a:cubicBezTo>
                        <a:cubicBezTo>
                          <a:pt x="4" y="0"/>
                          <a:pt x="4" y="0"/>
                          <a:pt x="4" y="0"/>
                        </a:cubicBezTo>
                        <a:cubicBezTo>
                          <a:pt x="2" y="0"/>
                          <a:pt x="0" y="2"/>
                          <a:pt x="0" y="4"/>
                        </a:cubicBezTo>
                        <a:cubicBezTo>
                          <a:pt x="0" y="6"/>
                          <a:pt x="2" y="8"/>
                          <a:pt x="4" y="8"/>
                        </a:cubicBezTo>
                        <a:lnTo>
                          <a:pt x="63" y="1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800" dirty="0">
                      <a:latin typeface="Calibri" panose="020F0502020204030204" pitchFamily="34" charset="0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10" name="Freeform 64"/>
                  <p:cNvSpPr>
                    <a:spLocks/>
                  </p:cNvSpPr>
                  <p:nvPr/>
                </p:nvSpPr>
                <p:spPr bwMode="auto">
                  <a:xfrm>
                    <a:off x="3997325" y="4457701"/>
                    <a:ext cx="261938" cy="41275"/>
                  </a:xfrm>
                  <a:custGeom>
                    <a:avLst/>
                    <a:gdLst>
                      <a:gd name="T0" fmla="*/ 0 w 63"/>
                      <a:gd name="T1" fmla="*/ 4 h 10"/>
                      <a:gd name="T2" fmla="*/ 3 w 63"/>
                      <a:gd name="T3" fmla="*/ 8 h 10"/>
                      <a:gd name="T4" fmla="*/ 59 w 63"/>
                      <a:gd name="T5" fmla="*/ 10 h 10"/>
                      <a:gd name="T6" fmla="*/ 59 w 63"/>
                      <a:gd name="T7" fmla="*/ 10 h 10"/>
                      <a:gd name="T8" fmla="*/ 63 w 63"/>
                      <a:gd name="T9" fmla="*/ 6 h 10"/>
                      <a:gd name="T10" fmla="*/ 59 w 63"/>
                      <a:gd name="T11" fmla="*/ 2 h 10"/>
                      <a:gd name="T12" fmla="*/ 4 w 63"/>
                      <a:gd name="T13" fmla="*/ 0 h 10"/>
                      <a:gd name="T14" fmla="*/ 0 w 63"/>
                      <a:gd name="T15" fmla="*/ 4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63" h="10">
                        <a:moveTo>
                          <a:pt x="0" y="4"/>
                        </a:moveTo>
                        <a:cubicBezTo>
                          <a:pt x="0" y="6"/>
                          <a:pt x="1" y="8"/>
                          <a:pt x="3" y="8"/>
                        </a:cubicBezTo>
                        <a:cubicBezTo>
                          <a:pt x="59" y="10"/>
                          <a:pt x="59" y="10"/>
                          <a:pt x="59" y="10"/>
                        </a:cubicBezTo>
                        <a:cubicBezTo>
                          <a:pt x="59" y="10"/>
                          <a:pt x="59" y="10"/>
                          <a:pt x="59" y="10"/>
                        </a:cubicBezTo>
                        <a:cubicBezTo>
                          <a:pt x="61" y="10"/>
                          <a:pt x="63" y="8"/>
                          <a:pt x="63" y="6"/>
                        </a:cubicBezTo>
                        <a:cubicBezTo>
                          <a:pt x="63" y="4"/>
                          <a:pt x="61" y="2"/>
                          <a:pt x="59" y="2"/>
                        </a:cubicBezTo>
                        <a:cubicBezTo>
                          <a:pt x="4" y="0"/>
                          <a:pt x="4" y="0"/>
                          <a:pt x="4" y="0"/>
                        </a:cubicBezTo>
                        <a:cubicBezTo>
                          <a:pt x="1" y="0"/>
                          <a:pt x="0" y="2"/>
                          <a:pt x="0" y="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800" dirty="0">
                      <a:latin typeface="Calibri" panose="020F0502020204030204" pitchFamily="34" charset="0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11" name="Freeform 65"/>
                  <p:cNvSpPr>
                    <a:spLocks/>
                  </p:cNvSpPr>
                  <p:nvPr/>
                </p:nvSpPr>
                <p:spPr bwMode="auto">
                  <a:xfrm>
                    <a:off x="3968750" y="4568826"/>
                    <a:ext cx="161925" cy="36513"/>
                  </a:xfrm>
                  <a:custGeom>
                    <a:avLst/>
                    <a:gdLst>
                      <a:gd name="T0" fmla="*/ 0 w 39"/>
                      <a:gd name="T1" fmla="*/ 4 h 9"/>
                      <a:gd name="T2" fmla="*/ 3 w 39"/>
                      <a:gd name="T3" fmla="*/ 8 h 9"/>
                      <a:gd name="T4" fmla="*/ 35 w 39"/>
                      <a:gd name="T5" fmla="*/ 9 h 9"/>
                      <a:gd name="T6" fmla="*/ 35 w 39"/>
                      <a:gd name="T7" fmla="*/ 9 h 9"/>
                      <a:gd name="T8" fmla="*/ 39 w 39"/>
                      <a:gd name="T9" fmla="*/ 5 h 9"/>
                      <a:gd name="T10" fmla="*/ 35 w 39"/>
                      <a:gd name="T11" fmla="*/ 2 h 9"/>
                      <a:gd name="T12" fmla="*/ 4 w 39"/>
                      <a:gd name="T13" fmla="*/ 0 h 9"/>
                      <a:gd name="T14" fmla="*/ 0 w 39"/>
                      <a:gd name="T15" fmla="*/ 4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9" h="9">
                        <a:moveTo>
                          <a:pt x="0" y="4"/>
                        </a:moveTo>
                        <a:cubicBezTo>
                          <a:pt x="0" y="6"/>
                          <a:pt x="1" y="8"/>
                          <a:pt x="3" y="8"/>
                        </a:cubicBezTo>
                        <a:cubicBezTo>
                          <a:pt x="35" y="9"/>
                          <a:pt x="35" y="9"/>
                          <a:pt x="35" y="9"/>
                        </a:cubicBezTo>
                        <a:cubicBezTo>
                          <a:pt x="35" y="9"/>
                          <a:pt x="35" y="9"/>
                          <a:pt x="35" y="9"/>
                        </a:cubicBezTo>
                        <a:cubicBezTo>
                          <a:pt x="37" y="9"/>
                          <a:pt x="39" y="7"/>
                          <a:pt x="39" y="5"/>
                        </a:cubicBezTo>
                        <a:cubicBezTo>
                          <a:pt x="39" y="3"/>
                          <a:pt x="37" y="2"/>
                          <a:pt x="35" y="2"/>
                        </a:cubicBezTo>
                        <a:cubicBezTo>
                          <a:pt x="4" y="0"/>
                          <a:pt x="4" y="0"/>
                          <a:pt x="4" y="0"/>
                        </a:cubicBezTo>
                        <a:cubicBezTo>
                          <a:pt x="1" y="0"/>
                          <a:pt x="0" y="2"/>
                          <a:pt x="0" y="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800" dirty="0">
                      <a:latin typeface="Calibri" panose="020F0502020204030204" pitchFamily="34" charset="0"/>
                      <a:cs typeface="Calibri" panose="020F0502020204030204" pitchFamily="34" charset="0"/>
                    </a:endParaRPr>
                  </a:p>
                </p:txBody>
              </p:sp>
            </p:grpSp>
            <p:sp>
              <p:nvSpPr>
                <p:cNvPr id="24" name="Freeform 277"/>
                <p:cNvSpPr>
                  <a:spLocks noChangeAspect="1" noEditPoints="1"/>
                </p:cNvSpPr>
                <p:nvPr/>
              </p:nvSpPr>
              <p:spPr bwMode="auto">
                <a:xfrm>
                  <a:off x="883767" y="3477172"/>
                  <a:ext cx="747989" cy="680374"/>
                </a:xfrm>
                <a:custGeom>
                  <a:avLst/>
                  <a:gdLst>
                    <a:gd name="T0" fmla="*/ 222 w 269"/>
                    <a:gd name="T1" fmla="*/ 36 h 245"/>
                    <a:gd name="T2" fmla="*/ 135 w 269"/>
                    <a:gd name="T3" fmla="*/ 0 h 245"/>
                    <a:gd name="T4" fmla="*/ 48 w 269"/>
                    <a:gd name="T5" fmla="*/ 36 h 245"/>
                    <a:gd name="T6" fmla="*/ 48 w 269"/>
                    <a:gd name="T7" fmla="*/ 209 h 245"/>
                    <a:gd name="T8" fmla="*/ 135 w 269"/>
                    <a:gd name="T9" fmla="*/ 245 h 245"/>
                    <a:gd name="T10" fmla="*/ 135 w 269"/>
                    <a:gd name="T11" fmla="*/ 245 h 245"/>
                    <a:gd name="T12" fmla="*/ 222 w 269"/>
                    <a:gd name="T13" fmla="*/ 209 h 245"/>
                    <a:gd name="T14" fmla="*/ 222 w 269"/>
                    <a:gd name="T15" fmla="*/ 36 h 245"/>
                    <a:gd name="T16" fmla="*/ 215 w 269"/>
                    <a:gd name="T17" fmla="*/ 202 h 245"/>
                    <a:gd name="T18" fmla="*/ 135 w 269"/>
                    <a:gd name="T19" fmla="*/ 235 h 245"/>
                    <a:gd name="T20" fmla="*/ 135 w 269"/>
                    <a:gd name="T21" fmla="*/ 235 h 245"/>
                    <a:gd name="T22" fmla="*/ 55 w 269"/>
                    <a:gd name="T23" fmla="*/ 202 h 245"/>
                    <a:gd name="T24" fmla="*/ 55 w 269"/>
                    <a:gd name="T25" fmla="*/ 43 h 245"/>
                    <a:gd name="T26" fmla="*/ 135 w 269"/>
                    <a:gd name="T27" fmla="*/ 10 h 245"/>
                    <a:gd name="T28" fmla="*/ 215 w 269"/>
                    <a:gd name="T29" fmla="*/ 43 h 245"/>
                    <a:gd name="T30" fmla="*/ 215 w 269"/>
                    <a:gd name="T31" fmla="*/ 202 h 2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69" h="245">
                      <a:moveTo>
                        <a:pt x="222" y="36"/>
                      </a:moveTo>
                      <a:cubicBezTo>
                        <a:pt x="198" y="13"/>
                        <a:pt x="168" y="0"/>
                        <a:pt x="135" y="0"/>
                      </a:cubicBezTo>
                      <a:cubicBezTo>
                        <a:pt x="102" y="0"/>
                        <a:pt x="71" y="13"/>
                        <a:pt x="48" y="36"/>
                      </a:cubicBezTo>
                      <a:cubicBezTo>
                        <a:pt x="0" y="84"/>
                        <a:pt x="0" y="161"/>
                        <a:pt x="48" y="209"/>
                      </a:cubicBezTo>
                      <a:cubicBezTo>
                        <a:pt x="71" y="232"/>
                        <a:pt x="102" y="245"/>
                        <a:pt x="135" y="245"/>
                      </a:cubicBezTo>
                      <a:cubicBezTo>
                        <a:pt x="135" y="245"/>
                        <a:pt x="135" y="245"/>
                        <a:pt x="135" y="245"/>
                      </a:cubicBezTo>
                      <a:cubicBezTo>
                        <a:pt x="168" y="245"/>
                        <a:pt x="198" y="232"/>
                        <a:pt x="222" y="209"/>
                      </a:cubicBezTo>
                      <a:cubicBezTo>
                        <a:pt x="269" y="161"/>
                        <a:pt x="269" y="84"/>
                        <a:pt x="222" y="36"/>
                      </a:cubicBezTo>
                      <a:close/>
                      <a:moveTo>
                        <a:pt x="215" y="202"/>
                      </a:moveTo>
                      <a:cubicBezTo>
                        <a:pt x="193" y="223"/>
                        <a:pt x="165" y="235"/>
                        <a:pt x="135" y="235"/>
                      </a:cubicBezTo>
                      <a:cubicBezTo>
                        <a:pt x="135" y="235"/>
                        <a:pt x="135" y="235"/>
                        <a:pt x="135" y="235"/>
                      </a:cubicBezTo>
                      <a:cubicBezTo>
                        <a:pt x="105" y="235"/>
                        <a:pt x="76" y="223"/>
                        <a:pt x="55" y="202"/>
                      </a:cubicBezTo>
                      <a:cubicBezTo>
                        <a:pt x="11" y="158"/>
                        <a:pt x="11" y="87"/>
                        <a:pt x="55" y="43"/>
                      </a:cubicBezTo>
                      <a:cubicBezTo>
                        <a:pt x="76" y="21"/>
                        <a:pt x="105" y="10"/>
                        <a:pt x="135" y="10"/>
                      </a:cubicBezTo>
                      <a:cubicBezTo>
                        <a:pt x="165" y="10"/>
                        <a:pt x="193" y="21"/>
                        <a:pt x="215" y="43"/>
                      </a:cubicBezTo>
                      <a:cubicBezTo>
                        <a:pt x="258" y="87"/>
                        <a:pt x="258" y="158"/>
                        <a:pt x="215" y="202"/>
                      </a:cubicBezTo>
                      <a:close/>
                    </a:path>
                  </a:pathLst>
                </a:custGeom>
                <a:solidFill>
                  <a:srgbClr val="231F2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</p:grpSp>
        <p:sp>
          <p:nvSpPr>
            <p:cNvPr id="13" name="Rectangle 12"/>
            <p:cNvSpPr/>
            <p:nvPr/>
          </p:nvSpPr>
          <p:spPr>
            <a:xfrm>
              <a:off x="2047969" y="2781337"/>
              <a:ext cx="7490525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eaLnBrk="1" fontAlgn="auto" hangingPunct="1">
                <a:spcBef>
                  <a:spcPts val="0"/>
                </a:spcBef>
                <a:spcAft>
                  <a:spcPts val="0"/>
                </a:spcAft>
                <a:buSzPct val="100000"/>
                <a:tabLst>
                  <a:tab pos="6729413" algn="r"/>
                </a:tabLst>
              </a:pPr>
              <a:r>
                <a:rPr lang="it-IT" sz="1800" dirty="0">
                  <a:latin typeface="Calibri" panose="020F0502020204030204" pitchFamily="34" charset="0"/>
                  <a:cs typeface="Calibri" panose="020F0502020204030204" pitchFamily="34" charset="0"/>
                </a:rPr>
                <a:t>Documento rappresentativo dell’ordine di acquisto di beni e servizi emesso dal Cliente (Mittente) e indirizzato al Fornitore (Destinatario).</a:t>
              </a:r>
            </a:p>
          </p:txBody>
        </p:sp>
      </p:grpSp>
      <p:sp>
        <p:nvSpPr>
          <p:cNvPr id="32" name="Rectangle 31"/>
          <p:cNvSpPr/>
          <p:nvPr/>
        </p:nvSpPr>
        <p:spPr>
          <a:xfrm>
            <a:off x="1167827" y="1145844"/>
            <a:ext cx="83936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Nella 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SEZIONE TECNICA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di </a:t>
            </a:r>
            <a:r>
              <a:rPr lang="it-IT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Intercent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-ER sono state pubblicate le linee guida inerenti ai profili PEPPOL BIS 3.0 compatibili con il Nodo Smistamento Ordini.</a:t>
            </a:r>
            <a:endParaRPr lang="en-US" sz="1800" dirty="0"/>
          </a:p>
        </p:txBody>
      </p:sp>
      <p:sp>
        <p:nvSpPr>
          <p:cNvPr id="33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3935413" y="6511925"/>
            <a:ext cx="2060575" cy="250825"/>
          </a:xfrm>
        </p:spPr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21</a:t>
            </a:fld>
            <a:endParaRPr lang="it-IT" altLang="it-IT" dirty="0"/>
          </a:p>
        </p:txBody>
      </p:sp>
      <p:sp>
        <p:nvSpPr>
          <p:cNvPr id="2" name="Rectangle 1"/>
          <p:cNvSpPr/>
          <p:nvPr/>
        </p:nvSpPr>
        <p:spPr>
          <a:xfrm>
            <a:off x="1953561" y="5267058"/>
            <a:ext cx="732969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altLang="en-US" sz="1800" b="1" dirty="0" smtClean="0">
                <a:solidFill>
                  <a:srgbClr val="007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tenzione</a:t>
            </a:r>
          </a:p>
          <a:p>
            <a:r>
              <a:rPr lang="it-IT" alt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L’interoperabilità </a:t>
            </a:r>
            <a:r>
              <a:rPr lang="it-IT" alt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è consentita </a:t>
            </a:r>
            <a:r>
              <a:rPr lang="it-IT" alt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SOLO tra </a:t>
            </a:r>
            <a:r>
              <a:rPr lang="it-IT" alt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attori che utilizzano lo stesso profilo.</a:t>
            </a:r>
            <a:endParaRPr lang="en-US" sz="1800" dirty="0"/>
          </a:p>
        </p:txBody>
      </p:sp>
      <p:grpSp>
        <p:nvGrpSpPr>
          <p:cNvPr id="3" name="Group 2"/>
          <p:cNvGrpSpPr/>
          <p:nvPr/>
        </p:nvGrpSpPr>
        <p:grpSpPr>
          <a:xfrm>
            <a:off x="1173163" y="5149053"/>
            <a:ext cx="746821" cy="680374"/>
            <a:chOff x="1173163" y="5149053"/>
            <a:chExt cx="746821" cy="680374"/>
          </a:xfrm>
        </p:grpSpPr>
        <p:grpSp>
          <p:nvGrpSpPr>
            <p:cNvPr id="28" name="Group 498"/>
            <p:cNvGrpSpPr>
              <a:grpSpLocks noChangeAspect="1"/>
            </p:cNvGrpSpPr>
            <p:nvPr/>
          </p:nvGrpSpPr>
          <p:grpSpPr bwMode="auto">
            <a:xfrm>
              <a:off x="1281647" y="5221122"/>
              <a:ext cx="540000" cy="540000"/>
              <a:chOff x="1543" y="2005"/>
              <a:chExt cx="340" cy="340"/>
            </a:xfrm>
            <a:solidFill>
              <a:srgbClr val="006B00"/>
            </a:solidFill>
          </p:grpSpPr>
          <p:sp>
            <p:nvSpPr>
              <p:cNvPr id="29" name="Freeform 499"/>
              <p:cNvSpPr>
                <a:spLocks noEditPoints="1"/>
              </p:cNvSpPr>
              <p:nvPr/>
            </p:nvSpPr>
            <p:spPr bwMode="auto">
              <a:xfrm>
                <a:off x="1543" y="2005"/>
                <a:ext cx="340" cy="340"/>
              </a:xfrm>
              <a:custGeom>
                <a:avLst/>
                <a:gdLst>
                  <a:gd name="T0" fmla="*/ 256 w 512"/>
                  <a:gd name="T1" fmla="*/ 0 h 512"/>
                  <a:gd name="T2" fmla="*/ 0 w 512"/>
                  <a:gd name="T3" fmla="*/ 256 h 512"/>
                  <a:gd name="T4" fmla="*/ 256 w 512"/>
                  <a:gd name="T5" fmla="*/ 512 h 512"/>
                  <a:gd name="T6" fmla="*/ 512 w 512"/>
                  <a:gd name="T7" fmla="*/ 256 h 512"/>
                  <a:gd name="T8" fmla="*/ 256 w 512"/>
                  <a:gd name="T9" fmla="*/ 0 h 512"/>
                  <a:gd name="T10" fmla="*/ 414 w 512"/>
                  <a:gd name="T11" fmla="*/ 368 h 512"/>
                  <a:gd name="T12" fmla="*/ 405 w 512"/>
                  <a:gd name="T13" fmla="*/ 373 h 512"/>
                  <a:gd name="T14" fmla="*/ 106 w 512"/>
                  <a:gd name="T15" fmla="*/ 373 h 512"/>
                  <a:gd name="T16" fmla="*/ 97 w 512"/>
                  <a:gd name="T17" fmla="*/ 368 h 512"/>
                  <a:gd name="T18" fmla="*/ 97 w 512"/>
                  <a:gd name="T19" fmla="*/ 357 h 512"/>
                  <a:gd name="T20" fmla="*/ 247 w 512"/>
                  <a:gd name="T21" fmla="*/ 111 h 512"/>
                  <a:gd name="T22" fmla="*/ 265 w 512"/>
                  <a:gd name="T23" fmla="*/ 111 h 512"/>
                  <a:gd name="T24" fmla="*/ 414 w 512"/>
                  <a:gd name="T25" fmla="*/ 357 h 512"/>
                  <a:gd name="T26" fmla="*/ 414 w 512"/>
                  <a:gd name="T27" fmla="*/ 368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2" h="512"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  <a:moveTo>
                      <a:pt x="414" y="368"/>
                    </a:moveTo>
                    <a:cubicBezTo>
                      <a:pt x="412" y="371"/>
                      <a:pt x="409" y="373"/>
                      <a:pt x="405" y="373"/>
                    </a:cubicBezTo>
                    <a:cubicBezTo>
                      <a:pt x="106" y="373"/>
                      <a:pt x="106" y="373"/>
                      <a:pt x="106" y="373"/>
                    </a:cubicBezTo>
                    <a:cubicBezTo>
                      <a:pt x="102" y="373"/>
                      <a:pt x="99" y="371"/>
                      <a:pt x="97" y="368"/>
                    </a:cubicBezTo>
                    <a:cubicBezTo>
                      <a:pt x="95" y="364"/>
                      <a:pt x="95" y="360"/>
                      <a:pt x="97" y="357"/>
                    </a:cubicBezTo>
                    <a:cubicBezTo>
                      <a:pt x="247" y="111"/>
                      <a:pt x="247" y="111"/>
                      <a:pt x="247" y="111"/>
                    </a:cubicBezTo>
                    <a:cubicBezTo>
                      <a:pt x="250" y="105"/>
                      <a:pt x="261" y="105"/>
                      <a:pt x="265" y="111"/>
                    </a:cubicBezTo>
                    <a:cubicBezTo>
                      <a:pt x="414" y="357"/>
                      <a:pt x="414" y="357"/>
                      <a:pt x="414" y="357"/>
                    </a:cubicBezTo>
                    <a:cubicBezTo>
                      <a:pt x="416" y="360"/>
                      <a:pt x="416" y="364"/>
                      <a:pt x="414" y="36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" name="Freeform 500"/>
              <p:cNvSpPr>
                <a:spLocks noEditPoints="1"/>
              </p:cNvSpPr>
              <p:nvPr/>
            </p:nvSpPr>
            <p:spPr bwMode="auto">
              <a:xfrm>
                <a:off x="1590" y="2049"/>
                <a:ext cx="249" cy="204"/>
              </a:xfrm>
              <a:custGeom>
                <a:avLst/>
                <a:gdLst>
                  <a:gd name="T0" fmla="*/ 0 w 261"/>
                  <a:gd name="T1" fmla="*/ 214 h 214"/>
                  <a:gd name="T2" fmla="*/ 261 w 261"/>
                  <a:gd name="T3" fmla="*/ 214 h 214"/>
                  <a:gd name="T4" fmla="*/ 131 w 261"/>
                  <a:gd name="T5" fmla="*/ 0 h 214"/>
                  <a:gd name="T6" fmla="*/ 0 w 261"/>
                  <a:gd name="T7" fmla="*/ 214 h 214"/>
                  <a:gd name="T8" fmla="*/ 131 w 261"/>
                  <a:gd name="T9" fmla="*/ 192 h 214"/>
                  <a:gd name="T10" fmla="*/ 120 w 261"/>
                  <a:gd name="T11" fmla="*/ 182 h 214"/>
                  <a:gd name="T12" fmla="*/ 131 w 261"/>
                  <a:gd name="T13" fmla="*/ 171 h 214"/>
                  <a:gd name="T14" fmla="*/ 141 w 261"/>
                  <a:gd name="T15" fmla="*/ 182 h 214"/>
                  <a:gd name="T16" fmla="*/ 131 w 261"/>
                  <a:gd name="T17" fmla="*/ 192 h 214"/>
                  <a:gd name="T18" fmla="*/ 141 w 261"/>
                  <a:gd name="T19" fmla="*/ 64 h 214"/>
                  <a:gd name="T20" fmla="*/ 141 w 261"/>
                  <a:gd name="T21" fmla="*/ 139 h 214"/>
                  <a:gd name="T22" fmla="*/ 131 w 261"/>
                  <a:gd name="T23" fmla="*/ 150 h 214"/>
                  <a:gd name="T24" fmla="*/ 120 w 261"/>
                  <a:gd name="T25" fmla="*/ 139 h 214"/>
                  <a:gd name="T26" fmla="*/ 120 w 261"/>
                  <a:gd name="T27" fmla="*/ 64 h 214"/>
                  <a:gd name="T28" fmla="*/ 131 w 261"/>
                  <a:gd name="T29" fmla="*/ 54 h 214"/>
                  <a:gd name="T30" fmla="*/ 141 w 261"/>
                  <a:gd name="T31" fmla="*/ 6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61" h="214">
                    <a:moveTo>
                      <a:pt x="0" y="214"/>
                    </a:moveTo>
                    <a:cubicBezTo>
                      <a:pt x="261" y="214"/>
                      <a:pt x="261" y="214"/>
                      <a:pt x="261" y="214"/>
                    </a:cubicBezTo>
                    <a:cubicBezTo>
                      <a:pt x="131" y="0"/>
                      <a:pt x="131" y="0"/>
                      <a:pt x="131" y="0"/>
                    </a:cubicBezTo>
                    <a:lnTo>
                      <a:pt x="0" y="214"/>
                    </a:lnTo>
                    <a:close/>
                    <a:moveTo>
                      <a:pt x="131" y="192"/>
                    </a:moveTo>
                    <a:cubicBezTo>
                      <a:pt x="125" y="192"/>
                      <a:pt x="120" y="188"/>
                      <a:pt x="120" y="182"/>
                    </a:cubicBezTo>
                    <a:cubicBezTo>
                      <a:pt x="120" y="176"/>
                      <a:pt x="125" y="171"/>
                      <a:pt x="131" y="171"/>
                    </a:cubicBezTo>
                    <a:cubicBezTo>
                      <a:pt x="137" y="171"/>
                      <a:pt x="141" y="176"/>
                      <a:pt x="141" y="182"/>
                    </a:cubicBezTo>
                    <a:cubicBezTo>
                      <a:pt x="141" y="188"/>
                      <a:pt x="137" y="192"/>
                      <a:pt x="131" y="192"/>
                    </a:cubicBezTo>
                    <a:close/>
                    <a:moveTo>
                      <a:pt x="141" y="64"/>
                    </a:moveTo>
                    <a:cubicBezTo>
                      <a:pt x="141" y="139"/>
                      <a:pt x="141" y="139"/>
                      <a:pt x="141" y="139"/>
                    </a:cubicBezTo>
                    <a:cubicBezTo>
                      <a:pt x="141" y="145"/>
                      <a:pt x="137" y="150"/>
                      <a:pt x="131" y="150"/>
                    </a:cubicBezTo>
                    <a:cubicBezTo>
                      <a:pt x="125" y="150"/>
                      <a:pt x="120" y="145"/>
                      <a:pt x="120" y="139"/>
                    </a:cubicBezTo>
                    <a:cubicBezTo>
                      <a:pt x="120" y="64"/>
                      <a:pt x="120" y="64"/>
                      <a:pt x="120" y="64"/>
                    </a:cubicBezTo>
                    <a:cubicBezTo>
                      <a:pt x="120" y="58"/>
                      <a:pt x="125" y="54"/>
                      <a:pt x="131" y="54"/>
                    </a:cubicBezTo>
                    <a:cubicBezTo>
                      <a:pt x="137" y="54"/>
                      <a:pt x="141" y="58"/>
                      <a:pt x="141" y="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27" name="Freeform 277"/>
            <p:cNvSpPr>
              <a:spLocks noChangeAspect="1" noEditPoints="1"/>
            </p:cNvSpPr>
            <p:nvPr/>
          </p:nvSpPr>
          <p:spPr bwMode="auto">
            <a:xfrm>
              <a:off x="1173163" y="5149053"/>
              <a:ext cx="746821" cy="680374"/>
            </a:xfrm>
            <a:custGeom>
              <a:avLst/>
              <a:gdLst>
                <a:gd name="T0" fmla="*/ 222 w 269"/>
                <a:gd name="T1" fmla="*/ 36 h 245"/>
                <a:gd name="T2" fmla="*/ 135 w 269"/>
                <a:gd name="T3" fmla="*/ 0 h 245"/>
                <a:gd name="T4" fmla="*/ 48 w 269"/>
                <a:gd name="T5" fmla="*/ 36 h 245"/>
                <a:gd name="T6" fmla="*/ 48 w 269"/>
                <a:gd name="T7" fmla="*/ 209 h 245"/>
                <a:gd name="T8" fmla="*/ 135 w 269"/>
                <a:gd name="T9" fmla="*/ 245 h 245"/>
                <a:gd name="T10" fmla="*/ 135 w 269"/>
                <a:gd name="T11" fmla="*/ 245 h 245"/>
                <a:gd name="T12" fmla="*/ 222 w 269"/>
                <a:gd name="T13" fmla="*/ 209 h 245"/>
                <a:gd name="T14" fmla="*/ 222 w 269"/>
                <a:gd name="T15" fmla="*/ 36 h 245"/>
                <a:gd name="T16" fmla="*/ 215 w 269"/>
                <a:gd name="T17" fmla="*/ 202 h 245"/>
                <a:gd name="T18" fmla="*/ 135 w 269"/>
                <a:gd name="T19" fmla="*/ 235 h 245"/>
                <a:gd name="T20" fmla="*/ 135 w 269"/>
                <a:gd name="T21" fmla="*/ 235 h 245"/>
                <a:gd name="T22" fmla="*/ 55 w 269"/>
                <a:gd name="T23" fmla="*/ 202 h 245"/>
                <a:gd name="T24" fmla="*/ 55 w 269"/>
                <a:gd name="T25" fmla="*/ 43 h 245"/>
                <a:gd name="T26" fmla="*/ 135 w 269"/>
                <a:gd name="T27" fmla="*/ 10 h 245"/>
                <a:gd name="T28" fmla="*/ 215 w 269"/>
                <a:gd name="T29" fmla="*/ 43 h 245"/>
                <a:gd name="T30" fmla="*/ 215 w 269"/>
                <a:gd name="T31" fmla="*/ 202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9" h="245">
                  <a:moveTo>
                    <a:pt x="222" y="36"/>
                  </a:moveTo>
                  <a:cubicBezTo>
                    <a:pt x="198" y="13"/>
                    <a:pt x="168" y="0"/>
                    <a:pt x="135" y="0"/>
                  </a:cubicBezTo>
                  <a:cubicBezTo>
                    <a:pt x="102" y="0"/>
                    <a:pt x="71" y="13"/>
                    <a:pt x="48" y="36"/>
                  </a:cubicBezTo>
                  <a:cubicBezTo>
                    <a:pt x="0" y="84"/>
                    <a:pt x="0" y="161"/>
                    <a:pt x="48" y="209"/>
                  </a:cubicBezTo>
                  <a:cubicBezTo>
                    <a:pt x="71" y="232"/>
                    <a:pt x="102" y="245"/>
                    <a:pt x="135" y="245"/>
                  </a:cubicBezTo>
                  <a:cubicBezTo>
                    <a:pt x="135" y="245"/>
                    <a:pt x="135" y="245"/>
                    <a:pt x="135" y="245"/>
                  </a:cubicBezTo>
                  <a:cubicBezTo>
                    <a:pt x="168" y="245"/>
                    <a:pt x="198" y="232"/>
                    <a:pt x="222" y="209"/>
                  </a:cubicBezTo>
                  <a:cubicBezTo>
                    <a:pt x="269" y="161"/>
                    <a:pt x="269" y="84"/>
                    <a:pt x="222" y="36"/>
                  </a:cubicBezTo>
                  <a:close/>
                  <a:moveTo>
                    <a:pt x="215" y="202"/>
                  </a:moveTo>
                  <a:cubicBezTo>
                    <a:pt x="193" y="223"/>
                    <a:pt x="165" y="235"/>
                    <a:pt x="135" y="235"/>
                  </a:cubicBezTo>
                  <a:cubicBezTo>
                    <a:pt x="135" y="235"/>
                    <a:pt x="135" y="235"/>
                    <a:pt x="135" y="235"/>
                  </a:cubicBezTo>
                  <a:cubicBezTo>
                    <a:pt x="105" y="235"/>
                    <a:pt x="76" y="223"/>
                    <a:pt x="55" y="202"/>
                  </a:cubicBezTo>
                  <a:cubicBezTo>
                    <a:pt x="11" y="158"/>
                    <a:pt x="11" y="87"/>
                    <a:pt x="55" y="43"/>
                  </a:cubicBezTo>
                  <a:cubicBezTo>
                    <a:pt x="76" y="21"/>
                    <a:pt x="105" y="10"/>
                    <a:pt x="135" y="10"/>
                  </a:cubicBezTo>
                  <a:cubicBezTo>
                    <a:pt x="165" y="10"/>
                    <a:pt x="193" y="21"/>
                    <a:pt x="215" y="43"/>
                  </a:cubicBezTo>
                  <a:cubicBezTo>
                    <a:pt x="258" y="87"/>
                    <a:pt x="258" y="158"/>
                    <a:pt x="215" y="202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6438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22</a:t>
            </a:fld>
            <a:endParaRPr lang="it-IT" altLang="it-IT" dirty="0"/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1047750" y="222250"/>
            <a:ext cx="8513763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eaLnBrk="0" hangingPunct="0">
              <a:buClr>
                <a:srgbClr val="CC0000"/>
              </a:buClr>
              <a:buSzPct val="70000"/>
              <a:buFont typeface="Wingdings" pitchFamily="2" charset="2"/>
              <a:buNone/>
            </a:pPr>
            <a:r>
              <a:rPr lang="it-IT" sz="28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l portale delle specifiche tecniche</a:t>
            </a:r>
            <a:endParaRPr lang="it-IT" sz="1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Donut 8"/>
          <p:cNvSpPr>
            <a:spLocks noChangeAspect="1"/>
          </p:cNvSpPr>
          <p:nvPr/>
        </p:nvSpPr>
        <p:spPr>
          <a:xfrm>
            <a:off x="2541761" y="4611565"/>
            <a:ext cx="725207" cy="725207"/>
          </a:xfrm>
          <a:prstGeom prst="donut">
            <a:avLst>
              <a:gd name="adj" fmla="val 10417"/>
            </a:avLst>
          </a:prstGeom>
          <a:solidFill>
            <a:srgbClr val="FFC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" name="Donut 11"/>
          <p:cNvSpPr>
            <a:spLocks noChangeAspect="1"/>
          </p:cNvSpPr>
          <p:nvPr/>
        </p:nvSpPr>
        <p:spPr>
          <a:xfrm>
            <a:off x="8171926" y="3686342"/>
            <a:ext cx="725207" cy="725207"/>
          </a:xfrm>
          <a:prstGeom prst="donut">
            <a:avLst>
              <a:gd name="adj" fmla="val 10417"/>
            </a:avLst>
          </a:prstGeom>
          <a:solidFill>
            <a:srgbClr val="C00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Donut 13"/>
          <p:cNvSpPr>
            <a:spLocks noChangeAspect="1"/>
          </p:cNvSpPr>
          <p:nvPr/>
        </p:nvSpPr>
        <p:spPr>
          <a:xfrm>
            <a:off x="4478229" y="3201570"/>
            <a:ext cx="1401543" cy="1401543"/>
          </a:xfrm>
          <a:prstGeom prst="donut">
            <a:avLst>
              <a:gd name="adj" fmla="val 10417"/>
            </a:avLst>
          </a:prstGeom>
          <a:solidFill>
            <a:srgbClr val="A1A1A1"/>
          </a:solidFill>
          <a:ln w="3175">
            <a:solidFill>
              <a:srgbClr val="A1A1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Donut 15"/>
          <p:cNvSpPr>
            <a:spLocks noChangeAspect="1"/>
          </p:cNvSpPr>
          <p:nvPr/>
        </p:nvSpPr>
        <p:spPr>
          <a:xfrm>
            <a:off x="7138762" y="4611563"/>
            <a:ext cx="725207" cy="725207"/>
          </a:xfrm>
          <a:prstGeom prst="donut">
            <a:avLst>
              <a:gd name="adj" fmla="val 10417"/>
            </a:avLst>
          </a:prstGeom>
          <a:solidFill>
            <a:srgbClr val="86BC2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Donut 18"/>
          <p:cNvSpPr>
            <a:spLocks noChangeAspect="1"/>
          </p:cNvSpPr>
          <p:nvPr/>
        </p:nvSpPr>
        <p:spPr>
          <a:xfrm>
            <a:off x="4813175" y="5312603"/>
            <a:ext cx="725207" cy="725207"/>
          </a:xfrm>
          <a:prstGeom prst="donut">
            <a:avLst>
              <a:gd name="adj" fmla="val 10417"/>
            </a:avLst>
          </a:prstGeom>
          <a:solidFill>
            <a:srgbClr val="006B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" name="Donut 21"/>
          <p:cNvSpPr>
            <a:spLocks noChangeAspect="1"/>
          </p:cNvSpPr>
          <p:nvPr/>
        </p:nvSpPr>
        <p:spPr>
          <a:xfrm>
            <a:off x="1428402" y="3539553"/>
            <a:ext cx="725207" cy="725207"/>
          </a:xfrm>
          <a:prstGeom prst="donut">
            <a:avLst>
              <a:gd name="adj" fmla="val 10417"/>
            </a:avLst>
          </a:prstGeom>
          <a:solidFill>
            <a:srgbClr val="C00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" name="Donut 24"/>
          <p:cNvSpPr>
            <a:spLocks noChangeAspect="1"/>
          </p:cNvSpPr>
          <p:nvPr/>
        </p:nvSpPr>
        <p:spPr>
          <a:xfrm>
            <a:off x="2541760" y="2437292"/>
            <a:ext cx="725207" cy="725207"/>
          </a:xfrm>
          <a:prstGeom prst="donut">
            <a:avLst>
              <a:gd name="adj" fmla="val 10417"/>
            </a:avLst>
          </a:prstGeom>
          <a:solidFill>
            <a:srgbClr val="86BC2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Donut 27"/>
          <p:cNvSpPr>
            <a:spLocks noChangeAspect="1"/>
          </p:cNvSpPr>
          <p:nvPr/>
        </p:nvSpPr>
        <p:spPr>
          <a:xfrm>
            <a:off x="5141391" y="2121658"/>
            <a:ext cx="725207" cy="725207"/>
          </a:xfrm>
          <a:prstGeom prst="donut">
            <a:avLst>
              <a:gd name="adj" fmla="val 10417"/>
            </a:avLst>
          </a:prstGeom>
          <a:solidFill>
            <a:srgbClr val="006B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1" name="Donut 30"/>
          <p:cNvSpPr>
            <a:spLocks noChangeAspect="1"/>
          </p:cNvSpPr>
          <p:nvPr/>
        </p:nvSpPr>
        <p:spPr>
          <a:xfrm>
            <a:off x="7661652" y="2655418"/>
            <a:ext cx="725207" cy="725207"/>
          </a:xfrm>
          <a:prstGeom prst="donut">
            <a:avLst>
              <a:gd name="adj" fmla="val 10417"/>
            </a:avLst>
          </a:prstGeom>
          <a:solidFill>
            <a:srgbClr val="FFC000"/>
          </a:solidFill>
          <a:ln w="3175"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33" name="Elbow Connector 32"/>
          <p:cNvCxnSpPr>
            <a:endCxn id="14" idx="0"/>
          </p:cNvCxnSpPr>
          <p:nvPr/>
        </p:nvCxnSpPr>
        <p:spPr>
          <a:xfrm rot="10800000" flipV="1">
            <a:off x="5179001" y="2935500"/>
            <a:ext cx="324992" cy="266070"/>
          </a:xfrm>
          <a:prstGeom prst="bentConnector2">
            <a:avLst/>
          </a:prstGeom>
          <a:ln w="57150">
            <a:solidFill>
              <a:srgbClr val="006B0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Elbow Connector 33"/>
          <p:cNvCxnSpPr/>
          <p:nvPr/>
        </p:nvCxnSpPr>
        <p:spPr>
          <a:xfrm rot="10800000" flipV="1">
            <a:off x="5711465" y="3026109"/>
            <a:ext cx="1852380" cy="380712"/>
          </a:xfrm>
          <a:prstGeom prst="bentConnector3">
            <a:avLst>
              <a:gd name="adj1" fmla="val 50000"/>
            </a:avLst>
          </a:prstGeom>
          <a:ln w="57150">
            <a:solidFill>
              <a:srgbClr val="FFC00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34"/>
          <p:cNvCxnSpPr>
            <a:endCxn id="14" idx="6"/>
          </p:cNvCxnSpPr>
          <p:nvPr/>
        </p:nvCxnSpPr>
        <p:spPr>
          <a:xfrm rot="10800000">
            <a:off x="5879773" y="3902343"/>
            <a:ext cx="2211283" cy="145861"/>
          </a:xfrm>
          <a:prstGeom prst="bentConnector3">
            <a:avLst>
              <a:gd name="adj1" fmla="val 50000"/>
            </a:avLst>
          </a:prstGeom>
          <a:ln w="57150">
            <a:solidFill>
              <a:srgbClr val="C0000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Elbow Connector 35"/>
          <p:cNvCxnSpPr>
            <a:endCxn id="14" idx="4"/>
          </p:cNvCxnSpPr>
          <p:nvPr/>
        </p:nvCxnSpPr>
        <p:spPr>
          <a:xfrm rot="16200000" flipV="1">
            <a:off x="4859907" y="4922207"/>
            <a:ext cx="638190" cy="2"/>
          </a:xfrm>
          <a:prstGeom prst="bentConnector3">
            <a:avLst>
              <a:gd name="adj1" fmla="val 50000"/>
            </a:avLst>
          </a:prstGeom>
          <a:ln w="57150">
            <a:solidFill>
              <a:srgbClr val="006B0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Elbow Connector 36"/>
          <p:cNvCxnSpPr/>
          <p:nvPr/>
        </p:nvCxnSpPr>
        <p:spPr>
          <a:xfrm rot="10800000">
            <a:off x="5674524" y="4397864"/>
            <a:ext cx="1770217" cy="136180"/>
          </a:xfrm>
          <a:prstGeom prst="bentConnector3">
            <a:avLst>
              <a:gd name="adj1" fmla="val 50000"/>
            </a:avLst>
          </a:prstGeom>
          <a:ln w="57150">
            <a:solidFill>
              <a:srgbClr val="86BC25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lbow Connector 37"/>
          <p:cNvCxnSpPr>
            <a:endCxn id="14" idx="3"/>
          </p:cNvCxnSpPr>
          <p:nvPr/>
        </p:nvCxnSpPr>
        <p:spPr>
          <a:xfrm flipV="1">
            <a:off x="2913262" y="4397862"/>
            <a:ext cx="1770218" cy="136182"/>
          </a:xfrm>
          <a:prstGeom prst="bentConnector4">
            <a:avLst>
              <a:gd name="adj1" fmla="val 44203"/>
              <a:gd name="adj2" fmla="val -165785"/>
            </a:avLst>
          </a:prstGeom>
          <a:ln w="57150">
            <a:solidFill>
              <a:srgbClr val="FFC00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38"/>
          <p:cNvCxnSpPr>
            <a:endCxn id="14" idx="2"/>
          </p:cNvCxnSpPr>
          <p:nvPr/>
        </p:nvCxnSpPr>
        <p:spPr>
          <a:xfrm>
            <a:off x="2234479" y="3902155"/>
            <a:ext cx="2243750" cy="187"/>
          </a:xfrm>
          <a:prstGeom prst="bentConnector3">
            <a:avLst>
              <a:gd name="adj1" fmla="val 50000"/>
            </a:avLst>
          </a:prstGeom>
          <a:ln w="57150">
            <a:solidFill>
              <a:srgbClr val="C0000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Elbow Connector 39"/>
          <p:cNvCxnSpPr>
            <a:endCxn id="14" idx="1"/>
          </p:cNvCxnSpPr>
          <p:nvPr/>
        </p:nvCxnSpPr>
        <p:spPr>
          <a:xfrm>
            <a:off x="3341195" y="2799895"/>
            <a:ext cx="1342285" cy="606926"/>
          </a:xfrm>
          <a:prstGeom prst="bentConnector2">
            <a:avLst/>
          </a:prstGeom>
          <a:ln w="57150">
            <a:solidFill>
              <a:srgbClr val="86BC25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4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1903" y="3708787"/>
            <a:ext cx="939722" cy="340587"/>
          </a:xfrm>
          <a:prstGeom prst="rect">
            <a:avLst/>
          </a:prstGeom>
        </p:spPr>
      </p:pic>
      <p:sp>
        <p:nvSpPr>
          <p:cNvPr id="45" name="Freeform 938"/>
          <p:cNvSpPr>
            <a:spLocks noChangeAspect="1" noEditPoints="1"/>
          </p:cNvSpPr>
          <p:nvPr/>
        </p:nvSpPr>
        <p:spPr bwMode="auto">
          <a:xfrm>
            <a:off x="5320473" y="2307771"/>
            <a:ext cx="367041" cy="367041"/>
          </a:xfrm>
          <a:custGeom>
            <a:avLst/>
            <a:gdLst>
              <a:gd name="T0" fmla="*/ 305 w 512"/>
              <a:gd name="T1" fmla="*/ 234 h 512"/>
              <a:gd name="T2" fmla="*/ 266 w 512"/>
              <a:gd name="T3" fmla="*/ 234 h 512"/>
              <a:gd name="T4" fmla="*/ 266 w 512"/>
              <a:gd name="T5" fmla="*/ 192 h 512"/>
              <a:gd name="T6" fmla="*/ 298 w 512"/>
              <a:gd name="T7" fmla="*/ 192 h 512"/>
              <a:gd name="T8" fmla="*/ 301 w 512"/>
              <a:gd name="T9" fmla="*/ 196 h 512"/>
              <a:gd name="T10" fmla="*/ 305 w 512"/>
              <a:gd name="T11" fmla="*/ 234 h 512"/>
              <a:gd name="T12" fmla="*/ 245 w 512"/>
              <a:gd name="T13" fmla="*/ 192 h 512"/>
              <a:gd name="T14" fmla="*/ 214 w 512"/>
              <a:gd name="T15" fmla="*/ 192 h 512"/>
              <a:gd name="T16" fmla="*/ 211 w 512"/>
              <a:gd name="T17" fmla="*/ 195 h 512"/>
              <a:gd name="T18" fmla="*/ 207 w 512"/>
              <a:gd name="T19" fmla="*/ 234 h 512"/>
              <a:gd name="T20" fmla="*/ 245 w 512"/>
              <a:gd name="T21" fmla="*/ 234 h 512"/>
              <a:gd name="T22" fmla="*/ 245 w 512"/>
              <a:gd name="T23" fmla="*/ 192 h 512"/>
              <a:gd name="T24" fmla="*/ 205 w 512"/>
              <a:gd name="T25" fmla="*/ 256 h 512"/>
              <a:gd name="T26" fmla="*/ 197 w 512"/>
              <a:gd name="T27" fmla="*/ 336 h 512"/>
              <a:gd name="T28" fmla="*/ 256 w 512"/>
              <a:gd name="T29" fmla="*/ 394 h 512"/>
              <a:gd name="T30" fmla="*/ 315 w 512"/>
              <a:gd name="T31" fmla="*/ 335 h 512"/>
              <a:gd name="T32" fmla="*/ 307 w 512"/>
              <a:gd name="T33" fmla="*/ 256 h 512"/>
              <a:gd name="T34" fmla="*/ 205 w 512"/>
              <a:gd name="T35" fmla="*/ 256 h 512"/>
              <a:gd name="T36" fmla="*/ 512 w 512"/>
              <a:gd name="T37" fmla="*/ 256 h 512"/>
              <a:gd name="T38" fmla="*/ 256 w 512"/>
              <a:gd name="T39" fmla="*/ 512 h 512"/>
              <a:gd name="T40" fmla="*/ 0 w 512"/>
              <a:gd name="T41" fmla="*/ 256 h 512"/>
              <a:gd name="T42" fmla="*/ 256 w 512"/>
              <a:gd name="T43" fmla="*/ 0 h 512"/>
              <a:gd name="T44" fmla="*/ 512 w 512"/>
              <a:gd name="T45" fmla="*/ 256 h 512"/>
              <a:gd name="T46" fmla="*/ 336 w 512"/>
              <a:gd name="T47" fmla="*/ 334 h 512"/>
              <a:gd name="T48" fmla="*/ 322 w 512"/>
              <a:gd name="T49" fmla="*/ 195 h 512"/>
              <a:gd name="T50" fmla="*/ 298 w 512"/>
              <a:gd name="T51" fmla="*/ 170 h 512"/>
              <a:gd name="T52" fmla="*/ 266 w 512"/>
              <a:gd name="T53" fmla="*/ 170 h 512"/>
              <a:gd name="T54" fmla="*/ 266 w 512"/>
              <a:gd name="T55" fmla="*/ 168 h 512"/>
              <a:gd name="T56" fmla="*/ 256 w 512"/>
              <a:gd name="T57" fmla="*/ 132 h 512"/>
              <a:gd name="T58" fmla="*/ 248 w 512"/>
              <a:gd name="T59" fmla="*/ 106 h 512"/>
              <a:gd name="T60" fmla="*/ 238 w 512"/>
              <a:gd name="T61" fmla="*/ 96 h 512"/>
              <a:gd name="T62" fmla="*/ 227 w 512"/>
              <a:gd name="T63" fmla="*/ 106 h 512"/>
              <a:gd name="T64" fmla="*/ 237 w 512"/>
              <a:gd name="T65" fmla="*/ 143 h 512"/>
              <a:gd name="T66" fmla="*/ 245 w 512"/>
              <a:gd name="T67" fmla="*/ 168 h 512"/>
              <a:gd name="T68" fmla="*/ 245 w 512"/>
              <a:gd name="T69" fmla="*/ 170 h 512"/>
              <a:gd name="T70" fmla="*/ 214 w 512"/>
              <a:gd name="T71" fmla="*/ 170 h 512"/>
              <a:gd name="T72" fmla="*/ 189 w 512"/>
              <a:gd name="T73" fmla="*/ 194 h 512"/>
              <a:gd name="T74" fmla="*/ 175 w 512"/>
              <a:gd name="T75" fmla="*/ 334 h 512"/>
              <a:gd name="T76" fmla="*/ 175 w 512"/>
              <a:gd name="T77" fmla="*/ 335 h 512"/>
              <a:gd name="T78" fmla="*/ 256 w 512"/>
              <a:gd name="T79" fmla="*/ 416 h 512"/>
              <a:gd name="T80" fmla="*/ 336 w 512"/>
              <a:gd name="T81" fmla="*/ 3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2" h="512">
                <a:moveTo>
                  <a:pt x="305" y="234"/>
                </a:moveTo>
                <a:cubicBezTo>
                  <a:pt x="266" y="234"/>
                  <a:pt x="266" y="234"/>
                  <a:pt x="266" y="234"/>
                </a:cubicBezTo>
                <a:cubicBezTo>
                  <a:pt x="266" y="192"/>
                  <a:pt x="266" y="192"/>
                  <a:pt x="266" y="192"/>
                </a:cubicBezTo>
                <a:cubicBezTo>
                  <a:pt x="298" y="192"/>
                  <a:pt x="298" y="192"/>
                  <a:pt x="298" y="192"/>
                </a:cubicBezTo>
                <a:cubicBezTo>
                  <a:pt x="299" y="192"/>
                  <a:pt x="301" y="193"/>
                  <a:pt x="301" y="196"/>
                </a:cubicBezTo>
                <a:lnTo>
                  <a:pt x="305" y="234"/>
                </a:lnTo>
                <a:close/>
                <a:moveTo>
                  <a:pt x="245" y="192"/>
                </a:moveTo>
                <a:cubicBezTo>
                  <a:pt x="214" y="192"/>
                  <a:pt x="214" y="192"/>
                  <a:pt x="214" y="192"/>
                </a:cubicBezTo>
                <a:cubicBezTo>
                  <a:pt x="212" y="192"/>
                  <a:pt x="211" y="193"/>
                  <a:pt x="211" y="195"/>
                </a:cubicBezTo>
                <a:cubicBezTo>
                  <a:pt x="207" y="234"/>
                  <a:pt x="207" y="234"/>
                  <a:pt x="207" y="234"/>
                </a:cubicBezTo>
                <a:cubicBezTo>
                  <a:pt x="245" y="234"/>
                  <a:pt x="245" y="234"/>
                  <a:pt x="245" y="234"/>
                </a:cubicBezTo>
                <a:lnTo>
                  <a:pt x="245" y="192"/>
                </a:lnTo>
                <a:close/>
                <a:moveTo>
                  <a:pt x="205" y="256"/>
                </a:moveTo>
                <a:cubicBezTo>
                  <a:pt x="197" y="336"/>
                  <a:pt x="197" y="336"/>
                  <a:pt x="197" y="336"/>
                </a:cubicBezTo>
                <a:cubicBezTo>
                  <a:pt x="197" y="368"/>
                  <a:pt x="223" y="394"/>
                  <a:pt x="256" y="394"/>
                </a:cubicBezTo>
                <a:cubicBezTo>
                  <a:pt x="288" y="394"/>
                  <a:pt x="315" y="368"/>
                  <a:pt x="315" y="335"/>
                </a:cubicBezTo>
                <a:cubicBezTo>
                  <a:pt x="307" y="256"/>
                  <a:pt x="307" y="256"/>
                  <a:pt x="307" y="256"/>
                </a:cubicBezTo>
                <a:lnTo>
                  <a:pt x="205" y="256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36" y="334"/>
                </a:moveTo>
                <a:cubicBezTo>
                  <a:pt x="322" y="195"/>
                  <a:pt x="322" y="195"/>
                  <a:pt x="322" y="195"/>
                </a:cubicBezTo>
                <a:cubicBezTo>
                  <a:pt x="322" y="182"/>
                  <a:pt x="311" y="170"/>
                  <a:pt x="298" y="170"/>
                </a:cubicBezTo>
                <a:cubicBezTo>
                  <a:pt x="266" y="170"/>
                  <a:pt x="266" y="170"/>
                  <a:pt x="266" y="170"/>
                </a:cubicBezTo>
                <a:cubicBezTo>
                  <a:pt x="266" y="168"/>
                  <a:pt x="266" y="168"/>
                  <a:pt x="266" y="168"/>
                </a:cubicBezTo>
                <a:cubicBezTo>
                  <a:pt x="266" y="149"/>
                  <a:pt x="260" y="139"/>
                  <a:pt x="256" y="132"/>
                </a:cubicBezTo>
                <a:cubicBezTo>
                  <a:pt x="252" y="125"/>
                  <a:pt x="248" y="119"/>
                  <a:pt x="248" y="106"/>
                </a:cubicBezTo>
                <a:cubicBezTo>
                  <a:pt x="248" y="100"/>
                  <a:pt x="244" y="96"/>
                  <a:pt x="238" y="96"/>
                </a:cubicBezTo>
                <a:cubicBezTo>
                  <a:pt x="232" y="96"/>
                  <a:pt x="227" y="100"/>
                  <a:pt x="227" y="106"/>
                </a:cubicBezTo>
                <a:cubicBezTo>
                  <a:pt x="227" y="125"/>
                  <a:pt x="233" y="135"/>
                  <a:pt x="237" y="143"/>
                </a:cubicBezTo>
                <a:cubicBezTo>
                  <a:pt x="242" y="150"/>
                  <a:pt x="245" y="155"/>
                  <a:pt x="245" y="168"/>
                </a:cubicBezTo>
                <a:cubicBezTo>
                  <a:pt x="245" y="170"/>
                  <a:pt x="245" y="170"/>
                  <a:pt x="245" y="170"/>
                </a:cubicBezTo>
                <a:cubicBezTo>
                  <a:pt x="214" y="170"/>
                  <a:pt x="214" y="170"/>
                  <a:pt x="214" y="170"/>
                </a:cubicBezTo>
                <a:cubicBezTo>
                  <a:pt x="200" y="170"/>
                  <a:pt x="189" y="182"/>
                  <a:pt x="189" y="194"/>
                </a:cubicBezTo>
                <a:cubicBezTo>
                  <a:pt x="175" y="334"/>
                  <a:pt x="175" y="334"/>
                  <a:pt x="175" y="334"/>
                </a:cubicBezTo>
                <a:cubicBezTo>
                  <a:pt x="175" y="335"/>
                  <a:pt x="175" y="335"/>
                  <a:pt x="175" y="335"/>
                </a:cubicBezTo>
                <a:cubicBezTo>
                  <a:pt x="175" y="380"/>
                  <a:pt x="211" y="416"/>
                  <a:pt x="256" y="416"/>
                </a:cubicBezTo>
                <a:cubicBezTo>
                  <a:pt x="300" y="416"/>
                  <a:pt x="336" y="380"/>
                  <a:pt x="336" y="334"/>
                </a:cubicBezTo>
                <a:close/>
              </a:path>
            </a:pathLst>
          </a:custGeom>
          <a:solidFill>
            <a:srgbClr val="006B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6" name="TextBox 45"/>
          <p:cNvSpPr txBox="1"/>
          <p:nvPr/>
        </p:nvSpPr>
        <p:spPr>
          <a:xfrm>
            <a:off x="4718486" y="1735834"/>
            <a:ext cx="16397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rgbClr val="006B0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DOCS </a:t>
            </a:r>
            <a:r>
              <a:rPr lang="en-US" sz="1800" dirty="0" err="1" smtClean="0">
                <a:solidFill>
                  <a:srgbClr val="006B0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NoTI</a:t>
            </a:r>
            <a:r>
              <a:rPr lang="en-US" sz="1800" dirty="0" smtClean="0">
                <a:solidFill>
                  <a:srgbClr val="006B0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-ER</a:t>
            </a:r>
            <a:endParaRPr lang="en-US" sz="1800" dirty="0">
              <a:solidFill>
                <a:srgbClr val="006B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Freeform 580"/>
          <p:cNvSpPr>
            <a:spLocks noChangeAspect="1" noEditPoints="1"/>
          </p:cNvSpPr>
          <p:nvPr/>
        </p:nvSpPr>
        <p:spPr bwMode="auto">
          <a:xfrm>
            <a:off x="7836410" y="2844156"/>
            <a:ext cx="367982" cy="367982"/>
          </a:xfrm>
          <a:custGeom>
            <a:avLst/>
            <a:gdLst>
              <a:gd name="T0" fmla="*/ 176 w 512"/>
              <a:gd name="T1" fmla="*/ 170 h 512"/>
              <a:gd name="T2" fmla="*/ 352 w 512"/>
              <a:gd name="T3" fmla="*/ 170 h 512"/>
              <a:gd name="T4" fmla="*/ 352 w 512"/>
              <a:gd name="T5" fmla="*/ 394 h 512"/>
              <a:gd name="T6" fmla="*/ 176 w 512"/>
              <a:gd name="T7" fmla="*/ 394 h 512"/>
              <a:gd name="T8" fmla="*/ 160 w 512"/>
              <a:gd name="T9" fmla="*/ 378 h 512"/>
              <a:gd name="T10" fmla="*/ 160 w 512"/>
              <a:gd name="T11" fmla="*/ 167 h 512"/>
              <a:gd name="T12" fmla="*/ 176 w 512"/>
              <a:gd name="T13" fmla="*/ 170 h 512"/>
              <a:gd name="T14" fmla="*/ 176 w 512"/>
              <a:gd name="T15" fmla="*/ 149 h 512"/>
              <a:gd name="T16" fmla="*/ 323 w 512"/>
              <a:gd name="T17" fmla="*/ 149 h 512"/>
              <a:gd name="T18" fmla="*/ 320 w 512"/>
              <a:gd name="T19" fmla="*/ 133 h 512"/>
              <a:gd name="T20" fmla="*/ 323 w 512"/>
              <a:gd name="T21" fmla="*/ 117 h 512"/>
              <a:gd name="T22" fmla="*/ 176 w 512"/>
              <a:gd name="T23" fmla="*/ 117 h 512"/>
              <a:gd name="T24" fmla="*/ 160 w 512"/>
              <a:gd name="T25" fmla="*/ 133 h 512"/>
              <a:gd name="T26" fmla="*/ 176 w 512"/>
              <a:gd name="T27" fmla="*/ 149 h 512"/>
              <a:gd name="T28" fmla="*/ 512 w 512"/>
              <a:gd name="T29" fmla="*/ 256 h 512"/>
              <a:gd name="T30" fmla="*/ 256 w 512"/>
              <a:gd name="T31" fmla="*/ 512 h 512"/>
              <a:gd name="T32" fmla="*/ 0 w 512"/>
              <a:gd name="T33" fmla="*/ 256 h 512"/>
              <a:gd name="T34" fmla="*/ 256 w 512"/>
              <a:gd name="T35" fmla="*/ 0 h 512"/>
              <a:gd name="T36" fmla="*/ 512 w 512"/>
              <a:gd name="T37" fmla="*/ 256 h 512"/>
              <a:gd name="T38" fmla="*/ 341 w 512"/>
              <a:gd name="T39" fmla="*/ 133 h 512"/>
              <a:gd name="T40" fmla="*/ 346 w 512"/>
              <a:gd name="T41" fmla="*/ 117 h 512"/>
              <a:gd name="T42" fmla="*/ 364 w 512"/>
              <a:gd name="T43" fmla="*/ 117 h 512"/>
              <a:gd name="T44" fmla="*/ 373 w 512"/>
              <a:gd name="T45" fmla="*/ 106 h 512"/>
              <a:gd name="T46" fmla="*/ 364 w 512"/>
              <a:gd name="T47" fmla="*/ 96 h 512"/>
              <a:gd name="T48" fmla="*/ 176 w 512"/>
              <a:gd name="T49" fmla="*/ 96 h 512"/>
              <a:gd name="T50" fmla="*/ 138 w 512"/>
              <a:gd name="T51" fmla="*/ 133 h 512"/>
              <a:gd name="T52" fmla="*/ 138 w 512"/>
              <a:gd name="T53" fmla="*/ 378 h 512"/>
              <a:gd name="T54" fmla="*/ 176 w 512"/>
              <a:gd name="T55" fmla="*/ 416 h 512"/>
              <a:gd name="T56" fmla="*/ 362 w 512"/>
              <a:gd name="T57" fmla="*/ 416 h 512"/>
              <a:gd name="T58" fmla="*/ 373 w 512"/>
              <a:gd name="T59" fmla="*/ 405 h 512"/>
              <a:gd name="T60" fmla="*/ 373 w 512"/>
              <a:gd name="T61" fmla="*/ 160 h 512"/>
              <a:gd name="T62" fmla="*/ 362 w 512"/>
              <a:gd name="T63" fmla="*/ 149 h 512"/>
              <a:gd name="T64" fmla="*/ 346 w 512"/>
              <a:gd name="T65" fmla="*/ 149 h 512"/>
              <a:gd name="T66" fmla="*/ 341 w 512"/>
              <a:gd name="T67" fmla="*/ 13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2" h="512">
                <a:moveTo>
                  <a:pt x="176" y="170"/>
                </a:moveTo>
                <a:cubicBezTo>
                  <a:pt x="178" y="170"/>
                  <a:pt x="352" y="170"/>
                  <a:pt x="352" y="170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176" y="394"/>
                  <a:pt x="176" y="394"/>
                  <a:pt x="176" y="394"/>
                </a:cubicBezTo>
                <a:cubicBezTo>
                  <a:pt x="167" y="394"/>
                  <a:pt x="160" y="387"/>
                  <a:pt x="160" y="378"/>
                </a:cubicBezTo>
                <a:cubicBezTo>
                  <a:pt x="160" y="167"/>
                  <a:pt x="160" y="167"/>
                  <a:pt x="160" y="167"/>
                </a:cubicBezTo>
                <a:cubicBezTo>
                  <a:pt x="165" y="169"/>
                  <a:pt x="170" y="170"/>
                  <a:pt x="176" y="170"/>
                </a:cubicBezTo>
                <a:close/>
                <a:moveTo>
                  <a:pt x="176" y="149"/>
                </a:moveTo>
                <a:cubicBezTo>
                  <a:pt x="177" y="149"/>
                  <a:pt x="268" y="149"/>
                  <a:pt x="323" y="149"/>
                </a:cubicBezTo>
                <a:cubicBezTo>
                  <a:pt x="321" y="144"/>
                  <a:pt x="320" y="139"/>
                  <a:pt x="320" y="133"/>
                </a:cubicBezTo>
                <a:cubicBezTo>
                  <a:pt x="320" y="127"/>
                  <a:pt x="321" y="122"/>
                  <a:pt x="323" y="117"/>
                </a:cubicBezTo>
                <a:cubicBezTo>
                  <a:pt x="176" y="117"/>
                  <a:pt x="176" y="117"/>
                  <a:pt x="176" y="117"/>
                </a:cubicBezTo>
                <a:cubicBezTo>
                  <a:pt x="167" y="117"/>
                  <a:pt x="160" y="124"/>
                  <a:pt x="160" y="133"/>
                </a:cubicBezTo>
                <a:cubicBezTo>
                  <a:pt x="160" y="142"/>
                  <a:pt x="167" y="149"/>
                  <a:pt x="176" y="149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41" y="133"/>
                </a:moveTo>
                <a:cubicBezTo>
                  <a:pt x="341" y="127"/>
                  <a:pt x="343" y="122"/>
                  <a:pt x="346" y="117"/>
                </a:cubicBezTo>
                <a:cubicBezTo>
                  <a:pt x="364" y="117"/>
                  <a:pt x="364" y="117"/>
                  <a:pt x="364" y="117"/>
                </a:cubicBezTo>
                <a:cubicBezTo>
                  <a:pt x="369" y="117"/>
                  <a:pt x="373" y="112"/>
                  <a:pt x="373" y="106"/>
                </a:cubicBezTo>
                <a:cubicBezTo>
                  <a:pt x="373" y="100"/>
                  <a:pt x="369" y="96"/>
                  <a:pt x="364" y="96"/>
                </a:cubicBezTo>
                <a:cubicBezTo>
                  <a:pt x="176" y="96"/>
                  <a:pt x="176" y="96"/>
                  <a:pt x="176" y="96"/>
                </a:cubicBezTo>
                <a:cubicBezTo>
                  <a:pt x="155" y="96"/>
                  <a:pt x="138" y="112"/>
                  <a:pt x="138" y="133"/>
                </a:cubicBezTo>
                <a:cubicBezTo>
                  <a:pt x="138" y="378"/>
                  <a:pt x="138" y="378"/>
                  <a:pt x="138" y="378"/>
                </a:cubicBezTo>
                <a:cubicBezTo>
                  <a:pt x="138" y="399"/>
                  <a:pt x="155" y="416"/>
                  <a:pt x="176" y="416"/>
                </a:cubicBezTo>
                <a:cubicBezTo>
                  <a:pt x="362" y="416"/>
                  <a:pt x="362" y="416"/>
                  <a:pt x="362" y="416"/>
                </a:cubicBezTo>
                <a:cubicBezTo>
                  <a:pt x="368" y="416"/>
                  <a:pt x="373" y="411"/>
                  <a:pt x="373" y="405"/>
                </a:cubicBezTo>
                <a:cubicBezTo>
                  <a:pt x="373" y="160"/>
                  <a:pt x="373" y="160"/>
                  <a:pt x="373" y="160"/>
                </a:cubicBezTo>
                <a:cubicBezTo>
                  <a:pt x="373" y="154"/>
                  <a:pt x="368" y="149"/>
                  <a:pt x="362" y="149"/>
                </a:cubicBezTo>
                <a:cubicBezTo>
                  <a:pt x="362" y="149"/>
                  <a:pt x="356" y="149"/>
                  <a:pt x="346" y="149"/>
                </a:cubicBezTo>
                <a:cubicBezTo>
                  <a:pt x="343" y="144"/>
                  <a:pt x="341" y="139"/>
                  <a:pt x="341" y="133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9" name="Freeform 196"/>
          <p:cNvSpPr>
            <a:spLocks noChangeAspect="1" noEditPoints="1"/>
          </p:cNvSpPr>
          <p:nvPr/>
        </p:nvSpPr>
        <p:spPr bwMode="auto">
          <a:xfrm>
            <a:off x="8349691" y="3864107"/>
            <a:ext cx="369676" cy="369676"/>
          </a:xfrm>
          <a:custGeom>
            <a:avLst/>
            <a:gdLst>
              <a:gd name="T0" fmla="*/ 181 w 512"/>
              <a:gd name="T1" fmla="*/ 181 h 512"/>
              <a:gd name="T2" fmla="*/ 160 w 512"/>
              <a:gd name="T3" fmla="*/ 202 h 512"/>
              <a:gd name="T4" fmla="*/ 138 w 512"/>
              <a:gd name="T5" fmla="*/ 181 h 512"/>
              <a:gd name="T6" fmla="*/ 160 w 512"/>
              <a:gd name="T7" fmla="*/ 160 h 512"/>
              <a:gd name="T8" fmla="*/ 181 w 512"/>
              <a:gd name="T9" fmla="*/ 181 h 512"/>
              <a:gd name="T10" fmla="*/ 256 w 512"/>
              <a:gd name="T11" fmla="*/ 309 h 512"/>
              <a:gd name="T12" fmla="*/ 234 w 512"/>
              <a:gd name="T13" fmla="*/ 330 h 512"/>
              <a:gd name="T14" fmla="*/ 256 w 512"/>
              <a:gd name="T15" fmla="*/ 352 h 512"/>
              <a:gd name="T16" fmla="*/ 277 w 512"/>
              <a:gd name="T17" fmla="*/ 330 h 512"/>
              <a:gd name="T18" fmla="*/ 256 w 512"/>
              <a:gd name="T19" fmla="*/ 309 h 512"/>
              <a:gd name="T20" fmla="*/ 352 w 512"/>
              <a:gd name="T21" fmla="*/ 213 h 512"/>
              <a:gd name="T22" fmla="*/ 330 w 512"/>
              <a:gd name="T23" fmla="*/ 234 h 512"/>
              <a:gd name="T24" fmla="*/ 352 w 512"/>
              <a:gd name="T25" fmla="*/ 256 h 512"/>
              <a:gd name="T26" fmla="*/ 373 w 512"/>
              <a:gd name="T27" fmla="*/ 234 h 512"/>
              <a:gd name="T28" fmla="*/ 352 w 512"/>
              <a:gd name="T29" fmla="*/ 213 h 512"/>
              <a:gd name="T30" fmla="*/ 512 w 512"/>
              <a:gd name="T31" fmla="*/ 256 h 512"/>
              <a:gd name="T32" fmla="*/ 256 w 512"/>
              <a:gd name="T33" fmla="*/ 512 h 512"/>
              <a:gd name="T34" fmla="*/ 0 w 512"/>
              <a:gd name="T35" fmla="*/ 256 h 512"/>
              <a:gd name="T36" fmla="*/ 256 w 512"/>
              <a:gd name="T37" fmla="*/ 0 h 512"/>
              <a:gd name="T38" fmla="*/ 512 w 512"/>
              <a:gd name="T39" fmla="*/ 256 h 512"/>
              <a:gd name="T40" fmla="*/ 202 w 512"/>
              <a:gd name="T41" fmla="*/ 181 h 512"/>
              <a:gd name="T42" fmla="*/ 170 w 512"/>
              <a:gd name="T43" fmla="*/ 140 h 512"/>
              <a:gd name="T44" fmla="*/ 170 w 512"/>
              <a:gd name="T45" fmla="*/ 106 h 512"/>
              <a:gd name="T46" fmla="*/ 160 w 512"/>
              <a:gd name="T47" fmla="*/ 96 h 512"/>
              <a:gd name="T48" fmla="*/ 149 w 512"/>
              <a:gd name="T49" fmla="*/ 106 h 512"/>
              <a:gd name="T50" fmla="*/ 149 w 512"/>
              <a:gd name="T51" fmla="*/ 140 h 512"/>
              <a:gd name="T52" fmla="*/ 117 w 512"/>
              <a:gd name="T53" fmla="*/ 181 h 512"/>
              <a:gd name="T54" fmla="*/ 149 w 512"/>
              <a:gd name="T55" fmla="*/ 222 h 512"/>
              <a:gd name="T56" fmla="*/ 149 w 512"/>
              <a:gd name="T57" fmla="*/ 405 h 512"/>
              <a:gd name="T58" fmla="*/ 160 w 512"/>
              <a:gd name="T59" fmla="*/ 416 h 512"/>
              <a:gd name="T60" fmla="*/ 170 w 512"/>
              <a:gd name="T61" fmla="*/ 405 h 512"/>
              <a:gd name="T62" fmla="*/ 170 w 512"/>
              <a:gd name="T63" fmla="*/ 222 h 512"/>
              <a:gd name="T64" fmla="*/ 202 w 512"/>
              <a:gd name="T65" fmla="*/ 181 h 512"/>
              <a:gd name="T66" fmla="*/ 298 w 512"/>
              <a:gd name="T67" fmla="*/ 330 h 512"/>
              <a:gd name="T68" fmla="*/ 266 w 512"/>
              <a:gd name="T69" fmla="*/ 289 h 512"/>
              <a:gd name="T70" fmla="*/ 266 w 512"/>
              <a:gd name="T71" fmla="*/ 106 h 512"/>
              <a:gd name="T72" fmla="*/ 256 w 512"/>
              <a:gd name="T73" fmla="*/ 96 h 512"/>
              <a:gd name="T74" fmla="*/ 245 w 512"/>
              <a:gd name="T75" fmla="*/ 106 h 512"/>
              <a:gd name="T76" fmla="*/ 245 w 512"/>
              <a:gd name="T77" fmla="*/ 289 h 512"/>
              <a:gd name="T78" fmla="*/ 213 w 512"/>
              <a:gd name="T79" fmla="*/ 330 h 512"/>
              <a:gd name="T80" fmla="*/ 245 w 512"/>
              <a:gd name="T81" fmla="*/ 371 h 512"/>
              <a:gd name="T82" fmla="*/ 245 w 512"/>
              <a:gd name="T83" fmla="*/ 405 h 512"/>
              <a:gd name="T84" fmla="*/ 256 w 512"/>
              <a:gd name="T85" fmla="*/ 416 h 512"/>
              <a:gd name="T86" fmla="*/ 266 w 512"/>
              <a:gd name="T87" fmla="*/ 405 h 512"/>
              <a:gd name="T88" fmla="*/ 266 w 512"/>
              <a:gd name="T89" fmla="*/ 371 h 512"/>
              <a:gd name="T90" fmla="*/ 298 w 512"/>
              <a:gd name="T91" fmla="*/ 330 h 512"/>
              <a:gd name="T92" fmla="*/ 394 w 512"/>
              <a:gd name="T93" fmla="*/ 234 h 512"/>
              <a:gd name="T94" fmla="*/ 362 w 512"/>
              <a:gd name="T95" fmla="*/ 193 h 512"/>
              <a:gd name="T96" fmla="*/ 362 w 512"/>
              <a:gd name="T97" fmla="*/ 106 h 512"/>
              <a:gd name="T98" fmla="*/ 352 w 512"/>
              <a:gd name="T99" fmla="*/ 96 h 512"/>
              <a:gd name="T100" fmla="*/ 341 w 512"/>
              <a:gd name="T101" fmla="*/ 106 h 512"/>
              <a:gd name="T102" fmla="*/ 341 w 512"/>
              <a:gd name="T103" fmla="*/ 193 h 512"/>
              <a:gd name="T104" fmla="*/ 309 w 512"/>
              <a:gd name="T105" fmla="*/ 234 h 512"/>
              <a:gd name="T106" fmla="*/ 341 w 512"/>
              <a:gd name="T107" fmla="*/ 275 h 512"/>
              <a:gd name="T108" fmla="*/ 341 w 512"/>
              <a:gd name="T109" fmla="*/ 405 h 512"/>
              <a:gd name="T110" fmla="*/ 352 w 512"/>
              <a:gd name="T111" fmla="*/ 416 h 512"/>
              <a:gd name="T112" fmla="*/ 362 w 512"/>
              <a:gd name="T113" fmla="*/ 405 h 512"/>
              <a:gd name="T114" fmla="*/ 362 w 512"/>
              <a:gd name="T115" fmla="*/ 275 h 512"/>
              <a:gd name="T116" fmla="*/ 394 w 512"/>
              <a:gd name="T117" fmla="*/ 2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12" h="512">
                <a:moveTo>
                  <a:pt x="181" y="181"/>
                </a:moveTo>
                <a:cubicBezTo>
                  <a:pt x="181" y="193"/>
                  <a:pt x="171" y="202"/>
                  <a:pt x="160" y="202"/>
                </a:cubicBezTo>
                <a:cubicBezTo>
                  <a:pt x="148" y="202"/>
                  <a:pt x="138" y="193"/>
                  <a:pt x="138" y="181"/>
                </a:cubicBezTo>
                <a:cubicBezTo>
                  <a:pt x="138" y="169"/>
                  <a:pt x="148" y="160"/>
                  <a:pt x="160" y="160"/>
                </a:cubicBezTo>
                <a:cubicBezTo>
                  <a:pt x="171" y="160"/>
                  <a:pt x="181" y="169"/>
                  <a:pt x="181" y="181"/>
                </a:cubicBezTo>
                <a:close/>
                <a:moveTo>
                  <a:pt x="256" y="309"/>
                </a:moveTo>
                <a:cubicBezTo>
                  <a:pt x="244" y="309"/>
                  <a:pt x="234" y="319"/>
                  <a:pt x="234" y="330"/>
                </a:cubicBezTo>
                <a:cubicBezTo>
                  <a:pt x="234" y="342"/>
                  <a:pt x="244" y="352"/>
                  <a:pt x="256" y="352"/>
                </a:cubicBezTo>
                <a:cubicBezTo>
                  <a:pt x="267" y="352"/>
                  <a:pt x="277" y="342"/>
                  <a:pt x="277" y="330"/>
                </a:cubicBezTo>
                <a:cubicBezTo>
                  <a:pt x="277" y="319"/>
                  <a:pt x="267" y="309"/>
                  <a:pt x="256" y="309"/>
                </a:cubicBezTo>
                <a:close/>
                <a:moveTo>
                  <a:pt x="352" y="213"/>
                </a:moveTo>
                <a:cubicBezTo>
                  <a:pt x="340" y="213"/>
                  <a:pt x="330" y="223"/>
                  <a:pt x="330" y="234"/>
                </a:cubicBezTo>
                <a:cubicBezTo>
                  <a:pt x="330" y="246"/>
                  <a:pt x="340" y="256"/>
                  <a:pt x="352" y="256"/>
                </a:cubicBezTo>
                <a:cubicBezTo>
                  <a:pt x="363" y="256"/>
                  <a:pt x="373" y="246"/>
                  <a:pt x="373" y="234"/>
                </a:cubicBezTo>
                <a:cubicBezTo>
                  <a:pt x="373" y="223"/>
                  <a:pt x="363" y="213"/>
                  <a:pt x="352" y="21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02" y="181"/>
                </a:moveTo>
                <a:cubicBezTo>
                  <a:pt x="202" y="161"/>
                  <a:pt x="189" y="145"/>
                  <a:pt x="170" y="140"/>
                </a:cubicBezTo>
                <a:cubicBezTo>
                  <a:pt x="170" y="106"/>
                  <a:pt x="170" y="106"/>
                  <a:pt x="170" y="106"/>
                </a:cubicBezTo>
                <a:cubicBezTo>
                  <a:pt x="170" y="100"/>
                  <a:pt x="166" y="96"/>
                  <a:pt x="160" y="96"/>
                </a:cubicBezTo>
                <a:cubicBezTo>
                  <a:pt x="154" y="96"/>
                  <a:pt x="149" y="100"/>
                  <a:pt x="149" y="106"/>
                </a:cubicBezTo>
                <a:cubicBezTo>
                  <a:pt x="149" y="140"/>
                  <a:pt x="149" y="140"/>
                  <a:pt x="149" y="140"/>
                </a:cubicBezTo>
                <a:cubicBezTo>
                  <a:pt x="131" y="145"/>
                  <a:pt x="117" y="161"/>
                  <a:pt x="117" y="181"/>
                </a:cubicBezTo>
                <a:cubicBezTo>
                  <a:pt x="117" y="201"/>
                  <a:pt x="131" y="217"/>
                  <a:pt x="149" y="222"/>
                </a:cubicBezTo>
                <a:cubicBezTo>
                  <a:pt x="149" y="405"/>
                  <a:pt x="149" y="405"/>
                  <a:pt x="149" y="405"/>
                </a:cubicBezTo>
                <a:cubicBezTo>
                  <a:pt x="149" y="411"/>
                  <a:pt x="154" y="416"/>
                  <a:pt x="160" y="416"/>
                </a:cubicBezTo>
                <a:cubicBezTo>
                  <a:pt x="166" y="416"/>
                  <a:pt x="170" y="411"/>
                  <a:pt x="170" y="405"/>
                </a:cubicBezTo>
                <a:cubicBezTo>
                  <a:pt x="170" y="222"/>
                  <a:pt x="170" y="222"/>
                  <a:pt x="170" y="222"/>
                </a:cubicBezTo>
                <a:cubicBezTo>
                  <a:pt x="189" y="217"/>
                  <a:pt x="202" y="201"/>
                  <a:pt x="202" y="181"/>
                </a:cubicBezTo>
                <a:close/>
                <a:moveTo>
                  <a:pt x="298" y="330"/>
                </a:moveTo>
                <a:cubicBezTo>
                  <a:pt x="298" y="311"/>
                  <a:pt x="285" y="294"/>
                  <a:pt x="266" y="289"/>
                </a:cubicBezTo>
                <a:cubicBezTo>
                  <a:pt x="266" y="106"/>
                  <a:pt x="266" y="106"/>
                  <a:pt x="266" y="106"/>
                </a:cubicBezTo>
                <a:cubicBezTo>
                  <a:pt x="266" y="100"/>
                  <a:pt x="262" y="96"/>
                  <a:pt x="256" y="96"/>
                </a:cubicBezTo>
                <a:cubicBezTo>
                  <a:pt x="250" y="96"/>
                  <a:pt x="245" y="100"/>
                  <a:pt x="245" y="106"/>
                </a:cubicBezTo>
                <a:cubicBezTo>
                  <a:pt x="245" y="289"/>
                  <a:pt x="245" y="289"/>
                  <a:pt x="245" y="289"/>
                </a:cubicBezTo>
                <a:cubicBezTo>
                  <a:pt x="227" y="294"/>
                  <a:pt x="213" y="311"/>
                  <a:pt x="213" y="330"/>
                </a:cubicBezTo>
                <a:cubicBezTo>
                  <a:pt x="213" y="350"/>
                  <a:pt x="227" y="367"/>
                  <a:pt x="245" y="371"/>
                </a:cubicBezTo>
                <a:cubicBezTo>
                  <a:pt x="245" y="405"/>
                  <a:pt x="245" y="405"/>
                  <a:pt x="245" y="405"/>
                </a:cubicBezTo>
                <a:cubicBezTo>
                  <a:pt x="245" y="411"/>
                  <a:pt x="250" y="416"/>
                  <a:pt x="256" y="416"/>
                </a:cubicBezTo>
                <a:cubicBezTo>
                  <a:pt x="262" y="416"/>
                  <a:pt x="266" y="411"/>
                  <a:pt x="266" y="405"/>
                </a:cubicBezTo>
                <a:cubicBezTo>
                  <a:pt x="266" y="371"/>
                  <a:pt x="266" y="371"/>
                  <a:pt x="266" y="371"/>
                </a:cubicBezTo>
                <a:cubicBezTo>
                  <a:pt x="285" y="367"/>
                  <a:pt x="298" y="350"/>
                  <a:pt x="298" y="330"/>
                </a:cubicBezTo>
                <a:close/>
                <a:moveTo>
                  <a:pt x="394" y="234"/>
                </a:moveTo>
                <a:cubicBezTo>
                  <a:pt x="394" y="215"/>
                  <a:pt x="381" y="198"/>
                  <a:pt x="362" y="193"/>
                </a:cubicBezTo>
                <a:cubicBezTo>
                  <a:pt x="362" y="106"/>
                  <a:pt x="362" y="106"/>
                  <a:pt x="362" y="106"/>
                </a:cubicBezTo>
                <a:cubicBezTo>
                  <a:pt x="362" y="100"/>
                  <a:pt x="358" y="96"/>
                  <a:pt x="352" y="96"/>
                </a:cubicBezTo>
                <a:cubicBezTo>
                  <a:pt x="346" y="96"/>
                  <a:pt x="341" y="100"/>
                  <a:pt x="341" y="106"/>
                </a:cubicBezTo>
                <a:cubicBezTo>
                  <a:pt x="341" y="193"/>
                  <a:pt x="341" y="193"/>
                  <a:pt x="341" y="193"/>
                </a:cubicBezTo>
                <a:cubicBezTo>
                  <a:pt x="323" y="198"/>
                  <a:pt x="309" y="215"/>
                  <a:pt x="309" y="234"/>
                </a:cubicBezTo>
                <a:cubicBezTo>
                  <a:pt x="309" y="254"/>
                  <a:pt x="323" y="271"/>
                  <a:pt x="341" y="275"/>
                </a:cubicBezTo>
                <a:cubicBezTo>
                  <a:pt x="341" y="405"/>
                  <a:pt x="341" y="405"/>
                  <a:pt x="341" y="405"/>
                </a:cubicBezTo>
                <a:cubicBezTo>
                  <a:pt x="341" y="411"/>
                  <a:pt x="346" y="416"/>
                  <a:pt x="352" y="416"/>
                </a:cubicBezTo>
                <a:cubicBezTo>
                  <a:pt x="358" y="416"/>
                  <a:pt x="362" y="411"/>
                  <a:pt x="362" y="405"/>
                </a:cubicBezTo>
                <a:cubicBezTo>
                  <a:pt x="362" y="275"/>
                  <a:pt x="362" y="275"/>
                  <a:pt x="362" y="275"/>
                </a:cubicBezTo>
                <a:cubicBezTo>
                  <a:pt x="381" y="271"/>
                  <a:pt x="394" y="254"/>
                  <a:pt x="394" y="234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0" name="Freeform 324"/>
          <p:cNvSpPr>
            <a:spLocks noChangeAspect="1" noEditPoints="1"/>
          </p:cNvSpPr>
          <p:nvPr/>
        </p:nvSpPr>
        <p:spPr bwMode="auto">
          <a:xfrm>
            <a:off x="7316854" y="4789655"/>
            <a:ext cx="369021" cy="369021"/>
          </a:xfrm>
          <a:custGeom>
            <a:avLst/>
            <a:gdLst>
              <a:gd name="T0" fmla="*/ 264 w 512"/>
              <a:gd name="T1" fmla="*/ 120 h 512"/>
              <a:gd name="T2" fmla="*/ 343 w 512"/>
              <a:gd name="T3" fmla="*/ 151 h 512"/>
              <a:gd name="T4" fmla="*/ 341 w 512"/>
              <a:gd name="T5" fmla="*/ 156 h 512"/>
              <a:gd name="T6" fmla="*/ 331 w 512"/>
              <a:gd name="T7" fmla="*/ 161 h 512"/>
              <a:gd name="T8" fmla="*/ 326 w 512"/>
              <a:gd name="T9" fmla="*/ 167 h 512"/>
              <a:gd name="T10" fmla="*/ 291 w 512"/>
              <a:gd name="T11" fmla="*/ 256 h 512"/>
              <a:gd name="T12" fmla="*/ 294 w 512"/>
              <a:gd name="T13" fmla="*/ 268 h 512"/>
              <a:gd name="T14" fmla="*/ 315 w 512"/>
              <a:gd name="T15" fmla="*/ 285 h 512"/>
              <a:gd name="T16" fmla="*/ 306 w 512"/>
              <a:gd name="T17" fmla="*/ 308 h 512"/>
              <a:gd name="T18" fmla="*/ 186 w 512"/>
              <a:gd name="T19" fmla="*/ 262 h 512"/>
              <a:gd name="T20" fmla="*/ 195 w 512"/>
              <a:gd name="T21" fmla="*/ 239 h 512"/>
              <a:gd name="T22" fmla="*/ 221 w 512"/>
              <a:gd name="T23" fmla="*/ 240 h 512"/>
              <a:gd name="T24" fmla="*/ 232 w 512"/>
              <a:gd name="T25" fmla="*/ 233 h 512"/>
              <a:gd name="T26" fmla="*/ 266 w 512"/>
              <a:gd name="T27" fmla="*/ 144 h 512"/>
              <a:gd name="T28" fmla="*/ 266 w 512"/>
              <a:gd name="T29" fmla="*/ 136 h 512"/>
              <a:gd name="T30" fmla="*/ 261 w 512"/>
              <a:gd name="T31" fmla="*/ 126 h 512"/>
              <a:gd name="T32" fmla="*/ 264 w 512"/>
              <a:gd name="T33" fmla="*/ 120 h 512"/>
              <a:gd name="T34" fmla="*/ 512 w 512"/>
              <a:gd name="T35" fmla="*/ 256 h 512"/>
              <a:gd name="T36" fmla="*/ 256 w 512"/>
              <a:gd name="T37" fmla="*/ 512 h 512"/>
              <a:gd name="T38" fmla="*/ 0 w 512"/>
              <a:gd name="T39" fmla="*/ 256 h 512"/>
              <a:gd name="T40" fmla="*/ 256 w 512"/>
              <a:gd name="T41" fmla="*/ 0 h 512"/>
              <a:gd name="T42" fmla="*/ 512 w 512"/>
              <a:gd name="T43" fmla="*/ 256 h 512"/>
              <a:gd name="T44" fmla="*/ 361 w 512"/>
              <a:gd name="T45" fmla="*/ 134 h 512"/>
              <a:gd name="T46" fmla="*/ 261 w 512"/>
              <a:gd name="T47" fmla="*/ 96 h 512"/>
              <a:gd name="T48" fmla="*/ 247 w 512"/>
              <a:gd name="T49" fmla="*/ 102 h 512"/>
              <a:gd name="T50" fmla="*/ 240 w 512"/>
              <a:gd name="T51" fmla="*/ 122 h 512"/>
              <a:gd name="T52" fmla="*/ 240 w 512"/>
              <a:gd name="T53" fmla="*/ 131 h 512"/>
              <a:gd name="T54" fmla="*/ 244 w 512"/>
              <a:gd name="T55" fmla="*/ 140 h 512"/>
              <a:gd name="T56" fmla="*/ 214 w 512"/>
              <a:gd name="T57" fmla="*/ 219 h 512"/>
              <a:gd name="T58" fmla="*/ 188 w 512"/>
              <a:gd name="T59" fmla="*/ 218 h 512"/>
              <a:gd name="T60" fmla="*/ 178 w 512"/>
              <a:gd name="T61" fmla="*/ 224 h 512"/>
              <a:gd name="T62" fmla="*/ 163 w 512"/>
              <a:gd name="T63" fmla="*/ 264 h 512"/>
              <a:gd name="T64" fmla="*/ 163 w 512"/>
              <a:gd name="T65" fmla="*/ 272 h 512"/>
              <a:gd name="T66" fmla="*/ 169 w 512"/>
              <a:gd name="T67" fmla="*/ 278 h 512"/>
              <a:gd name="T68" fmla="*/ 229 w 512"/>
              <a:gd name="T69" fmla="*/ 301 h 512"/>
              <a:gd name="T70" fmla="*/ 194 w 512"/>
              <a:gd name="T71" fmla="*/ 391 h 512"/>
              <a:gd name="T72" fmla="*/ 200 w 512"/>
              <a:gd name="T73" fmla="*/ 404 h 512"/>
              <a:gd name="T74" fmla="*/ 204 w 512"/>
              <a:gd name="T75" fmla="*/ 405 h 512"/>
              <a:gd name="T76" fmla="*/ 214 w 512"/>
              <a:gd name="T77" fmla="*/ 398 h 512"/>
              <a:gd name="T78" fmla="*/ 248 w 512"/>
              <a:gd name="T79" fmla="*/ 308 h 512"/>
              <a:gd name="T80" fmla="*/ 308 w 512"/>
              <a:gd name="T81" fmla="*/ 331 h 512"/>
              <a:gd name="T82" fmla="*/ 312 w 512"/>
              <a:gd name="T83" fmla="*/ 332 h 512"/>
              <a:gd name="T84" fmla="*/ 322 w 512"/>
              <a:gd name="T85" fmla="*/ 325 h 512"/>
              <a:gd name="T86" fmla="*/ 337 w 512"/>
              <a:gd name="T87" fmla="*/ 285 h 512"/>
              <a:gd name="T88" fmla="*/ 334 w 512"/>
              <a:gd name="T89" fmla="*/ 273 h 512"/>
              <a:gd name="T90" fmla="*/ 314 w 512"/>
              <a:gd name="T91" fmla="*/ 257 h 512"/>
              <a:gd name="T92" fmla="*/ 344 w 512"/>
              <a:gd name="T93" fmla="*/ 178 h 512"/>
              <a:gd name="T94" fmla="*/ 354 w 512"/>
              <a:gd name="T95" fmla="*/ 174 h 512"/>
              <a:gd name="T96" fmla="*/ 359 w 512"/>
              <a:gd name="T97" fmla="*/ 168 h 512"/>
              <a:gd name="T98" fmla="*/ 367 w 512"/>
              <a:gd name="T99" fmla="*/ 148 h 512"/>
              <a:gd name="T100" fmla="*/ 361 w 512"/>
              <a:gd name="T101" fmla="*/ 1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12" h="512">
                <a:moveTo>
                  <a:pt x="264" y="120"/>
                </a:moveTo>
                <a:cubicBezTo>
                  <a:pt x="343" y="151"/>
                  <a:pt x="343" y="151"/>
                  <a:pt x="343" y="151"/>
                </a:cubicBezTo>
                <a:cubicBezTo>
                  <a:pt x="341" y="156"/>
                  <a:pt x="341" y="156"/>
                  <a:pt x="341" y="156"/>
                </a:cubicBezTo>
                <a:cubicBezTo>
                  <a:pt x="331" y="161"/>
                  <a:pt x="331" y="161"/>
                  <a:pt x="331" y="161"/>
                </a:cubicBezTo>
                <a:cubicBezTo>
                  <a:pt x="329" y="162"/>
                  <a:pt x="327" y="164"/>
                  <a:pt x="326" y="167"/>
                </a:cubicBezTo>
                <a:cubicBezTo>
                  <a:pt x="291" y="256"/>
                  <a:pt x="291" y="256"/>
                  <a:pt x="291" y="256"/>
                </a:cubicBezTo>
                <a:cubicBezTo>
                  <a:pt x="290" y="261"/>
                  <a:pt x="291" y="266"/>
                  <a:pt x="294" y="268"/>
                </a:cubicBezTo>
                <a:cubicBezTo>
                  <a:pt x="315" y="285"/>
                  <a:pt x="315" y="285"/>
                  <a:pt x="315" y="285"/>
                </a:cubicBezTo>
                <a:cubicBezTo>
                  <a:pt x="306" y="308"/>
                  <a:pt x="306" y="308"/>
                  <a:pt x="306" y="308"/>
                </a:cubicBezTo>
                <a:cubicBezTo>
                  <a:pt x="186" y="262"/>
                  <a:pt x="186" y="262"/>
                  <a:pt x="186" y="262"/>
                </a:cubicBezTo>
                <a:cubicBezTo>
                  <a:pt x="195" y="239"/>
                  <a:pt x="195" y="239"/>
                  <a:pt x="195" y="239"/>
                </a:cubicBezTo>
                <a:cubicBezTo>
                  <a:pt x="221" y="240"/>
                  <a:pt x="221" y="240"/>
                  <a:pt x="221" y="240"/>
                </a:cubicBezTo>
                <a:cubicBezTo>
                  <a:pt x="226" y="241"/>
                  <a:pt x="230" y="238"/>
                  <a:pt x="232" y="233"/>
                </a:cubicBezTo>
                <a:cubicBezTo>
                  <a:pt x="266" y="144"/>
                  <a:pt x="266" y="144"/>
                  <a:pt x="266" y="144"/>
                </a:cubicBezTo>
                <a:cubicBezTo>
                  <a:pt x="267" y="141"/>
                  <a:pt x="267" y="138"/>
                  <a:pt x="266" y="136"/>
                </a:cubicBezTo>
                <a:cubicBezTo>
                  <a:pt x="261" y="126"/>
                  <a:pt x="261" y="126"/>
                  <a:pt x="261" y="126"/>
                </a:cubicBezTo>
                <a:lnTo>
                  <a:pt x="264" y="120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61" y="134"/>
                </a:moveTo>
                <a:cubicBezTo>
                  <a:pt x="261" y="96"/>
                  <a:pt x="261" y="96"/>
                  <a:pt x="261" y="96"/>
                </a:cubicBezTo>
                <a:cubicBezTo>
                  <a:pt x="256" y="94"/>
                  <a:pt x="250" y="97"/>
                  <a:pt x="247" y="102"/>
                </a:cubicBezTo>
                <a:cubicBezTo>
                  <a:pt x="240" y="122"/>
                  <a:pt x="240" y="122"/>
                  <a:pt x="240" y="122"/>
                </a:cubicBezTo>
                <a:cubicBezTo>
                  <a:pt x="239" y="125"/>
                  <a:pt x="239" y="128"/>
                  <a:pt x="240" y="131"/>
                </a:cubicBezTo>
                <a:cubicBezTo>
                  <a:pt x="244" y="140"/>
                  <a:pt x="244" y="140"/>
                  <a:pt x="244" y="140"/>
                </a:cubicBezTo>
                <a:cubicBezTo>
                  <a:pt x="214" y="219"/>
                  <a:pt x="214" y="219"/>
                  <a:pt x="214" y="219"/>
                </a:cubicBezTo>
                <a:cubicBezTo>
                  <a:pt x="188" y="218"/>
                  <a:pt x="188" y="218"/>
                  <a:pt x="188" y="218"/>
                </a:cubicBezTo>
                <a:cubicBezTo>
                  <a:pt x="184" y="217"/>
                  <a:pt x="180" y="220"/>
                  <a:pt x="178" y="224"/>
                </a:cubicBezTo>
                <a:cubicBezTo>
                  <a:pt x="163" y="264"/>
                  <a:pt x="163" y="264"/>
                  <a:pt x="163" y="264"/>
                </a:cubicBezTo>
                <a:cubicBezTo>
                  <a:pt x="162" y="267"/>
                  <a:pt x="162" y="270"/>
                  <a:pt x="163" y="272"/>
                </a:cubicBezTo>
                <a:cubicBezTo>
                  <a:pt x="164" y="275"/>
                  <a:pt x="166" y="277"/>
                  <a:pt x="169" y="278"/>
                </a:cubicBezTo>
                <a:cubicBezTo>
                  <a:pt x="229" y="301"/>
                  <a:pt x="229" y="301"/>
                  <a:pt x="229" y="301"/>
                </a:cubicBezTo>
                <a:cubicBezTo>
                  <a:pt x="194" y="391"/>
                  <a:pt x="194" y="391"/>
                  <a:pt x="194" y="391"/>
                </a:cubicBezTo>
                <a:cubicBezTo>
                  <a:pt x="192" y="396"/>
                  <a:pt x="195" y="402"/>
                  <a:pt x="200" y="404"/>
                </a:cubicBezTo>
                <a:cubicBezTo>
                  <a:pt x="202" y="405"/>
                  <a:pt x="203" y="405"/>
                  <a:pt x="204" y="405"/>
                </a:cubicBezTo>
                <a:cubicBezTo>
                  <a:pt x="208" y="405"/>
                  <a:pt x="212" y="402"/>
                  <a:pt x="214" y="398"/>
                </a:cubicBezTo>
                <a:cubicBezTo>
                  <a:pt x="248" y="308"/>
                  <a:pt x="248" y="308"/>
                  <a:pt x="248" y="308"/>
                </a:cubicBezTo>
                <a:cubicBezTo>
                  <a:pt x="308" y="331"/>
                  <a:pt x="308" y="331"/>
                  <a:pt x="308" y="331"/>
                </a:cubicBezTo>
                <a:cubicBezTo>
                  <a:pt x="309" y="332"/>
                  <a:pt x="311" y="332"/>
                  <a:pt x="312" y="332"/>
                </a:cubicBezTo>
                <a:cubicBezTo>
                  <a:pt x="316" y="332"/>
                  <a:pt x="320" y="329"/>
                  <a:pt x="322" y="325"/>
                </a:cubicBezTo>
                <a:cubicBezTo>
                  <a:pt x="337" y="285"/>
                  <a:pt x="337" y="285"/>
                  <a:pt x="337" y="285"/>
                </a:cubicBezTo>
                <a:cubicBezTo>
                  <a:pt x="339" y="281"/>
                  <a:pt x="338" y="276"/>
                  <a:pt x="334" y="273"/>
                </a:cubicBezTo>
                <a:cubicBezTo>
                  <a:pt x="314" y="257"/>
                  <a:pt x="314" y="257"/>
                  <a:pt x="314" y="257"/>
                </a:cubicBezTo>
                <a:cubicBezTo>
                  <a:pt x="344" y="178"/>
                  <a:pt x="344" y="178"/>
                  <a:pt x="344" y="178"/>
                </a:cubicBezTo>
                <a:cubicBezTo>
                  <a:pt x="354" y="174"/>
                  <a:pt x="354" y="174"/>
                  <a:pt x="354" y="174"/>
                </a:cubicBezTo>
                <a:cubicBezTo>
                  <a:pt x="356" y="173"/>
                  <a:pt x="358" y="171"/>
                  <a:pt x="359" y="168"/>
                </a:cubicBezTo>
                <a:cubicBezTo>
                  <a:pt x="367" y="148"/>
                  <a:pt x="367" y="148"/>
                  <a:pt x="367" y="148"/>
                </a:cubicBezTo>
                <a:cubicBezTo>
                  <a:pt x="369" y="143"/>
                  <a:pt x="366" y="137"/>
                  <a:pt x="361" y="134"/>
                </a:cubicBezTo>
                <a:close/>
              </a:path>
            </a:pathLst>
          </a:custGeom>
          <a:solidFill>
            <a:srgbClr val="86BC2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1" name="Freeform 151"/>
          <p:cNvSpPr>
            <a:spLocks noChangeAspect="1" noEditPoints="1"/>
          </p:cNvSpPr>
          <p:nvPr/>
        </p:nvSpPr>
        <p:spPr bwMode="auto">
          <a:xfrm>
            <a:off x="4990940" y="5507050"/>
            <a:ext cx="369676" cy="36967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37 w 512"/>
              <a:gd name="T11" fmla="*/ 342 h 512"/>
              <a:gd name="T12" fmla="*/ 210 w 512"/>
              <a:gd name="T13" fmla="*/ 370 h 512"/>
              <a:gd name="T14" fmla="*/ 206 w 512"/>
              <a:gd name="T15" fmla="*/ 372 h 512"/>
              <a:gd name="T16" fmla="*/ 202 w 512"/>
              <a:gd name="T17" fmla="*/ 373 h 512"/>
              <a:gd name="T18" fmla="*/ 198 w 512"/>
              <a:gd name="T19" fmla="*/ 372 h 512"/>
              <a:gd name="T20" fmla="*/ 195 w 512"/>
              <a:gd name="T21" fmla="*/ 370 h 512"/>
              <a:gd name="T22" fmla="*/ 167 w 512"/>
              <a:gd name="T23" fmla="*/ 342 h 512"/>
              <a:gd name="T24" fmla="*/ 167 w 512"/>
              <a:gd name="T25" fmla="*/ 327 h 512"/>
              <a:gd name="T26" fmla="*/ 182 w 512"/>
              <a:gd name="T27" fmla="*/ 327 h 512"/>
              <a:gd name="T28" fmla="*/ 192 w 512"/>
              <a:gd name="T29" fmla="*/ 337 h 512"/>
              <a:gd name="T30" fmla="*/ 192 w 512"/>
              <a:gd name="T31" fmla="*/ 149 h 512"/>
              <a:gd name="T32" fmla="*/ 202 w 512"/>
              <a:gd name="T33" fmla="*/ 138 h 512"/>
              <a:gd name="T34" fmla="*/ 213 w 512"/>
              <a:gd name="T35" fmla="*/ 149 h 512"/>
              <a:gd name="T36" fmla="*/ 213 w 512"/>
              <a:gd name="T37" fmla="*/ 337 h 512"/>
              <a:gd name="T38" fmla="*/ 222 w 512"/>
              <a:gd name="T39" fmla="*/ 327 h 512"/>
              <a:gd name="T40" fmla="*/ 237 w 512"/>
              <a:gd name="T41" fmla="*/ 327 h 512"/>
              <a:gd name="T42" fmla="*/ 237 w 512"/>
              <a:gd name="T43" fmla="*/ 342 h 512"/>
              <a:gd name="T44" fmla="*/ 330 w 512"/>
              <a:gd name="T45" fmla="*/ 373 h 512"/>
              <a:gd name="T46" fmla="*/ 268 w 512"/>
              <a:gd name="T47" fmla="*/ 373 h 512"/>
              <a:gd name="T48" fmla="*/ 268 w 512"/>
              <a:gd name="T49" fmla="*/ 361 h 512"/>
              <a:gd name="T50" fmla="*/ 308 w 512"/>
              <a:gd name="T51" fmla="*/ 303 h 512"/>
              <a:gd name="T52" fmla="*/ 269 w 512"/>
              <a:gd name="T53" fmla="*/ 303 h 512"/>
              <a:gd name="T54" fmla="*/ 269 w 512"/>
              <a:gd name="T55" fmla="*/ 289 h 512"/>
              <a:gd name="T56" fmla="*/ 329 w 512"/>
              <a:gd name="T57" fmla="*/ 289 h 512"/>
              <a:gd name="T58" fmla="*/ 329 w 512"/>
              <a:gd name="T59" fmla="*/ 300 h 512"/>
              <a:gd name="T60" fmla="*/ 289 w 512"/>
              <a:gd name="T61" fmla="*/ 358 h 512"/>
              <a:gd name="T62" fmla="*/ 330 w 512"/>
              <a:gd name="T63" fmla="*/ 358 h 512"/>
              <a:gd name="T64" fmla="*/ 330 w 512"/>
              <a:gd name="T65" fmla="*/ 373 h 512"/>
              <a:gd name="T66" fmla="*/ 318 w 512"/>
              <a:gd name="T67" fmla="*/ 223 h 512"/>
              <a:gd name="T68" fmla="*/ 312 w 512"/>
              <a:gd name="T69" fmla="*/ 203 h 512"/>
              <a:gd name="T70" fmla="*/ 281 w 512"/>
              <a:gd name="T71" fmla="*/ 203 h 512"/>
              <a:gd name="T72" fmla="*/ 275 w 512"/>
              <a:gd name="T73" fmla="*/ 223 h 512"/>
              <a:gd name="T74" fmla="*/ 256 w 512"/>
              <a:gd name="T75" fmla="*/ 223 h 512"/>
              <a:gd name="T76" fmla="*/ 285 w 512"/>
              <a:gd name="T77" fmla="*/ 138 h 512"/>
              <a:gd name="T78" fmla="*/ 307 w 512"/>
              <a:gd name="T79" fmla="*/ 138 h 512"/>
              <a:gd name="T80" fmla="*/ 337 w 512"/>
              <a:gd name="T81" fmla="*/ 223 h 512"/>
              <a:gd name="T82" fmla="*/ 318 w 512"/>
              <a:gd name="T83" fmla="*/ 223 h 512"/>
              <a:gd name="T84" fmla="*/ 298 w 512"/>
              <a:gd name="T85" fmla="*/ 157 h 512"/>
              <a:gd name="T86" fmla="*/ 307 w 512"/>
              <a:gd name="T87" fmla="*/ 188 h 512"/>
              <a:gd name="T88" fmla="*/ 286 w 512"/>
              <a:gd name="T89" fmla="*/ 188 h 512"/>
              <a:gd name="T90" fmla="*/ 296 w 512"/>
              <a:gd name="T91" fmla="*/ 152 h 512"/>
              <a:gd name="T92" fmla="*/ 298 w 512"/>
              <a:gd name="T93" fmla="*/ 15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37" y="342"/>
                </a:moveTo>
                <a:cubicBezTo>
                  <a:pt x="210" y="370"/>
                  <a:pt x="210" y="370"/>
                  <a:pt x="210" y="370"/>
                </a:cubicBezTo>
                <a:cubicBezTo>
                  <a:pt x="209" y="371"/>
                  <a:pt x="208" y="372"/>
                  <a:pt x="206" y="372"/>
                </a:cubicBezTo>
                <a:cubicBezTo>
                  <a:pt x="205" y="373"/>
                  <a:pt x="204" y="373"/>
                  <a:pt x="202" y="373"/>
                </a:cubicBezTo>
                <a:cubicBezTo>
                  <a:pt x="201" y="373"/>
                  <a:pt x="200" y="373"/>
                  <a:pt x="198" y="372"/>
                </a:cubicBezTo>
                <a:cubicBezTo>
                  <a:pt x="197" y="372"/>
                  <a:pt x="196" y="371"/>
                  <a:pt x="195" y="370"/>
                </a:cubicBezTo>
                <a:cubicBezTo>
                  <a:pt x="167" y="342"/>
                  <a:pt x="167" y="342"/>
                  <a:pt x="167" y="342"/>
                </a:cubicBezTo>
                <a:cubicBezTo>
                  <a:pt x="163" y="338"/>
                  <a:pt x="163" y="331"/>
                  <a:pt x="167" y="327"/>
                </a:cubicBezTo>
                <a:cubicBezTo>
                  <a:pt x="171" y="323"/>
                  <a:pt x="178" y="323"/>
                  <a:pt x="182" y="327"/>
                </a:cubicBezTo>
                <a:cubicBezTo>
                  <a:pt x="192" y="337"/>
                  <a:pt x="192" y="337"/>
                  <a:pt x="192" y="337"/>
                </a:cubicBezTo>
                <a:cubicBezTo>
                  <a:pt x="192" y="149"/>
                  <a:pt x="192" y="149"/>
                  <a:pt x="192" y="149"/>
                </a:cubicBezTo>
                <a:cubicBezTo>
                  <a:pt x="192" y="143"/>
                  <a:pt x="196" y="138"/>
                  <a:pt x="202" y="138"/>
                </a:cubicBezTo>
                <a:cubicBezTo>
                  <a:pt x="208" y="138"/>
                  <a:pt x="213" y="143"/>
                  <a:pt x="213" y="149"/>
                </a:cubicBezTo>
                <a:cubicBezTo>
                  <a:pt x="213" y="337"/>
                  <a:pt x="213" y="337"/>
                  <a:pt x="213" y="337"/>
                </a:cubicBezTo>
                <a:cubicBezTo>
                  <a:pt x="222" y="327"/>
                  <a:pt x="222" y="327"/>
                  <a:pt x="222" y="327"/>
                </a:cubicBezTo>
                <a:cubicBezTo>
                  <a:pt x="227" y="323"/>
                  <a:pt x="233" y="323"/>
                  <a:pt x="237" y="327"/>
                </a:cubicBezTo>
                <a:cubicBezTo>
                  <a:pt x="242" y="331"/>
                  <a:pt x="242" y="338"/>
                  <a:pt x="237" y="342"/>
                </a:cubicBezTo>
                <a:close/>
                <a:moveTo>
                  <a:pt x="330" y="373"/>
                </a:moveTo>
                <a:cubicBezTo>
                  <a:pt x="268" y="373"/>
                  <a:pt x="268" y="373"/>
                  <a:pt x="268" y="373"/>
                </a:cubicBezTo>
                <a:cubicBezTo>
                  <a:pt x="268" y="361"/>
                  <a:pt x="268" y="361"/>
                  <a:pt x="268" y="361"/>
                </a:cubicBezTo>
                <a:cubicBezTo>
                  <a:pt x="308" y="303"/>
                  <a:pt x="308" y="303"/>
                  <a:pt x="308" y="303"/>
                </a:cubicBezTo>
                <a:cubicBezTo>
                  <a:pt x="269" y="303"/>
                  <a:pt x="269" y="303"/>
                  <a:pt x="269" y="303"/>
                </a:cubicBezTo>
                <a:cubicBezTo>
                  <a:pt x="269" y="289"/>
                  <a:pt x="269" y="289"/>
                  <a:pt x="269" y="289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29" y="300"/>
                  <a:pt x="329" y="300"/>
                  <a:pt x="329" y="300"/>
                </a:cubicBezTo>
                <a:cubicBezTo>
                  <a:pt x="289" y="358"/>
                  <a:pt x="289" y="358"/>
                  <a:pt x="289" y="358"/>
                </a:cubicBezTo>
                <a:cubicBezTo>
                  <a:pt x="330" y="358"/>
                  <a:pt x="330" y="358"/>
                  <a:pt x="330" y="358"/>
                </a:cubicBezTo>
                <a:lnTo>
                  <a:pt x="330" y="373"/>
                </a:lnTo>
                <a:close/>
                <a:moveTo>
                  <a:pt x="318" y="223"/>
                </a:moveTo>
                <a:cubicBezTo>
                  <a:pt x="312" y="203"/>
                  <a:pt x="312" y="203"/>
                  <a:pt x="312" y="203"/>
                </a:cubicBezTo>
                <a:cubicBezTo>
                  <a:pt x="281" y="203"/>
                  <a:pt x="281" y="203"/>
                  <a:pt x="281" y="203"/>
                </a:cubicBezTo>
                <a:cubicBezTo>
                  <a:pt x="275" y="223"/>
                  <a:pt x="275" y="223"/>
                  <a:pt x="275" y="223"/>
                </a:cubicBezTo>
                <a:cubicBezTo>
                  <a:pt x="256" y="223"/>
                  <a:pt x="256" y="223"/>
                  <a:pt x="256" y="223"/>
                </a:cubicBezTo>
                <a:cubicBezTo>
                  <a:pt x="285" y="138"/>
                  <a:pt x="285" y="138"/>
                  <a:pt x="285" y="138"/>
                </a:cubicBezTo>
                <a:cubicBezTo>
                  <a:pt x="307" y="138"/>
                  <a:pt x="307" y="138"/>
                  <a:pt x="307" y="138"/>
                </a:cubicBezTo>
                <a:cubicBezTo>
                  <a:pt x="337" y="223"/>
                  <a:pt x="337" y="223"/>
                  <a:pt x="337" y="223"/>
                </a:cubicBezTo>
                <a:lnTo>
                  <a:pt x="318" y="223"/>
                </a:lnTo>
                <a:close/>
                <a:moveTo>
                  <a:pt x="298" y="157"/>
                </a:moveTo>
                <a:cubicBezTo>
                  <a:pt x="299" y="160"/>
                  <a:pt x="302" y="170"/>
                  <a:pt x="307" y="188"/>
                </a:cubicBezTo>
                <a:cubicBezTo>
                  <a:pt x="286" y="188"/>
                  <a:pt x="286" y="188"/>
                  <a:pt x="286" y="188"/>
                </a:cubicBezTo>
                <a:cubicBezTo>
                  <a:pt x="292" y="169"/>
                  <a:pt x="295" y="156"/>
                  <a:pt x="296" y="152"/>
                </a:cubicBezTo>
                <a:cubicBezTo>
                  <a:pt x="297" y="153"/>
                  <a:pt x="297" y="155"/>
                  <a:pt x="298" y="157"/>
                </a:cubicBezTo>
                <a:close/>
              </a:path>
            </a:pathLst>
          </a:custGeom>
          <a:solidFill>
            <a:srgbClr val="006B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2" name="Group 412"/>
          <p:cNvGrpSpPr>
            <a:grpSpLocks noChangeAspect="1"/>
          </p:cNvGrpSpPr>
          <p:nvPr/>
        </p:nvGrpSpPr>
        <p:grpSpPr bwMode="auto">
          <a:xfrm>
            <a:off x="2711311" y="4801751"/>
            <a:ext cx="367631" cy="367631"/>
            <a:chOff x="2297" y="1592"/>
            <a:chExt cx="340" cy="340"/>
          </a:xfrm>
          <a:solidFill>
            <a:srgbClr val="FFC000"/>
          </a:solidFill>
        </p:grpSpPr>
        <p:sp>
          <p:nvSpPr>
            <p:cNvPr id="53" name="Freeform 52"/>
            <p:cNvSpPr>
              <a:spLocks noEditPoints="1"/>
            </p:cNvSpPr>
            <p:nvPr/>
          </p:nvSpPr>
          <p:spPr bwMode="auto">
            <a:xfrm>
              <a:off x="2297" y="1592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163 w 512"/>
                <a:gd name="T11" fmla="*/ 269 h 512"/>
                <a:gd name="T12" fmla="*/ 178 w 512"/>
                <a:gd name="T13" fmla="*/ 269 h 512"/>
                <a:gd name="T14" fmla="*/ 245 w 512"/>
                <a:gd name="T15" fmla="*/ 337 h 512"/>
                <a:gd name="T16" fmla="*/ 245 w 512"/>
                <a:gd name="T17" fmla="*/ 106 h 512"/>
                <a:gd name="T18" fmla="*/ 256 w 512"/>
                <a:gd name="T19" fmla="*/ 96 h 512"/>
                <a:gd name="T20" fmla="*/ 266 w 512"/>
                <a:gd name="T21" fmla="*/ 106 h 512"/>
                <a:gd name="T22" fmla="*/ 266 w 512"/>
                <a:gd name="T23" fmla="*/ 337 h 512"/>
                <a:gd name="T24" fmla="*/ 333 w 512"/>
                <a:gd name="T25" fmla="*/ 269 h 512"/>
                <a:gd name="T26" fmla="*/ 349 w 512"/>
                <a:gd name="T27" fmla="*/ 269 h 512"/>
                <a:gd name="T28" fmla="*/ 349 w 512"/>
                <a:gd name="T29" fmla="*/ 285 h 512"/>
                <a:gd name="T30" fmla="*/ 263 w 512"/>
                <a:gd name="T31" fmla="*/ 370 h 512"/>
                <a:gd name="T32" fmla="*/ 260 w 512"/>
                <a:gd name="T33" fmla="*/ 372 h 512"/>
                <a:gd name="T34" fmla="*/ 256 w 512"/>
                <a:gd name="T35" fmla="*/ 373 h 512"/>
                <a:gd name="T36" fmla="*/ 252 w 512"/>
                <a:gd name="T37" fmla="*/ 372 h 512"/>
                <a:gd name="T38" fmla="*/ 248 w 512"/>
                <a:gd name="T39" fmla="*/ 370 h 512"/>
                <a:gd name="T40" fmla="*/ 163 w 512"/>
                <a:gd name="T41" fmla="*/ 285 h 512"/>
                <a:gd name="T42" fmla="*/ 163 w 512"/>
                <a:gd name="T43" fmla="*/ 269 h 512"/>
                <a:gd name="T44" fmla="*/ 373 w 512"/>
                <a:gd name="T45" fmla="*/ 405 h 512"/>
                <a:gd name="T46" fmla="*/ 362 w 512"/>
                <a:gd name="T47" fmla="*/ 416 h 512"/>
                <a:gd name="T48" fmla="*/ 149 w 512"/>
                <a:gd name="T49" fmla="*/ 416 h 512"/>
                <a:gd name="T50" fmla="*/ 138 w 512"/>
                <a:gd name="T51" fmla="*/ 405 h 512"/>
                <a:gd name="T52" fmla="*/ 138 w 512"/>
                <a:gd name="T53" fmla="*/ 362 h 512"/>
                <a:gd name="T54" fmla="*/ 149 w 512"/>
                <a:gd name="T55" fmla="*/ 352 h 512"/>
                <a:gd name="T56" fmla="*/ 160 w 512"/>
                <a:gd name="T57" fmla="*/ 362 h 512"/>
                <a:gd name="T58" fmla="*/ 160 w 512"/>
                <a:gd name="T59" fmla="*/ 394 h 512"/>
                <a:gd name="T60" fmla="*/ 352 w 512"/>
                <a:gd name="T61" fmla="*/ 394 h 512"/>
                <a:gd name="T62" fmla="*/ 352 w 512"/>
                <a:gd name="T63" fmla="*/ 362 h 512"/>
                <a:gd name="T64" fmla="*/ 362 w 512"/>
                <a:gd name="T65" fmla="*/ 352 h 512"/>
                <a:gd name="T66" fmla="*/ 373 w 512"/>
                <a:gd name="T67" fmla="*/ 362 h 512"/>
                <a:gd name="T68" fmla="*/ 373 w 512"/>
                <a:gd name="T69" fmla="*/ 405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163" y="269"/>
                  </a:moveTo>
                  <a:cubicBezTo>
                    <a:pt x="167" y="265"/>
                    <a:pt x="174" y="265"/>
                    <a:pt x="178" y="269"/>
                  </a:cubicBezTo>
                  <a:cubicBezTo>
                    <a:pt x="245" y="337"/>
                    <a:pt x="245" y="337"/>
                    <a:pt x="245" y="337"/>
                  </a:cubicBezTo>
                  <a:cubicBezTo>
                    <a:pt x="245" y="106"/>
                    <a:pt x="245" y="106"/>
                    <a:pt x="245" y="106"/>
                  </a:cubicBezTo>
                  <a:cubicBezTo>
                    <a:pt x="245" y="100"/>
                    <a:pt x="250" y="96"/>
                    <a:pt x="256" y="96"/>
                  </a:cubicBezTo>
                  <a:cubicBezTo>
                    <a:pt x="262" y="96"/>
                    <a:pt x="266" y="100"/>
                    <a:pt x="266" y="106"/>
                  </a:cubicBezTo>
                  <a:cubicBezTo>
                    <a:pt x="266" y="337"/>
                    <a:pt x="266" y="337"/>
                    <a:pt x="266" y="337"/>
                  </a:cubicBezTo>
                  <a:cubicBezTo>
                    <a:pt x="333" y="269"/>
                    <a:pt x="333" y="269"/>
                    <a:pt x="333" y="269"/>
                  </a:cubicBezTo>
                  <a:cubicBezTo>
                    <a:pt x="338" y="265"/>
                    <a:pt x="344" y="265"/>
                    <a:pt x="349" y="269"/>
                  </a:cubicBezTo>
                  <a:cubicBezTo>
                    <a:pt x="353" y="274"/>
                    <a:pt x="353" y="280"/>
                    <a:pt x="349" y="285"/>
                  </a:cubicBezTo>
                  <a:cubicBezTo>
                    <a:pt x="263" y="370"/>
                    <a:pt x="263" y="370"/>
                    <a:pt x="263" y="370"/>
                  </a:cubicBezTo>
                  <a:cubicBezTo>
                    <a:pt x="262" y="371"/>
                    <a:pt x="261" y="372"/>
                    <a:pt x="260" y="372"/>
                  </a:cubicBezTo>
                  <a:cubicBezTo>
                    <a:pt x="258" y="373"/>
                    <a:pt x="257" y="373"/>
                    <a:pt x="256" y="373"/>
                  </a:cubicBezTo>
                  <a:cubicBezTo>
                    <a:pt x="254" y="373"/>
                    <a:pt x="253" y="373"/>
                    <a:pt x="252" y="372"/>
                  </a:cubicBezTo>
                  <a:cubicBezTo>
                    <a:pt x="250" y="372"/>
                    <a:pt x="249" y="371"/>
                    <a:pt x="248" y="370"/>
                  </a:cubicBezTo>
                  <a:cubicBezTo>
                    <a:pt x="163" y="285"/>
                    <a:pt x="163" y="285"/>
                    <a:pt x="163" y="285"/>
                  </a:cubicBezTo>
                  <a:cubicBezTo>
                    <a:pt x="159" y="280"/>
                    <a:pt x="159" y="274"/>
                    <a:pt x="163" y="269"/>
                  </a:cubicBezTo>
                  <a:close/>
                  <a:moveTo>
                    <a:pt x="373" y="405"/>
                  </a:move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362"/>
                    <a:pt x="138" y="362"/>
                    <a:pt x="138" y="362"/>
                  </a:cubicBezTo>
                  <a:cubicBezTo>
                    <a:pt x="138" y="356"/>
                    <a:pt x="143" y="352"/>
                    <a:pt x="149" y="352"/>
                  </a:cubicBezTo>
                  <a:cubicBezTo>
                    <a:pt x="155" y="352"/>
                    <a:pt x="160" y="356"/>
                    <a:pt x="160" y="362"/>
                  </a:cubicBezTo>
                  <a:cubicBezTo>
                    <a:pt x="160" y="394"/>
                    <a:pt x="160" y="394"/>
                    <a:pt x="160" y="394"/>
                  </a:cubicBezTo>
                  <a:cubicBezTo>
                    <a:pt x="352" y="394"/>
                    <a:pt x="352" y="394"/>
                    <a:pt x="352" y="394"/>
                  </a:cubicBezTo>
                  <a:cubicBezTo>
                    <a:pt x="352" y="362"/>
                    <a:pt x="352" y="362"/>
                    <a:pt x="352" y="362"/>
                  </a:cubicBezTo>
                  <a:cubicBezTo>
                    <a:pt x="352" y="356"/>
                    <a:pt x="356" y="352"/>
                    <a:pt x="362" y="352"/>
                  </a:cubicBezTo>
                  <a:cubicBezTo>
                    <a:pt x="368" y="352"/>
                    <a:pt x="373" y="356"/>
                    <a:pt x="373" y="362"/>
                  </a:cubicBezTo>
                  <a:lnTo>
                    <a:pt x="373" y="4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53"/>
            <p:cNvSpPr>
              <a:spLocks noEditPoints="1"/>
            </p:cNvSpPr>
            <p:nvPr/>
          </p:nvSpPr>
          <p:spPr bwMode="auto">
            <a:xfrm>
              <a:off x="2297" y="1592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163 w 512"/>
                <a:gd name="T11" fmla="*/ 269 h 512"/>
                <a:gd name="T12" fmla="*/ 178 w 512"/>
                <a:gd name="T13" fmla="*/ 269 h 512"/>
                <a:gd name="T14" fmla="*/ 245 w 512"/>
                <a:gd name="T15" fmla="*/ 337 h 512"/>
                <a:gd name="T16" fmla="*/ 245 w 512"/>
                <a:gd name="T17" fmla="*/ 106 h 512"/>
                <a:gd name="T18" fmla="*/ 256 w 512"/>
                <a:gd name="T19" fmla="*/ 96 h 512"/>
                <a:gd name="T20" fmla="*/ 266 w 512"/>
                <a:gd name="T21" fmla="*/ 106 h 512"/>
                <a:gd name="T22" fmla="*/ 266 w 512"/>
                <a:gd name="T23" fmla="*/ 337 h 512"/>
                <a:gd name="T24" fmla="*/ 333 w 512"/>
                <a:gd name="T25" fmla="*/ 269 h 512"/>
                <a:gd name="T26" fmla="*/ 349 w 512"/>
                <a:gd name="T27" fmla="*/ 269 h 512"/>
                <a:gd name="T28" fmla="*/ 349 w 512"/>
                <a:gd name="T29" fmla="*/ 285 h 512"/>
                <a:gd name="T30" fmla="*/ 263 w 512"/>
                <a:gd name="T31" fmla="*/ 370 h 512"/>
                <a:gd name="T32" fmla="*/ 260 w 512"/>
                <a:gd name="T33" fmla="*/ 372 h 512"/>
                <a:gd name="T34" fmla="*/ 256 w 512"/>
                <a:gd name="T35" fmla="*/ 373 h 512"/>
                <a:gd name="T36" fmla="*/ 252 w 512"/>
                <a:gd name="T37" fmla="*/ 372 h 512"/>
                <a:gd name="T38" fmla="*/ 248 w 512"/>
                <a:gd name="T39" fmla="*/ 370 h 512"/>
                <a:gd name="T40" fmla="*/ 163 w 512"/>
                <a:gd name="T41" fmla="*/ 285 h 512"/>
                <a:gd name="T42" fmla="*/ 163 w 512"/>
                <a:gd name="T43" fmla="*/ 269 h 512"/>
                <a:gd name="T44" fmla="*/ 373 w 512"/>
                <a:gd name="T45" fmla="*/ 405 h 512"/>
                <a:gd name="T46" fmla="*/ 362 w 512"/>
                <a:gd name="T47" fmla="*/ 416 h 512"/>
                <a:gd name="T48" fmla="*/ 149 w 512"/>
                <a:gd name="T49" fmla="*/ 416 h 512"/>
                <a:gd name="T50" fmla="*/ 138 w 512"/>
                <a:gd name="T51" fmla="*/ 405 h 512"/>
                <a:gd name="T52" fmla="*/ 138 w 512"/>
                <a:gd name="T53" fmla="*/ 362 h 512"/>
                <a:gd name="T54" fmla="*/ 149 w 512"/>
                <a:gd name="T55" fmla="*/ 352 h 512"/>
                <a:gd name="T56" fmla="*/ 160 w 512"/>
                <a:gd name="T57" fmla="*/ 362 h 512"/>
                <a:gd name="T58" fmla="*/ 160 w 512"/>
                <a:gd name="T59" fmla="*/ 394 h 512"/>
                <a:gd name="T60" fmla="*/ 352 w 512"/>
                <a:gd name="T61" fmla="*/ 394 h 512"/>
                <a:gd name="T62" fmla="*/ 352 w 512"/>
                <a:gd name="T63" fmla="*/ 362 h 512"/>
                <a:gd name="T64" fmla="*/ 362 w 512"/>
                <a:gd name="T65" fmla="*/ 352 h 512"/>
                <a:gd name="T66" fmla="*/ 373 w 512"/>
                <a:gd name="T67" fmla="*/ 362 h 512"/>
                <a:gd name="T68" fmla="*/ 373 w 512"/>
                <a:gd name="T69" fmla="*/ 405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163" y="269"/>
                  </a:moveTo>
                  <a:cubicBezTo>
                    <a:pt x="167" y="265"/>
                    <a:pt x="174" y="265"/>
                    <a:pt x="178" y="269"/>
                  </a:cubicBezTo>
                  <a:cubicBezTo>
                    <a:pt x="245" y="337"/>
                    <a:pt x="245" y="337"/>
                    <a:pt x="245" y="337"/>
                  </a:cubicBezTo>
                  <a:cubicBezTo>
                    <a:pt x="245" y="106"/>
                    <a:pt x="245" y="106"/>
                    <a:pt x="245" y="106"/>
                  </a:cubicBezTo>
                  <a:cubicBezTo>
                    <a:pt x="245" y="100"/>
                    <a:pt x="250" y="96"/>
                    <a:pt x="256" y="96"/>
                  </a:cubicBezTo>
                  <a:cubicBezTo>
                    <a:pt x="262" y="96"/>
                    <a:pt x="266" y="100"/>
                    <a:pt x="266" y="106"/>
                  </a:cubicBezTo>
                  <a:cubicBezTo>
                    <a:pt x="266" y="337"/>
                    <a:pt x="266" y="337"/>
                    <a:pt x="266" y="337"/>
                  </a:cubicBezTo>
                  <a:cubicBezTo>
                    <a:pt x="333" y="269"/>
                    <a:pt x="333" y="269"/>
                    <a:pt x="333" y="269"/>
                  </a:cubicBezTo>
                  <a:cubicBezTo>
                    <a:pt x="338" y="265"/>
                    <a:pt x="344" y="265"/>
                    <a:pt x="349" y="269"/>
                  </a:cubicBezTo>
                  <a:cubicBezTo>
                    <a:pt x="353" y="274"/>
                    <a:pt x="353" y="280"/>
                    <a:pt x="349" y="285"/>
                  </a:cubicBezTo>
                  <a:cubicBezTo>
                    <a:pt x="263" y="370"/>
                    <a:pt x="263" y="370"/>
                    <a:pt x="263" y="370"/>
                  </a:cubicBezTo>
                  <a:cubicBezTo>
                    <a:pt x="262" y="371"/>
                    <a:pt x="261" y="372"/>
                    <a:pt x="260" y="372"/>
                  </a:cubicBezTo>
                  <a:cubicBezTo>
                    <a:pt x="258" y="373"/>
                    <a:pt x="257" y="373"/>
                    <a:pt x="256" y="373"/>
                  </a:cubicBezTo>
                  <a:cubicBezTo>
                    <a:pt x="254" y="373"/>
                    <a:pt x="253" y="373"/>
                    <a:pt x="252" y="372"/>
                  </a:cubicBezTo>
                  <a:cubicBezTo>
                    <a:pt x="250" y="372"/>
                    <a:pt x="249" y="371"/>
                    <a:pt x="248" y="370"/>
                  </a:cubicBezTo>
                  <a:cubicBezTo>
                    <a:pt x="163" y="285"/>
                    <a:pt x="163" y="285"/>
                    <a:pt x="163" y="285"/>
                  </a:cubicBezTo>
                  <a:cubicBezTo>
                    <a:pt x="159" y="280"/>
                    <a:pt x="159" y="274"/>
                    <a:pt x="163" y="269"/>
                  </a:cubicBezTo>
                  <a:close/>
                  <a:moveTo>
                    <a:pt x="373" y="405"/>
                  </a:move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362"/>
                    <a:pt x="138" y="362"/>
                    <a:pt x="138" y="362"/>
                  </a:cubicBezTo>
                  <a:cubicBezTo>
                    <a:pt x="138" y="356"/>
                    <a:pt x="143" y="352"/>
                    <a:pt x="149" y="352"/>
                  </a:cubicBezTo>
                  <a:cubicBezTo>
                    <a:pt x="155" y="352"/>
                    <a:pt x="160" y="356"/>
                    <a:pt x="160" y="362"/>
                  </a:cubicBezTo>
                  <a:cubicBezTo>
                    <a:pt x="160" y="394"/>
                    <a:pt x="160" y="394"/>
                    <a:pt x="160" y="394"/>
                  </a:cubicBezTo>
                  <a:cubicBezTo>
                    <a:pt x="352" y="394"/>
                    <a:pt x="352" y="394"/>
                    <a:pt x="352" y="394"/>
                  </a:cubicBezTo>
                  <a:cubicBezTo>
                    <a:pt x="352" y="362"/>
                    <a:pt x="352" y="362"/>
                    <a:pt x="352" y="362"/>
                  </a:cubicBezTo>
                  <a:cubicBezTo>
                    <a:pt x="352" y="356"/>
                    <a:pt x="356" y="352"/>
                    <a:pt x="362" y="352"/>
                  </a:cubicBezTo>
                  <a:cubicBezTo>
                    <a:pt x="368" y="352"/>
                    <a:pt x="373" y="356"/>
                    <a:pt x="373" y="362"/>
                  </a:cubicBezTo>
                  <a:lnTo>
                    <a:pt x="373" y="4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7" name="Freeform 993"/>
          <p:cNvSpPr>
            <a:spLocks noChangeAspect="1" noEditPoints="1"/>
          </p:cNvSpPr>
          <p:nvPr/>
        </p:nvSpPr>
        <p:spPr bwMode="auto">
          <a:xfrm>
            <a:off x="2726452" y="2628040"/>
            <a:ext cx="367041" cy="367041"/>
          </a:xfrm>
          <a:custGeom>
            <a:avLst/>
            <a:gdLst>
              <a:gd name="T0" fmla="*/ 202 w 512"/>
              <a:gd name="T1" fmla="*/ 266 h 512"/>
              <a:gd name="T2" fmla="*/ 245 w 512"/>
              <a:gd name="T3" fmla="*/ 202 h 512"/>
              <a:gd name="T4" fmla="*/ 160 w 512"/>
              <a:gd name="T5" fmla="*/ 160 h 512"/>
              <a:gd name="T6" fmla="*/ 394 w 512"/>
              <a:gd name="T7" fmla="*/ 341 h 512"/>
              <a:gd name="T8" fmla="*/ 158 w 512"/>
              <a:gd name="T9" fmla="*/ 352 h 512"/>
              <a:gd name="T10" fmla="*/ 160 w 512"/>
              <a:gd name="T11" fmla="*/ 160 h 512"/>
              <a:gd name="T12" fmla="*/ 298 w 512"/>
              <a:gd name="T13" fmla="*/ 202 h 512"/>
              <a:gd name="T14" fmla="*/ 373 w 512"/>
              <a:gd name="T15" fmla="*/ 192 h 512"/>
              <a:gd name="T16" fmla="*/ 298 w 512"/>
              <a:gd name="T17" fmla="*/ 181 h 512"/>
              <a:gd name="T18" fmla="*/ 288 w 512"/>
              <a:gd name="T19" fmla="*/ 234 h 512"/>
              <a:gd name="T20" fmla="*/ 362 w 512"/>
              <a:gd name="T21" fmla="*/ 245 h 512"/>
              <a:gd name="T22" fmla="*/ 362 w 512"/>
              <a:gd name="T23" fmla="*/ 224 h 512"/>
              <a:gd name="T24" fmla="*/ 288 w 512"/>
              <a:gd name="T25" fmla="*/ 234 h 512"/>
              <a:gd name="T26" fmla="*/ 298 w 512"/>
              <a:gd name="T27" fmla="*/ 288 h 512"/>
              <a:gd name="T28" fmla="*/ 373 w 512"/>
              <a:gd name="T29" fmla="*/ 277 h 512"/>
              <a:gd name="T30" fmla="*/ 298 w 512"/>
              <a:gd name="T31" fmla="*/ 266 h 512"/>
              <a:gd name="T32" fmla="*/ 288 w 512"/>
              <a:gd name="T33" fmla="*/ 320 h 512"/>
              <a:gd name="T34" fmla="*/ 362 w 512"/>
              <a:gd name="T35" fmla="*/ 330 h 512"/>
              <a:gd name="T36" fmla="*/ 362 w 512"/>
              <a:gd name="T37" fmla="*/ 309 h 512"/>
              <a:gd name="T38" fmla="*/ 288 w 512"/>
              <a:gd name="T39" fmla="*/ 320 h 512"/>
              <a:gd name="T40" fmla="*/ 192 w 512"/>
              <a:gd name="T41" fmla="*/ 288 h 512"/>
              <a:gd name="T42" fmla="*/ 266 w 512"/>
              <a:gd name="T43" fmla="*/ 277 h 512"/>
              <a:gd name="T44" fmla="*/ 256 w 512"/>
              <a:gd name="T45" fmla="*/ 181 h 512"/>
              <a:gd name="T46" fmla="*/ 181 w 512"/>
              <a:gd name="T47" fmla="*/ 192 h 512"/>
              <a:gd name="T48" fmla="*/ 181 w 512"/>
              <a:gd name="T49" fmla="*/ 320 h 512"/>
              <a:gd name="T50" fmla="*/ 256 w 512"/>
              <a:gd name="T51" fmla="*/ 330 h 512"/>
              <a:gd name="T52" fmla="*/ 256 w 512"/>
              <a:gd name="T53" fmla="*/ 309 h 512"/>
              <a:gd name="T54" fmla="*/ 181 w 512"/>
              <a:gd name="T55" fmla="*/ 320 h 512"/>
              <a:gd name="T56" fmla="*/ 256 w 512"/>
              <a:gd name="T57" fmla="*/ 512 h 512"/>
              <a:gd name="T58" fmla="*/ 256 w 512"/>
              <a:gd name="T59" fmla="*/ 0 h 512"/>
              <a:gd name="T60" fmla="*/ 416 w 512"/>
              <a:gd name="T61" fmla="*/ 149 h 512"/>
              <a:gd name="T62" fmla="*/ 149 w 512"/>
              <a:gd name="T63" fmla="*/ 138 h 512"/>
              <a:gd name="T64" fmla="*/ 138 w 512"/>
              <a:gd name="T65" fmla="*/ 341 h 512"/>
              <a:gd name="T66" fmla="*/ 117 w 512"/>
              <a:gd name="T67" fmla="*/ 341 h 512"/>
              <a:gd name="T68" fmla="*/ 106 w 512"/>
              <a:gd name="T69" fmla="*/ 138 h 512"/>
              <a:gd name="T70" fmla="*/ 96 w 512"/>
              <a:gd name="T71" fmla="*/ 341 h 512"/>
              <a:gd name="T72" fmla="*/ 384 w 512"/>
              <a:gd name="T73" fmla="*/ 373 h 512"/>
              <a:gd name="T74" fmla="*/ 416 w 512"/>
              <a:gd name="T75" fmla="*/ 14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245" y="266"/>
                </a:moveTo>
                <a:cubicBezTo>
                  <a:pt x="202" y="266"/>
                  <a:pt x="202" y="266"/>
                  <a:pt x="202" y="266"/>
                </a:cubicBezTo>
                <a:cubicBezTo>
                  <a:pt x="202" y="202"/>
                  <a:pt x="202" y="202"/>
                  <a:pt x="202" y="202"/>
                </a:cubicBezTo>
                <a:cubicBezTo>
                  <a:pt x="245" y="202"/>
                  <a:pt x="245" y="202"/>
                  <a:pt x="245" y="202"/>
                </a:cubicBezTo>
                <a:lnTo>
                  <a:pt x="245" y="266"/>
                </a:lnTo>
                <a:close/>
                <a:moveTo>
                  <a:pt x="160" y="160"/>
                </a:moveTo>
                <a:cubicBezTo>
                  <a:pt x="394" y="160"/>
                  <a:pt x="394" y="160"/>
                  <a:pt x="394" y="160"/>
                </a:cubicBezTo>
                <a:cubicBezTo>
                  <a:pt x="394" y="341"/>
                  <a:pt x="394" y="341"/>
                  <a:pt x="394" y="341"/>
                </a:cubicBezTo>
                <a:cubicBezTo>
                  <a:pt x="394" y="347"/>
                  <a:pt x="390" y="352"/>
                  <a:pt x="384" y="352"/>
                </a:cubicBezTo>
                <a:cubicBezTo>
                  <a:pt x="158" y="352"/>
                  <a:pt x="158" y="352"/>
                  <a:pt x="158" y="352"/>
                </a:cubicBezTo>
                <a:cubicBezTo>
                  <a:pt x="159" y="348"/>
                  <a:pt x="160" y="345"/>
                  <a:pt x="160" y="341"/>
                </a:cubicBezTo>
                <a:lnTo>
                  <a:pt x="160" y="160"/>
                </a:lnTo>
                <a:close/>
                <a:moveTo>
                  <a:pt x="288" y="192"/>
                </a:moveTo>
                <a:cubicBezTo>
                  <a:pt x="288" y="198"/>
                  <a:pt x="292" y="202"/>
                  <a:pt x="298" y="202"/>
                </a:cubicBezTo>
                <a:cubicBezTo>
                  <a:pt x="362" y="202"/>
                  <a:pt x="362" y="202"/>
                  <a:pt x="362" y="202"/>
                </a:cubicBezTo>
                <a:cubicBezTo>
                  <a:pt x="368" y="202"/>
                  <a:pt x="373" y="198"/>
                  <a:pt x="373" y="192"/>
                </a:cubicBezTo>
                <a:cubicBezTo>
                  <a:pt x="373" y="186"/>
                  <a:pt x="368" y="181"/>
                  <a:pt x="362" y="181"/>
                </a:cubicBezTo>
                <a:cubicBezTo>
                  <a:pt x="298" y="181"/>
                  <a:pt x="298" y="181"/>
                  <a:pt x="298" y="181"/>
                </a:cubicBezTo>
                <a:cubicBezTo>
                  <a:pt x="292" y="181"/>
                  <a:pt x="288" y="186"/>
                  <a:pt x="288" y="192"/>
                </a:cubicBezTo>
                <a:close/>
                <a:moveTo>
                  <a:pt x="288" y="234"/>
                </a:moveTo>
                <a:cubicBezTo>
                  <a:pt x="288" y="240"/>
                  <a:pt x="292" y="245"/>
                  <a:pt x="298" y="245"/>
                </a:cubicBezTo>
                <a:cubicBezTo>
                  <a:pt x="362" y="245"/>
                  <a:pt x="362" y="245"/>
                  <a:pt x="362" y="245"/>
                </a:cubicBezTo>
                <a:cubicBezTo>
                  <a:pt x="368" y="245"/>
                  <a:pt x="373" y="240"/>
                  <a:pt x="373" y="234"/>
                </a:cubicBezTo>
                <a:cubicBezTo>
                  <a:pt x="373" y="228"/>
                  <a:pt x="368" y="224"/>
                  <a:pt x="362" y="224"/>
                </a:cubicBezTo>
                <a:cubicBezTo>
                  <a:pt x="298" y="224"/>
                  <a:pt x="298" y="224"/>
                  <a:pt x="298" y="224"/>
                </a:cubicBezTo>
                <a:cubicBezTo>
                  <a:pt x="292" y="224"/>
                  <a:pt x="288" y="228"/>
                  <a:pt x="288" y="234"/>
                </a:cubicBezTo>
                <a:close/>
                <a:moveTo>
                  <a:pt x="288" y="277"/>
                </a:moveTo>
                <a:cubicBezTo>
                  <a:pt x="288" y="283"/>
                  <a:pt x="292" y="288"/>
                  <a:pt x="298" y="288"/>
                </a:cubicBezTo>
                <a:cubicBezTo>
                  <a:pt x="362" y="288"/>
                  <a:pt x="362" y="288"/>
                  <a:pt x="362" y="288"/>
                </a:cubicBezTo>
                <a:cubicBezTo>
                  <a:pt x="368" y="288"/>
                  <a:pt x="373" y="283"/>
                  <a:pt x="373" y="277"/>
                </a:cubicBezTo>
                <a:cubicBezTo>
                  <a:pt x="373" y="271"/>
                  <a:pt x="368" y="266"/>
                  <a:pt x="362" y="266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292" y="266"/>
                  <a:pt x="288" y="271"/>
                  <a:pt x="288" y="277"/>
                </a:cubicBezTo>
                <a:close/>
                <a:moveTo>
                  <a:pt x="288" y="320"/>
                </a:moveTo>
                <a:cubicBezTo>
                  <a:pt x="288" y="326"/>
                  <a:pt x="292" y="330"/>
                  <a:pt x="298" y="330"/>
                </a:cubicBezTo>
                <a:cubicBezTo>
                  <a:pt x="362" y="330"/>
                  <a:pt x="362" y="330"/>
                  <a:pt x="362" y="330"/>
                </a:cubicBezTo>
                <a:cubicBezTo>
                  <a:pt x="368" y="330"/>
                  <a:pt x="373" y="326"/>
                  <a:pt x="373" y="320"/>
                </a:cubicBezTo>
                <a:cubicBezTo>
                  <a:pt x="373" y="314"/>
                  <a:pt x="368" y="309"/>
                  <a:pt x="362" y="309"/>
                </a:cubicBezTo>
                <a:cubicBezTo>
                  <a:pt x="298" y="309"/>
                  <a:pt x="298" y="309"/>
                  <a:pt x="298" y="309"/>
                </a:cubicBezTo>
                <a:cubicBezTo>
                  <a:pt x="292" y="309"/>
                  <a:pt x="288" y="314"/>
                  <a:pt x="288" y="320"/>
                </a:cubicBezTo>
                <a:close/>
                <a:moveTo>
                  <a:pt x="181" y="277"/>
                </a:moveTo>
                <a:cubicBezTo>
                  <a:pt x="181" y="283"/>
                  <a:pt x="186" y="288"/>
                  <a:pt x="192" y="288"/>
                </a:cubicBezTo>
                <a:cubicBezTo>
                  <a:pt x="256" y="288"/>
                  <a:pt x="256" y="288"/>
                  <a:pt x="256" y="288"/>
                </a:cubicBezTo>
                <a:cubicBezTo>
                  <a:pt x="262" y="288"/>
                  <a:pt x="266" y="283"/>
                  <a:pt x="266" y="277"/>
                </a:cubicBezTo>
                <a:cubicBezTo>
                  <a:pt x="266" y="192"/>
                  <a:pt x="266" y="192"/>
                  <a:pt x="266" y="192"/>
                </a:cubicBezTo>
                <a:cubicBezTo>
                  <a:pt x="266" y="186"/>
                  <a:pt x="262" y="181"/>
                  <a:pt x="256" y="181"/>
                </a:cubicBezTo>
                <a:cubicBezTo>
                  <a:pt x="192" y="181"/>
                  <a:pt x="192" y="181"/>
                  <a:pt x="192" y="181"/>
                </a:cubicBezTo>
                <a:cubicBezTo>
                  <a:pt x="186" y="181"/>
                  <a:pt x="181" y="186"/>
                  <a:pt x="181" y="192"/>
                </a:cubicBezTo>
                <a:lnTo>
                  <a:pt x="181" y="277"/>
                </a:lnTo>
                <a:close/>
                <a:moveTo>
                  <a:pt x="181" y="320"/>
                </a:moveTo>
                <a:cubicBezTo>
                  <a:pt x="181" y="326"/>
                  <a:pt x="186" y="330"/>
                  <a:pt x="192" y="330"/>
                </a:cubicBezTo>
                <a:cubicBezTo>
                  <a:pt x="256" y="330"/>
                  <a:pt x="256" y="330"/>
                  <a:pt x="256" y="330"/>
                </a:cubicBezTo>
                <a:cubicBezTo>
                  <a:pt x="262" y="330"/>
                  <a:pt x="266" y="326"/>
                  <a:pt x="266" y="320"/>
                </a:cubicBezTo>
                <a:cubicBezTo>
                  <a:pt x="266" y="314"/>
                  <a:pt x="262" y="309"/>
                  <a:pt x="256" y="309"/>
                </a:cubicBezTo>
                <a:cubicBezTo>
                  <a:pt x="192" y="309"/>
                  <a:pt x="192" y="309"/>
                  <a:pt x="192" y="309"/>
                </a:cubicBezTo>
                <a:cubicBezTo>
                  <a:pt x="186" y="309"/>
                  <a:pt x="181" y="314"/>
                  <a:pt x="181" y="32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149"/>
                </a:moveTo>
                <a:cubicBezTo>
                  <a:pt x="416" y="143"/>
                  <a:pt x="411" y="138"/>
                  <a:pt x="405" y="138"/>
                </a:cubicBezTo>
                <a:cubicBezTo>
                  <a:pt x="149" y="138"/>
                  <a:pt x="149" y="138"/>
                  <a:pt x="149" y="138"/>
                </a:cubicBezTo>
                <a:cubicBezTo>
                  <a:pt x="143" y="138"/>
                  <a:pt x="138" y="143"/>
                  <a:pt x="138" y="149"/>
                </a:cubicBezTo>
                <a:cubicBezTo>
                  <a:pt x="138" y="341"/>
                  <a:pt x="138" y="341"/>
                  <a:pt x="138" y="341"/>
                </a:cubicBezTo>
                <a:cubicBezTo>
                  <a:pt x="138" y="347"/>
                  <a:pt x="134" y="352"/>
                  <a:pt x="128" y="352"/>
                </a:cubicBezTo>
                <a:cubicBezTo>
                  <a:pt x="122" y="352"/>
                  <a:pt x="117" y="347"/>
                  <a:pt x="117" y="341"/>
                </a:cubicBezTo>
                <a:cubicBezTo>
                  <a:pt x="117" y="149"/>
                  <a:pt x="117" y="149"/>
                  <a:pt x="117" y="149"/>
                </a:cubicBezTo>
                <a:cubicBezTo>
                  <a:pt x="117" y="143"/>
                  <a:pt x="112" y="138"/>
                  <a:pt x="106" y="138"/>
                </a:cubicBezTo>
                <a:cubicBezTo>
                  <a:pt x="100" y="138"/>
                  <a:pt x="96" y="143"/>
                  <a:pt x="96" y="149"/>
                </a:cubicBezTo>
                <a:cubicBezTo>
                  <a:pt x="96" y="341"/>
                  <a:pt x="96" y="341"/>
                  <a:pt x="96" y="341"/>
                </a:cubicBezTo>
                <a:cubicBezTo>
                  <a:pt x="96" y="359"/>
                  <a:pt x="110" y="373"/>
                  <a:pt x="128" y="373"/>
                </a:cubicBezTo>
                <a:cubicBezTo>
                  <a:pt x="384" y="373"/>
                  <a:pt x="384" y="373"/>
                  <a:pt x="384" y="373"/>
                </a:cubicBezTo>
                <a:cubicBezTo>
                  <a:pt x="401" y="373"/>
                  <a:pt x="416" y="359"/>
                  <a:pt x="416" y="341"/>
                </a:cubicBezTo>
                <a:lnTo>
                  <a:pt x="416" y="149"/>
                </a:lnTo>
                <a:close/>
              </a:path>
            </a:pathLst>
          </a:custGeom>
          <a:solidFill>
            <a:srgbClr val="86BC2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8" name="Freeform 594"/>
          <p:cNvSpPr>
            <a:spLocks noChangeAspect="1" noEditPoints="1"/>
          </p:cNvSpPr>
          <p:nvPr/>
        </p:nvSpPr>
        <p:spPr bwMode="auto">
          <a:xfrm>
            <a:off x="1610008" y="3718635"/>
            <a:ext cx="36704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56 w 512"/>
              <a:gd name="T11" fmla="*/ 331 h 512"/>
              <a:gd name="T12" fmla="*/ 210 w 512"/>
              <a:gd name="T13" fmla="*/ 376 h 512"/>
              <a:gd name="T14" fmla="*/ 174 w 512"/>
              <a:gd name="T15" fmla="*/ 392 h 512"/>
              <a:gd name="T16" fmla="*/ 172 w 512"/>
              <a:gd name="T17" fmla="*/ 392 h 512"/>
              <a:gd name="T18" fmla="*/ 135 w 512"/>
              <a:gd name="T19" fmla="*/ 376 h 512"/>
              <a:gd name="T20" fmla="*/ 119 w 512"/>
              <a:gd name="T21" fmla="*/ 338 h 512"/>
              <a:gd name="T22" fmla="*/ 135 w 512"/>
              <a:gd name="T23" fmla="*/ 301 h 512"/>
              <a:gd name="T24" fmla="*/ 203 w 512"/>
              <a:gd name="T25" fmla="*/ 233 h 512"/>
              <a:gd name="T26" fmla="*/ 239 w 512"/>
              <a:gd name="T27" fmla="*/ 217 h 512"/>
              <a:gd name="T28" fmla="*/ 278 w 512"/>
              <a:gd name="T29" fmla="*/ 233 h 512"/>
              <a:gd name="T30" fmla="*/ 278 w 512"/>
              <a:gd name="T31" fmla="*/ 248 h 512"/>
              <a:gd name="T32" fmla="*/ 263 w 512"/>
              <a:gd name="T33" fmla="*/ 248 h 512"/>
              <a:gd name="T34" fmla="*/ 240 w 512"/>
              <a:gd name="T35" fmla="*/ 238 h 512"/>
              <a:gd name="T36" fmla="*/ 218 w 512"/>
              <a:gd name="T37" fmla="*/ 248 h 512"/>
              <a:gd name="T38" fmla="*/ 150 w 512"/>
              <a:gd name="T39" fmla="*/ 316 h 512"/>
              <a:gd name="T40" fmla="*/ 140 w 512"/>
              <a:gd name="T41" fmla="*/ 338 h 512"/>
              <a:gd name="T42" fmla="*/ 150 w 512"/>
              <a:gd name="T43" fmla="*/ 361 h 512"/>
              <a:gd name="T44" fmla="*/ 173 w 512"/>
              <a:gd name="T45" fmla="*/ 371 h 512"/>
              <a:gd name="T46" fmla="*/ 195 w 512"/>
              <a:gd name="T47" fmla="*/ 361 h 512"/>
              <a:gd name="T48" fmla="*/ 241 w 512"/>
              <a:gd name="T49" fmla="*/ 316 h 512"/>
              <a:gd name="T50" fmla="*/ 256 w 512"/>
              <a:gd name="T51" fmla="*/ 316 h 512"/>
              <a:gd name="T52" fmla="*/ 256 w 512"/>
              <a:gd name="T53" fmla="*/ 331 h 512"/>
              <a:gd name="T54" fmla="*/ 376 w 512"/>
              <a:gd name="T55" fmla="*/ 210 h 512"/>
              <a:gd name="T56" fmla="*/ 308 w 512"/>
              <a:gd name="T57" fmla="*/ 278 h 512"/>
              <a:gd name="T58" fmla="*/ 272 w 512"/>
              <a:gd name="T59" fmla="*/ 294 h 512"/>
              <a:gd name="T60" fmla="*/ 271 w 512"/>
              <a:gd name="T61" fmla="*/ 294 h 512"/>
              <a:gd name="T62" fmla="*/ 233 w 512"/>
              <a:gd name="T63" fmla="*/ 278 h 512"/>
              <a:gd name="T64" fmla="*/ 233 w 512"/>
              <a:gd name="T65" fmla="*/ 263 h 512"/>
              <a:gd name="T66" fmla="*/ 248 w 512"/>
              <a:gd name="T67" fmla="*/ 263 h 512"/>
              <a:gd name="T68" fmla="*/ 271 w 512"/>
              <a:gd name="T69" fmla="*/ 273 h 512"/>
              <a:gd name="T70" fmla="*/ 293 w 512"/>
              <a:gd name="T71" fmla="*/ 263 h 512"/>
              <a:gd name="T72" fmla="*/ 361 w 512"/>
              <a:gd name="T73" fmla="*/ 195 h 512"/>
              <a:gd name="T74" fmla="*/ 371 w 512"/>
              <a:gd name="T75" fmla="*/ 173 h 512"/>
              <a:gd name="T76" fmla="*/ 361 w 512"/>
              <a:gd name="T77" fmla="*/ 150 h 512"/>
              <a:gd name="T78" fmla="*/ 338 w 512"/>
              <a:gd name="T79" fmla="*/ 140 h 512"/>
              <a:gd name="T80" fmla="*/ 316 w 512"/>
              <a:gd name="T81" fmla="*/ 150 h 512"/>
              <a:gd name="T82" fmla="*/ 271 w 512"/>
              <a:gd name="T83" fmla="*/ 195 h 512"/>
              <a:gd name="T84" fmla="*/ 256 w 512"/>
              <a:gd name="T85" fmla="*/ 195 h 512"/>
              <a:gd name="T86" fmla="*/ 256 w 512"/>
              <a:gd name="T87" fmla="*/ 180 h 512"/>
              <a:gd name="T88" fmla="*/ 301 w 512"/>
              <a:gd name="T89" fmla="*/ 135 h 512"/>
              <a:gd name="T90" fmla="*/ 338 w 512"/>
              <a:gd name="T91" fmla="*/ 119 h 512"/>
              <a:gd name="T92" fmla="*/ 376 w 512"/>
              <a:gd name="T93" fmla="*/ 135 h 512"/>
              <a:gd name="T94" fmla="*/ 392 w 512"/>
              <a:gd name="T95" fmla="*/ 174 h 512"/>
              <a:gd name="T96" fmla="*/ 376 w 512"/>
              <a:gd name="T97" fmla="*/ 21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331"/>
                </a:moveTo>
                <a:cubicBezTo>
                  <a:pt x="210" y="376"/>
                  <a:pt x="210" y="376"/>
                  <a:pt x="210" y="376"/>
                </a:cubicBezTo>
                <a:cubicBezTo>
                  <a:pt x="200" y="386"/>
                  <a:pt x="187" y="392"/>
                  <a:pt x="174" y="392"/>
                </a:cubicBezTo>
                <a:cubicBezTo>
                  <a:pt x="173" y="392"/>
                  <a:pt x="173" y="392"/>
                  <a:pt x="172" y="392"/>
                </a:cubicBezTo>
                <a:cubicBezTo>
                  <a:pt x="159" y="392"/>
                  <a:pt x="145" y="387"/>
                  <a:pt x="135" y="376"/>
                </a:cubicBezTo>
                <a:cubicBezTo>
                  <a:pt x="124" y="366"/>
                  <a:pt x="119" y="352"/>
                  <a:pt x="119" y="338"/>
                </a:cubicBezTo>
                <a:cubicBezTo>
                  <a:pt x="119" y="324"/>
                  <a:pt x="125" y="311"/>
                  <a:pt x="135" y="301"/>
                </a:cubicBezTo>
                <a:cubicBezTo>
                  <a:pt x="203" y="233"/>
                  <a:pt x="203" y="233"/>
                  <a:pt x="203" y="233"/>
                </a:cubicBezTo>
                <a:cubicBezTo>
                  <a:pt x="213" y="223"/>
                  <a:pt x="226" y="217"/>
                  <a:pt x="239" y="217"/>
                </a:cubicBezTo>
                <a:cubicBezTo>
                  <a:pt x="254" y="217"/>
                  <a:pt x="268" y="222"/>
                  <a:pt x="278" y="233"/>
                </a:cubicBezTo>
                <a:cubicBezTo>
                  <a:pt x="282" y="237"/>
                  <a:pt x="282" y="244"/>
                  <a:pt x="278" y="248"/>
                </a:cubicBezTo>
                <a:cubicBezTo>
                  <a:pt x="274" y="252"/>
                  <a:pt x="267" y="252"/>
                  <a:pt x="263" y="248"/>
                </a:cubicBezTo>
                <a:cubicBezTo>
                  <a:pt x="257" y="242"/>
                  <a:pt x="249" y="238"/>
                  <a:pt x="240" y="238"/>
                </a:cubicBezTo>
                <a:cubicBezTo>
                  <a:pt x="232" y="239"/>
                  <a:pt x="224" y="242"/>
                  <a:pt x="218" y="248"/>
                </a:cubicBezTo>
                <a:cubicBezTo>
                  <a:pt x="150" y="316"/>
                  <a:pt x="150" y="316"/>
                  <a:pt x="150" y="316"/>
                </a:cubicBezTo>
                <a:cubicBezTo>
                  <a:pt x="144" y="322"/>
                  <a:pt x="141" y="330"/>
                  <a:pt x="140" y="338"/>
                </a:cubicBezTo>
                <a:cubicBezTo>
                  <a:pt x="140" y="347"/>
                  <a:pt x="143" y="355"/>
                  <a:pt x="150" y="361"/>
                </a:cubicBezTo>
                <a:cubicBezTo>
                  <a:pt x="157" y="368"/>
                  <a:pt x="165" y="371"/>
                  <a:pt x="173" y="371"/>
                </a:cubicBezTo>
                <a:cubicBezTo>
                  <a:pt x="181" y="371"/>
                  <a:pt x="189" y="367"/>
                  <a:pt x="195" y="361"/>
                </a:cubicBezTo>
                <a:cubicBezTo>
                  <a:pt x="241" y="316"/>
                  <a:pt x="241" y="316"/>
                  <a:pt x="241" y="316"/>
                </a:cubicBezTo>
                <a:cubicBezTo>
                  <a:pt x="245" y="312"/>
                  <a:pt x="252" y="312"/>
                  <a:pt x="256" y="316"/>
                </a:cubicBezTo>
                <a:cubicBezTo>
                  <a:pt x="260" y="320"/>
                  <a:pt x="260" y="327"/>
                  <a:pt x="256" y="331"/>
                </a:cubicBezTo>
                <a:close/>
                <a:moveTo>
                  <a:pt x="376" y="210"/>
                </a:moveTo>
                <a:cubicBezTo>
                  <a:pt x="308" y="278"/>
                  <a:pt x="308" y="278"/>
                  <a:pt x="308" y="278"/>
                </a:cubicBezTo>
                <a:cubicBezTo>
                  <a:pt x="299" y="288"/>
                  <a:pt x="286" y="294"/>
                  <a:pt x="272" y="294"/>
                </a:cubicBezTo>
                <a:cubicBezTo>
                  <a:pt x="271" y="294"/>
                  <a:pt x="271" y="294"/>
                  <a:pt x="271" y="294"/>
                </a:cubicBezTo>
                <a:cubicBezTo>
                  <a:pt x="257" y="294"/>
                  <a:pt x="243" y="289"/>
                  <a:pt x="233" y="278"/>
                </a:cubicBezTo>
                <a:cubicBezTo>
                  <a:pt x="229" y="274"/>
                  <a:pt x="229" y="267"/>
                  <a:pt x="233" y="263"/>
                </a:cubicBezTo>
                <a:cubicBezTo>
                  <a:pt x="237" y="259"/>
                  <a:pt x="244" y="259"/>
                  <a:pt x="248" y="263"/>
                </a:cubicBezTo>
                <a:cubicBezTo>
                  <a:pt x="255" y="270"/>
                  <a:pt x="263" y="273"/>
                  <a:pt x="271" y="273"/>
                </a:cubicBezTo>
                <a:cubicBezTo>
                  <a:pt x="279" y="273"/>
                  <a:pt x="287" y="269"/>
                  <a:pt x="293" y="263"/>
                </a:cubicBezTo>
                <a:cubicBezTo>
                  <a:pt x="361" y="195"/>
                  <a:pt x="361" y="195"/>
                  <a:pt x="361" y="195"/>
                </a:cubicBezTo>
                <a:cubicBezTo>
                  <a:pt x="367" y="189"/>
                  <a:pt x="371" y="181"/>
                  <a:pt x="371" y="173"/>
                </a:cubicBezTo>
                <a:cubicBezTo>
                  <a:pt x="371" y="165"/>
                  <a:pt x="368" y="157"/>
                  <a:pt x="361" y="150"/>
                </a:cubicBezTo>
                <a:cubicBezTo>
                  <a:pt x="355" y="143"/>
                  <a:pt x="347" y="140"/>
                  <a:pt x="338" y="140"/>
                </a:cubicBezTo>
                <a:cubicBezTo>
                  <a:pt x="330" y="141"/>
                  <a:pt x="322" y="144"/>
                  <a:pt x="316" y="150"/>
                </a:cubicBezTo>
                <a:cubicBezTo>
                  <a:pt x="271" y="195"/>
                  <a:pt x="271" y="195"/>
                  <a:pt x="271" y="195"/>
                </a:cubicBezTo>
                <a:cubicBezTo>
                  <a:pt x="267" y="199"/>
                  <a:pt x="260" y="199"/>
                  <a:pt x="256" y="195"/>
                </a:cubicBezTo>
                <a:cubicBezTo>
                  <a:pt x="252" y="191"/>
                  <a:pt x="252" y="184"/>
                  <a:pt x="256" y="180"/>
                </a:cubicBezTo>
                <a:cubicBezTo>
                  <a:pt x="301" y="135"/>
                  <a:pt x="301" y="135"/>
                  <a:pt x="301" y="135"/>
                </a:cubicBezTo>
                <a:cubicBezTo>
                  <a:pt x="311" y="125"/>
                  <a:pt x="324" y="119"/>
                  <a:pt x="338" y="119"/>
                </a:cubicBezTo>
                <a:cubicBezTo>
                  <a:pt x="352" y="119"/>
                  <a:pt x="366" y="124"/>
                  <a:pt x="376" y="135"/>
                </a:cubicBezTo>
                <a:cubicBezTo>
                  <a:pt x="387" y="146"/>
                  <a:pt x="393" y="159"/>
                  <a:pt x="392" y="174"/>
                </a:cubicBezTo>
                <a:cubicBezTo>
                  <a:pt x="392" y="187"/>
                  <a:pt x="386" y="200"/>
                  <a:pt x="376" y="21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4" name="TextBox 73"/>
          <p:cNvSpPr txBox="1"/>
          <p:nvPr/>
        </p:nvSpPr>
        <p:spPr>
          <a:xfrm>
            <a:off x="7157065" y="2278084"/>
            <a:ext cx="18679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Documentazione</a:t>
            </a:r>
            <a:endParaRPr lang="en-US" sz="1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8123522" y="3339120"/>
            <a:ext cx="18679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Sintassi</a:t>
            </a:r>
            <a:endParaRPr lang="en-US" sz="1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086410" y="5331036"/>
            <a:ext cx="18679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Regole</a:t>
            </a:r>
            <a:endParaRPr lang="en-US" sz="1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057604" y="6047590"/>
            <a:ext cx="3259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Codifiche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e </a:t>
            </a:r>
            <a:r>
              <a:rPr 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identificatori</a:t>
            </a:r>
            <a:endParaRPr lang="en-US" sz="1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2348945" y="5368050"/>
            <a:ext cx="18679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Download</a:t>
            </a:r>
            <a:endParaRPr lang="en-US" sz="1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2535629" y="2059247"/>
            <a:ext cx="18679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Focus</a:t>
            </a:r>
            <a:endParaRPr lang="en-US" sz="1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1523159" y="3181913"/>
            <a:ext cx="18679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Link</a:t>
            </a:r>
            <a:endParaRPr lang="en-US" sz="1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1167827" y="1145844"/>
            <a:ext cx="83936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In corso di aggiornamento e consolidamento il 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nuovo portale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dedicato alla divulgazione dei profili PEPPOL BIS 3.0 per il modello italiano.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948392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23</a:t>
            </a:fld>
            <a:endParaRPr lang="it-IT" altLang="it-IT" dirty="0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047750" y="222250"/>
            <a:ext cx="8513763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eaLnBrk="0" hangingPunct="0">
              <a:buClr>
                <a:srgbClr val="CC0000"/>
              </a:buClr>
              <a:buSzPct val="70000"/>
              <a:buFont typeface="Wingdings" pitchFamily="2" charset="2"/>
              <a:buNone/>
            </a:pPr>
            <a:r>
              <a:rPr lang="it-IT" sz="28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l piano di migrazione degli ordini elettronici (1/3)</a:t>
            </a:r>
            <a:endParaRPr lang="it-IT" sz="1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173163" y="1062467"/>
            <a:ext cx="83883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Intercent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-ER supporterà il passaggio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dalle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attuali specifiche 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BIS (Business </a:t>
            </a:r>
            <a:r>
              <a:rPr lang="it-IT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Interoperability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Specifications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alle nuove regole di utilizzo compatibili con NSO.</a:t>
            </a:r>
            <a:endParaRPr lang="it-IT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2" name="Picture 5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3708" y="2008907"/>
            <a:ext cx="2371725" cy="495300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2952446" y="2715475"/>
            <a:ext cx="5157886" cy="1886490"/>
            <a:chOff x="3367313" y="2715475"/>
            <a:chExt cx="5157886" cy="1886490"/>
          </a:xfrm>
        </p:grpSpPr>
        <p:grpSp>
          <p:nvGrpSpPr>
            <p:cNvPr id="38" name="Groupe 1 - 1">
              <a:extLst>
                <a:ext uri="{FF2B5EF4-FFF2-40B4-BE49-F238E27FC236}">
                  <a16:creationId xmlns:a16="http://schemas.microsoft.com/office/drawing/2014/main" id="{DD96DA52-C659-4E4E-AB7E-FA6290693993}"/>
                </a:ext>
              </a:extLst>
            </p:cNvPr>
            <p:cNvGrpSpPr>
              <a:grpSpLocks noChangeAspect="1"/>
            </p:cNvGrpSpPr>
            <p:nvPr/>
          </p:nvGrpSpPr>
          <p:grpSpPr>
            <a:xfrm rot="5400000">
              <a:off x="4241044" y="2738080"/>
              <a:ext cx="1164985" cy="1119775"/>
              <a:chOff x="2503112" y="1968871"/>
              <a:chExt cx="3203117" cy="3078813"/>
            </a:xfrm>
            <a:solidFill>
              <a:srgbClr val="003474"/>
            </a:solidFill>
          </p:grpSpPr>
          <p:sp>
            <p:nvSpPr>
              <p:cNvPr id="39" name="Forme libre : forme 6">
                <a:extLst>
                  <a:ext uri="{FF2B5EF4-FFF2-40B4-BE49-F238E27FC236}">
                    <a16:creationId xmlns:a16="http://schemas.microsoft.com/office/drawing/2014/main" id="{4617A633-8BC5-441A-A64D-E8E04704FB75}"/>
                  </a:ext>
                </a:extLst>
              </p:cNvPr>
              <p:cNvSpPr/>
              <p:nvPr/>
            </p:nvSpPr>
            <p:spPr>
              <a:xfrm rot="18900000">
                <a:off x="2630757" y="1968871"/>
                <a:ext cx="3075472" cy="3078813"/>
              </a:xfrm>
              <a:custGeom>
                <a:avLst/>
                <a:gdLst>
                  <a:gd name="connsiteX0" fmla="*/ 3073174 w 3075472"/>
                  <a:gd name="connsiteY0" fmla="*/ 1 h 3078813"/>
                  <a:gd name="connsiteX1" fmla="*/ 3073173 w 3075472"/>
                  <a:gd name="connsiteY1" fmla="*/ 2299 h 3078813"/>
                  <a:gd name="connsiteX2" fmla="*/ 3075472 w 3075472"/>
                  <a:gd name="connsiteY2" fmla="*/ 2299 h 3078813"/>
                  <a:gd name="connsiteX3" fmla="*/ 3075472 w 3075472"/>
                  <a:gd name="connsiteY3" fmla="*/ 2417695 h 3078813"/>
                  <a:gd name="connsiteX4" fmla="*/ 2055938 w 3075472"/>
                  <a:gd name="connsiteY4" fmla="*/ 2417695 h 3078813"/>
                  <a:gd name="connsiteX5" fmla="*/ 2055938 w 3075472"/>
                  <a:gd name="connsiteY5" fmla="*/ 1743795 h 3078813"/>
                  <a:gd name="connsiteX6" fmla="*/ 720919 w 3075472"/>
                  <a:gd name="connsiteY6" fmla="*/ 3078813 h 3078813"/>
                  <a:gd name="connsiteX7" fmla="*/ 0 w 3075472"/>
                  <a:gd name="connsiteY7" fmla="*/ 2357894 h 3078813"/>
                  <a:gd name="connsiteX8" fmla="*/ 1338359 w 3075472"/>
                  <a:gd name="connsiteY8" fmla="*/ 1019535 h 3078813"/>
                  <a:gd name="connsiteX9" fmla="*/ 657777 w 3075472"/>
                  <a:gd name="connsiteY9" fmla="*/ 1019535 h 3078813"/>
                  <a:gd name="connsiteX10" fmla="*/ 657777 w 3075472"/>
                  <a:gd name="connsiteY10" fmla="*/ 0 h 3078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75472" h="3078813">
                    <a:moveTo>
                      <a:pt x="3073174" y="1"/>
                    </a:moveTo>
                    <a:lnTo>
                      <a:pt x="3073173" y="2299"/>
                    </a:lnTo>
                    <a:lnTo>
                      <a:pt x="3075472" y="2299"/>
                    </a:lnTo>
                    <a:lnTo>
                      <a:pt x="3075472" y="2417695"/>
                    </a:lnTo>
                    <a:lnTo>
                      <a:pt x="2055938" y="2417695"/>
                    </a:lnTo>
                    <a:lnTo>
                      <a:pt x="2055938" y="1743795"/>
                    </a:lnTo>
                    <a:lnTo>
                      <a:pt x="720919" y="3078813"/>
                    </a:lnTo>
                    <a:lnTo>
                      <a:pt x="0" y="2357894"/>
                    </a:lnTo>
                    <a:lnTo>
                      <a:pt x="1338359" y="1019535"/>
                    </a:lnTo>
                    <a:lnTo>
                      <a:pt x="657777" y="1019535"/>
                    </a:lnTo>
                    <a:lnTo>
                      <a:pt x="657777" y="0"/>
                    </a:lnTo>
                    <a:close/>
                  </a:path>
                </a:pathLst>
              </a:cu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63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0" name="Forme libre : forme 15">
                <a:extLst>
                  <a:ext uri="{FF2B5EF4-FFF2-40B4-BE49-F238E27FC236}">
                    <a16:creationId xmlns:a16="http://schemas.microsoft.com/office/drawing/2014/main" id="{ABB149DB-1960-44CA-A1BD-2D948221756E}"/>
                  </a:ext>
                </a:extLst>
              </p:cNvPr>
              <p:cNvSpPr/>
              <p:nvPr/>
            </p:nvSpPr>
            <p:spPr>
              <a:xfrm rot="18900000">
                <a:off x="2503112" y="2022003"/>
                <a:ext cx="3074843" cy="2717518"/>
              </a:xfrm>
              <a:custGeom>
                <a:avLst/>
                <a:gdLst>
                  <a:gd name="connsiteX0" fmla="*/ 3073174 w 3074843"/>
                  <a:gd name="connsiteY0" fmla="*/ 1 h 2717518"/>
                  <a:gd name="connsiteX1" fmla="*/ 3073173 w 3074843"/>
                  <a:gd name="connsiteY1" fmla="*/ 2299 h 2717518"/>
                  <a:gd name="connsiteX2" fmla="*/ 3074843 w 3074843"/>
                  <a:gd name="connsiteY2" fmla="*/ 2299 h 2717518"/>
                  <a:gd name="connsiteX3" fmla="*/ 359624 w 3074843"/>
                  <a:gd name="connsiteY3" fmla="*/ 2717518 h 2717518"/>
                  <a:gd name="connsiteX4" fmla="*/ 0 w 3074843"/>
                  <a:gd name="connsiteY4" fmla="*/ 2357894 h 2717518"/>
                  <a:gd name="connsiteX5" fmla="*/ 1338359 w 3074843"/>
                  <a:gd name="connsiteY5" fmla="*/ 1019535 h 2717518"/>
                  <a:gd name="connsiteX6" fmla="*/ 657777 w 3074843"/>
                  <a:gd name="connsiteY6" fmla="*/ 1019535 h 2717518"/>
                  <a:gd name="connsiteX7" fmla="*/ 657777 w 3074843"/>
                  <a:gd name="connsiteY7" fmla="*/ 0 h 2717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74843" h="2717518">
                    <a:moveTo>
                      <a:pt x="3073174" y="1"/>
                    </a:moveTo>
                    <a:lnTo>
                      <a:pt x="3073173" y="2299"/>
                    </a:lnTo>
                    <a:lnTo>
                      <a:pt x="3074843" y="2299"/>
                    </a:lnTo>
                    <a:lnTo>
                      <a:pt x="359624" y="2717518"/>
                    </a:lnTo>
                    <a:lnTo>
                      <a:pt x="0" y="2357894"/>
                    </a:lnTo>
                    <a:lnTo>
                      <a:pt x="1338359" y="1019535"/>
                    </a:lnTo>
                    <a:lnTo>
                      <a:pt x="657777" y="1019535"/>
                    </a:lnTo>
                    <a:lnTo>
                      <a:pt x="657777" y="0"/>
                    </a:lnTo>
                    <a:close/>
                  </a:path>
                </a:pathLst>
              </a:cu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63" dirty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grpSp>
          <p:nvGrpSpPr>
            <p:cNvPr id="41" name="Groupe 1">
              <a:extLst>
                <a:ext uri="{FF2B5EF4-FFF2-40B4-BE49-F238E27FC236}">
                  <a16:creationId xmlns:a16="http://schemas.microsoft.com/office/drawing/2014/main" id="{DD96DA52-C659-4E4E-AB7E-FA6290693993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5309220" y="3459585"/>
              <a:ext cx="1164985" cy="1119775"/>
              <a:chOff x="2503112" y="1968871"/>
              <a:chExt cx="3203117" cy="3078813"/>
            </a:xfrm>
            <a:solidFill>
              <a:srgbClr val="E9D401"/>
            </a:solidFill>
          </p:grpSpPr>
          <p:sp>
            <p:nvSpPr>
              <p:cNvPr id="42" name="Forme libre : forme 6">
                <a:extLst>
                  <a:ext uri="{FF2B5EF4-FFF2-40B4-BE49-F238E27FC236}">
                    <a16:creationId xmlns:a16="http://schemas.microsoft.com/office/drawing/2014/main" id="{4617A633-8BC5-441A-A64D-E8E04704FB75}"/>
                  </a:ext>
                </a:extLst>
              </p:cNvPr>
              <p:cNvSpPr/>
              <p:nvPr/>
            </p:nvSpPr>
            <p:spPr>
              <a:xfrm rot="18900000">
                <a:off x="2630757" y="1968871"/>
                <a:ext cx="3075472" cy="3078813"/>
              </a:xfrm>
              <a:custGeom>
                <a:avLst/>
                <a:gdLst>
                  <a:gd name="connsiteX0" fmla="*/ 3073174 w 3075472"/>
                  <a:gd name="connsiteY0" fmla="*/ 1 h 3078813"/>
                  <a:gd name="connsiteX1" fmla="*/ 3073173 w 3075472"/>
                  <a:gd name="connsiteY1" fmla="*/ 2299 h 3078813"/>
                  <a:gd name="connsiteX2" fmla="*/ 3075472 w 3075472"/>
                  <a:gd name="connsiteY2" fmla="*/ 2299 h 3078813"/>
                  <a:gd name="connsiteX3" fmla="*/ 3075472 w 3075472"/>
                  <a:gd name="connsiteY3" fmla="*/ 2417695 h 3078813"/>
                  <a:gd name="connsiteX4" fmla="*/ 2055938 w 3075472"/>
                  <a:gd name="connsiteY4" fmla="*/ 2417695 h 3078813"/>
                  <a:gd name="connsiteX5" fmla="*/ 2055938 w 3075472"/>
                  <a:gd name="connsiteY5" fmla="*/ 1743795 h 3078813"/>
                  <a:gd name="connsiteX6" fmla="*/ 720919 w 3075472"/>
                  <a:gd name="connsiteY6" fmla="*/ 3078813 h 3078813"/>
                  <a:gd name="connsiteX7" fmla="*/ 0 w 3075472"/>
                  <a:gd name="connsiteY7" fmla="*/ 2357894 h 3078813"/>
                  <a:gd name="connsiteX8" fmla="*/ 1338359 w 3075472"/>
                  <a:gd name="connsiteY8" fmla="*/ 1019535 h 3078813"/>
                  <a:gd name="connsiteX9" fmla="*/ 657777 w 3075472"/>
                  <a:gd name="connsiteY9" fmla="*/ 1019535 h 3078813"/>
                  <a:gd name="connsiteX10" fmla="*/ 657777 w 3075472"/>
                  <a:gd name="connsiteY10" fmla="*/ 0 h 3078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75472" h="3078813">
                    <a:moveTo>
                      <a:pt x="3073174" y="1"/>
                    </a:moveTo>
                    <a:lnTo>
                      <a:pt x="3073173" y="2299"/>
                    </a:lnTo>
                    <a:lnTo>
                      <a:pt x="3075472" y="2299"/>
                    </a:lnTo>
                    <a:lnTo>
                      <a:pt x="3075472" y="2417695"/>
                    </a:lnTo>
                    <a:lnTo>
                      <a:pt x="2055938" y="2417695"/>
                    </a:lnTo>
                    <a:lnTo>
                      <a:pt x="2055938" y="1743795"/>
                    </a:lnTo>
                    <a:lnTo>
                      <a:pt x="720919" y="3078813"/>
                    </a:lnTo>
                    <a:lnTo>
                      <a:pt x="0" y="2357894"/>
                    </a:lnTo>
                    <a:lnTo>
                      <a:pt x="1338359" y="1019535"/>
                    </a:lnTo>
                    <a:lnTo>
                      <a:pt x="657777" y="1019535"/>
                    </a:lnTo>
                    <a:lnTo>
                      <a:pt x="65777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63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3" name="Forme libre : forme 15">
                <a:extLst>
                  <a:ext uri="{FF2B5EF4-FFF2-40B4-BE49-F238E27FC236}">
                    <a16:creationId xmlns:a16="http://schemas.microsoft.com/office/drawing/2014/main" id="{ABB149DB-1960-44CA-A1BD-2D948221756E}"/>
                  </a:ext>
                </a:extLst>
              </p:cNvPr>
              <p:cNvSpPr/>
              <p:nvPr/>
            </p:nvSpPr>
            <p:spPr>
              <a:xfrm rot="18900000">
                <a:off x="2503112" y="2022003"/>
                <a:ext cx="3074843" cy="2717518"/>
              </a:xfrm>
              <a:custGeom>
                <a:avLst/>
                <a:gdLst>
                  <a:gd name="connsiteX0" fmla="*/ 3073174 w 3074843"/>
                  <a:gd name="connsiteY0" fmla="*/ 1 h 2717518"/>
                  <a:gd name="connsiteX1" fmla="*/ 3073173 w 3074843"/>
                  <a:gd name="connsiteY1" fmla="*/ 2299 h 2717518"/>
                  <a:gd name="connsiteX2" fmla="*/ 3074843 w 3074843"/>
                  <a:gd name="connsiteY2" fmla="*/ 2299 h 2717518"/>
                  <a:gd name="connsiteX3" fmla="*/ 359624 w 3074843"/>
                  <a:gd name="connsiteY3" fmla="*/ 2717518 h 2717518"/>
                  <a:gd name="connsiteX4" fmla="*/ 0 w 3074843"/>
                  <a:gd name="connsiteY4" fmla="*/ 2357894 h 2717518"/>
                  <a:gd name="connsiteX5" fmla="*/ 1338359 w 3074843"/>
                  <a:gd name="connsiteY5" fmla="*/ 1019535 h 2717518"/>
                  <a:gd name="connsiteX6" fmla="*/ 657777 w 3074843"/>
                  <a:gd name="connsiteY6" fmla="*/ 1019535 h 2717518"/>
                  <a:gd name="connsiteX7" fmla="*/ 657777 w 3074843"/>
                  <a:gd name="connsiteY7" fmla="*/ 0 h 2717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74843" h="2717518">
                    <a:moveTo>
                      <a:pt x="3073174" y="1"/>
                    </a:moveTo>
                    <a:lnTo>
                      <a:pt x="3073173" y="2299"/>
                    </a:lnTo>
                    <a:lnTo>
                      <a:pt x="3074843" y="2299"/>
                    </a:lnTo>
                    <a:lnTo>
                      <a:pt x="359624" y="2717518"/>
                    </a:lnTo>
                    <a:lnTo>
                      <a:pt x="0" y="2357894"/>
                    </a:lnTo>
                    <a:lnTo>
                      <a:pt x="1338359" y="1019535"/>
                    </a:lnTo>
                    <a:lnTo>
                      <a:pt x="657777" y="1019535"/>
                    </a:lnTo>
                    <a:lnTo>
                      <a:pt x="65777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63" dirty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sp>
          <p:nvSpPr>
            <p:cNvPr id="50" name="Rectangle 49"/>
            <p:cNvSpPr/>
            <p:nvPr/>
          </p:nvSpPr>
          <p:spPr>
            <a:xfrm>
              <a:off x="5287438" y="3787348"/>
              <a:ext cx="51620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it-IT" sz="1800" b="1" dirty="0" smtClean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.1</a:t>
              </a:r>
              <a:endParaRPr lang="en-US" sz="18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3367313" y="3136513"/>
              <a:ext cx="1027345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it-IT" sz="18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Ordine</a:t>
              </a: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4911445" y="3109940"/>
              <a:ext cx="58169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it-IT" sz="1800" b="1" dirty="0" smtClean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.0</a:t>
              </a:r>
              <a:endParaRPr lang="en-US" sz="18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6505734" y="3811594"/>
              <a:ext cx="2019465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it-IT" sz="18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Ordine 3A</a:t>
              </a:r>
              <a:endPara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58" name="Rounded Rectangle 57"/>
          <p:cNvSpPr/>
          <p:nvPr/>
        </p:nvSpPr>
        <p:spPr bwMode="auto">
          <a:xfrm>
            <a:off x="1240335" y="4951976"/>
            <a:ext cx="8321178" cy="1184082"/>
          </a:xfrm>
          <a:prstGeom prst="roundRect">
            <a:avLst/>
          </a:prstGeom>
          <a:noFill/>
          <a:ln w="3175">
            <a:solidFill>
              <a:srgbClr val="027E46"/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 algn="just" eaLnBrk="1" hangingPunct="1">
              <a:defRPr/>
            </a:pPr>
            <a:endParaRPr lang="it-IT" sz="11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9" name="Rectangle 4"/>
          <p:cNvSpPr>
            <a:spLocks noChangeArrowheads="1"/>
          </p:cNvSpPr>
          <p:nvPr/>
        </p:nvSpPr>
        <p:spPr bwMode="auto">
          <a:xfrm>
            <a:off x="1798646" y="4854528"/>
            <a:ext cx="1754180" cy="3361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buSzPct val="70000"/>
              <a:buFont typeface="Wingdings" panose="05000000000000000000" pitchFamily="2" charset="2"/>
              <a:buNone/>
            </a:pPr>
            <a:endParaRPr lang="it-IT" altLang="it-IT" sz="1400" dirty="0">
              <a:latin typeface="+mj-lt"/>
            </a:endParaRPr>
          </a:p>
        </p:txBody>
      </p:sp>
      <p:sp>
        <p:nvSpPr>
          <p:cNvPr id="60" name="Rectangle 7"/>
          <p:cNvSpPr>
            <a:spLocks noChangeArrowheads="1"/>
          </p:cNvSpPr>
          <p:nvPr/>
        </p:nvSpPr>
        <p:spPr bwMode="auto">
          <a:xfrm>
            <a:off x="2203137" y="4767310"/>
            <a:ext cx="1225853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it-IT" sz="1800" b="1" i="1" dirty="0" err="1" smtClean="0">
                <a:solidFill>
                  <a:srgbClr val="006B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iettivi</a:t>
            </a:r>
            <a:endParaRPr lang="en-GB" altLang="it-IT" sz="1800" b="1" i="1" dirty="0">
              <a:solidFill>
                <a:srgbClr val="006B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1" name="Group 11"/>
          <p:cNvGrpSpPr>
            <a:grpSpLocks/>
          </p:cNvGrpSpPr>
          <p:nvPr/>
        </p:nvGrpSpPr>
        <p:grpSpPr bwMode="auto">
          <a:xfrm>
            <a:off x="1392002" y="4718247"/>
            <a:ext cx="415645" cy="434689"/>
            <a:chOff x="2043334" y="2536956"/>
            <a:chExt cx="370800" cy="370800"/>
          </a:xfrm>
        </p:grpSpPr>
        <p:sp>
          <p:nvSpPr>
            <p:cNvPr id="62" name="Oval 12"/>
            <p:cNvSpPr>
              <a:spLocks noChangeArrowheads="1"/>
            </p:cNvSpPr>
            <p:nvPr/>
          </p:nvSpPr>
          <p:spPr bwMode="gray">
            <a:xfrm>
              <a:off x="2043334" y="2536956"/>
              <a:ext cx="370800" cy="370800"/>
            </a:xfrm>
            <a:prstGeom prst="ellipse">
              <a:avLst/>
            </a:prstGeom>
            <a:solidFill>
              <a:srgbClr val="437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2062" tIns="82062" rIns="82062" bIns="82062" anchor="ctr"/>
            <a:lstStyle>
              <a:lvl1pPr>
                <a:spcBef>
                  <a:spcPct val="20000"/>
                </a:spcBef>
                <a:buClr>
                  <a:srgbClr val="CC0000"/>
                </a:buClr>
                <a:buChar char="•"/>
                <a:defRPr sz="3200">
                  <a:solidFill>
                    <a:schemeClr val="tx1"/>
                  </a:solidFill>
                  <a:latin typeface="Tahoma" panose="020B060403050404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CC0000"/>
                </a:buClr>
                <a:buSzPct val="55000"/>
                <a:buFont typeface="Wingdings" panose="05000000000000000000" pitchFamily="2" charset="2"/>
                <a:buChar char="¡"/>
                <a:defRPr sz="2800">
                  <a:solidFill>
                    <a:schemeClr val="tx1"/>
                  </a:solidFill>
                  <a:latin typeface="Tahoma" panose="020B060403050404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CC0000"/>
                </a:buClr>
                <a:buSzPct val="70000"/>
                <a:buFont typeface="Wingdings" panose="05000000000000000000" pitchFamily="2" charset="2"/>
                <a:buChar char="o"/>
                <a:defRPr sz="1600">
                  <a:solidFill>
                    <a:schemeClr val="tx1"/>
                  </a:solidFill>
                  <a:latin typeface="Trebuchet MS" panose="020B0603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CC0000"/>
                </a:buClr>
                <a:buSzPct val="70000"/>
                <a:buFont typeface="Wingdings" panose="05000000000000000000" pitchFamily="2" charset="2"/>
                <a:buChar char="n"/>
                <a:defRPr sz="1600">
                  <a:solidFill>
                    <a:schemeClr val="tx1"/>
                  </a:solidFill>
                  <a:latin typeface="Trebuchet MS" panose="020B0603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SzPct val="70000"/>
                <a:buFont typeface="Wingdings" panose="05000000000000000000" pitchFamily="2" charset="2"/>
                <a:buChar char="o"/>
                <a:defRPr sz="1600">
                  <a:solidFill>
                    <a:schemeClr val="tx1"/>
                  </a:solidFill>
                  <a:latin typeface="Trebuchet MS" panose="020B0603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SzPct val="70000"/>
                <a:buFont typeface="Wingdings" panose="05000000000000000000" pitchFamily="2" charset="2"/>
                <a:buChar char="o"/>
                <a:defRPr sz="1600">
                  <a:solidFill>
                    <a:schemeClr val="tx1"/>
                  </a:solidFill>
                  <a:latin typeface="Trebuchet MS" panose="020B0603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SzPct val="70000"/>
                <a:buFont typeface="Wingdings" panose="05000000000000000000" pitchFamily="2" charset="2"/>
                <a:buChar char="o"/>
                <a:defRPr sz="1600">
                  <a:solidFill>
                    <a:schemeClr val="tx1"/>
                  </a:solidFill>
                  <a:latin typeface="Trebuchet MS" panose="020B0603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SzPct val="70000"/>
                <a:buFont typeface="Wingdings" panose="05000000000000000000" pitchFamily="2" charset="2"/>
                <a:buChar char="o"/>
                <a:defRPr sz="1600">
                  <a:solidFill>
                    <a:schemeClr val="tx1"/>
                  </a:solidFill>
                  <a:latin typeface="Trebuchet MS" panose="020B0603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SzPct val="70000"/>
                <a:buFont typeface="Wingdings" panose="05000000000000000000" pitchFamily="2" charset="2"/>
                <a:buChar char="o"/>
                <a:defRPr sz="1600">
                  <a:solidFill>
                    <a:schemeClr val="tx1"/>
                  </a:solidFill>
                  <a:latin typeface="Trebuchet MS" panose="020B0603020202020204" pitchFamily="34" charset="0"/>
                </a:defRPr>
              </a:lvl9pPr>
            </a:lstStyle>
            <a:p>
              <a:pPr algn="ctr" eaLnBrk="1" hangingPunct="1">
                <a:lnSpc>
                  <a:spcPct val="106000"/>
                </a:lnSpc>
                <a:spcBef>
                  <a:spcPct val="0"/>
                </a:spcBef>
                <a:buClrTx/>
                <a:buFont typeface="Wingdings 2" panose="05020102010507070707" pitchFamily="18" charset="2"/>
                <a:buNone/>
              </a:pPr>
              <a:endParaRPr lang="it-IT" altLang="it-IT" sz="1477" i="1">
                <a:solidFill>
                  <a:srgbClr val="FF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3" name="Freeform 62"/>
            <p:cNvSpPr>
              <a:spLocks/>
            </p:cNvSpPr>
            <p:nvPr/>
          </p:nvSpPr>
          <p:spPr bwMode="auto">
            <a:xfrm>
              <a:off x="2116353" y="2627991"/>
              <a:ext cx="224762" cy="170968"/>
            </a:xfrm>
            <a:custGeom>
              <a:avLst/>
              <a:gdLst>
                <a:gd name="T0" fmla="*/ 307 w 311"/>
                <a:gd name="T1" fmla="*/ 4 h 236"/>
                <a:gd name="T2" fmla="*/ 292 w 311"/>
                <a:gd name="T3" fmla="*/ 4 h 236"/>
                <a:gd name="T4" fmla="*/ 86 w 311"/>
                <a:gd name="T5" fmla="*/ 210 h 236"/>
                <a:gd name="T6" fmla="*/ 19 w 311"/>
                <a:gd name="T7" fmla="*/ 143 h 236"/>
                <a:gd name="T8" fmla="*/ 4 w 311"/>
                <a:gd name="T9" fmla="*/ 143 h 236"/>
                <a:gd name="T10" fmla="*/ 4 w 311"/>
                <a:gd name="T11" fmla="*/ 158 h 236"/>
                <a:gd name="T12" fmla="*/ 78 w 311"/>
                <a:gd name="T13" fmla="*/ 233 h 236"/>
                <a:gd name="T14" fmla="*/ 86 w 311"/>
                <a:gd name="T15" fmla="*/ 236 h 236"/>
                <a:gd name="T16" fmla="*/ 94 w 311"/>
                <a:gd name="T17" fmla="*/ 233 h 236"/>
                <a:gd name="T18" fmla="*/ 307 w 311"/>
                <a:gd name="T19" fmla="*/ 19 h 236"/>
                <a:gd name="T20" fmla="*/ 307 w 311"/>
                <a:gd name="T21" fmla="*/ 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1" h="236">
                  <a:moveTo>
                    <a:pt x="307" y="4"/>
                  </a:moveTo>
                  <a:cubicBezTo>
                    <a:pt x="303" y="0"/>
                    <a:pt x="296" y="0"/>
                    <a:pt x="292" y="4"/>
                  </a:cubicBezTo>
                  <a:cubicBezTo>
                    <a:pt x="86" y="210"/>
                    <a:pt x="86" y="210"/>
                    <a:pt x="86" y="210"/>
                  </a:cubicBezTo>
                  <a:cubicBezTo>
                    <a:pt x="19" y="143"/>
                    <a:pt x="19" y="143"/>
                    <a:pt x="19" y="143"/>
                  </a:cubicBezTo>
                  <a:cubicBezTo>
                    <a:pt x="15" y="139"/>
                    <a:pt x="8" y="139"/>
                    <a:pt x="4" y="143"/>
                  </a:cubicBezTo>
                  <a:cubicBezTo>
                    <a:pt x="0" y="147"/>
                    <a:pt x="0" y="154"/>
                    <a:pt x="4" y="158"/>
                  </a:cubicBezTo>
                  <a:cubicBezTo>
                    <a:pt x="78" y="233"/>
                    <a:pt x="78" y="233"/>
                    <a:pt x="78" y="233"/>
                  </a:cubicBezTo>
                  <a:cubicBezTo>
                    <a:pt x="81" y="235"/>
                    <a:pt x="83" y="236"/>
                    <a:pt x="86" y="236"/>
                  </a:cubicBezTo>
                  <a:cubicBezTo>
                    <a:pt x="89" y="236"/>
                    <a:pt x="91" y="235"/>
                    <a:pt x="94" y="233"/>
                  </a:cubicBezTo>
                  <a:cubicBezTo>
                    <a:pt x="307" y="19"/>
                    <a:pt x="307" y="19"/>
                    <a:pt x="307" y="19"/>
                  </a:cubicBezTo>
                  <a:cubicBezTo>
                    <a:pt x="311" y="15"/>
                    <a:pt x="311" y="8"/>
                    <a:pt x="307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FFFF"/>
              </a:solidFill>
            </a:ln>
            <a:extLst/>
          </p:spPr>
          <p:txBody>
            <a:bodyPr/>
            <a:lstStyle/>
            <a:p>
              <a:pPr defTabSz="112541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215">
                <a:latin typeface="+mn-lt"/>
                <a:cs typeface="Arial" charset="0"/>
              </a:endParaRPr>
            </a:p>
          </p:txBody>
        </p:sp>
      </p:grpSp>
      <p:sp>
        <p:nvSpPr>
          <p:cNvPr id="64" name="Rectangle 63"/>
          <p:cNvSpPr/>
          <p:nvPr/>
        </p:nvSpPr>
        <p:spPr>
          <a:xfrm>
            <a:off x="1119310" y="5212728"/>
            <a:ext cx="850094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28650" indent="-285750" font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it-IT" sz="1800" dirty="0" smtClean="0">
                <a:latin typeface="Calibri" panose="020F0502020204030204" pitchFamily="34" charset="0"/>
              </a:rPr>
              <a:t>Periodo di </a:t>
            </a:r>
            <a:r>
              <a:rPr lang="it-IT" sz="1800" dirty="0">
                <a:latin typeface="Calibri" panose="020F0502020204030204" pitchFamily="34" charset="0"/>
              </a:rPr>
              <a:t>transizione </a:t>
            </a:r>
            <a:r>
              <a:rPr lang="it-IT" sz="1800" dirty="0" smtClean="0">
                <a:latin typeface="Calibri" panose="020F0502020204030204" pitchFamily="34" charset="0"/>
              </a:rPr>
              <a:t>regolare consentendo l’utilizzo di entrambe le versioni.</a:t>
            </a:r>
            <a:endParaRPr lang="it-IT" sz="1800" dirty="0">
              <a:latin typeface="Calibri" panose="020F0502020204030204" pitchFamily="34" charset="0"/>
            </a:endParaRPr>
          </a:p>
          <a:p>
            <a:pPr marL="628650" indent="-285750" font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it-IT" sz="1800" dirty="0">
                <a:latin typeface="Calibri" panose="020F0502020204030204" pitchFamily="34" charset="0"/>
              </a:rPr>
              <a:t>Garantire </a:t>
            </a:r>
            <a:r>
              <a:rPr lang="it-IT" sz="1800" dirty="0" smtClean="0">
                <a:latin typeface="Calibri" panose="020F0502020204030204" pitchFamily="34" charset="0"/>
              </a:rPr>
              <a:t>i canali di trasmissione senza nessuna interruzione. </a:t>
            </a:r>
          </a:p>
          <a:p>
            <a:pPr marL="628650" indent="-285750" font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it-IT" sz="1800" dirty="0" smtClean="0">
                <a:latin typeface="Calibri" panose="020F0502020204030204" pitchFamily="34" charset="0"/>
              </a:rPr>
              <a:t>Mantenere </a:t>
            </a:r>
            <a:r>
              <a:rPr lang="it-IT" sz="1800" dirty="0">
                <a:latin typeface="Calibri" panose="020F0502020204030204" pitchFamily="34" charset="0"/>
              </a:rPr>
              <a:t>una </a:t>
            </a:r>
            <a:r>
              <a:rPr lang="it-IT" sz="1800" dirty="0" smtClean="0">
                <a:latin typeface="Calibri" panose="020F0502020204030204" pitchFamily="34" charset="0"/>
              </a:rPr>
              <a:t>completa </a:t>
            </a:r>
            <a:r>
              <a:rPr lang="it-IT" sz="1800" dirty="0">
                <a:latin typeface="Calibri" panose="020F0502020204030204" pitchFamily="34" charset="0"/>
              </a:rPr>
              <a:t>interoperabilità </a:t>
            </a:r>
            <a:r>
              <a:rPr lang="it-IT" sz="1800" dirty="0" smtClean="0">
                <a:latin typeface="Calibri" panose="020F0502020204030204" pitchFamily="34" charset="0"/>
              </a:rPr>
              <a:t>dei servizi.</a:t>
            </a:r>
            <a:endParaRPr lang="it-IT" sz="1800" dirty="0"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0658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24</a:t>
            </a:fld>
            <a:endParaRPr lang="it-IT" altLang="it-IT" dirty="0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047750" y="222250"/>
            <a:ext cx="8513763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eaLnBrk="0" hangingPunct="0">
              <a:buClr>
                <a:srgbClr val="CC0000"/>
              </a:buClr>
              <a:buSzPct val="70000"/>
              <a:buFont typeface="Wingdings" pitchFamily="2" charset="2"/>
              <a:buNone/>
            </a:pPr>
            <a:r>
              <a:rPr lang="it-IT" sz="28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l piano di migrazione degli ordini elettronici (2/3)</a:t>
            </a:r>
            <a:endParaRPr lang="it-IT" sz="1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299598" y="5031870"/>
            <a:ext cx="1188000" cy="936000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it-IT"/>
            </a:defPPr>
            <a:lvl1pPr>
              <a:defRPr sz="1200">
                <a:latin typeface="Calibri" panose="020F0502020204030204" pitchFamily="34" charset="0"/>
              </a:defRPr>
            </a:lvl1pPr>
          </a:lstStyle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</p:txBody>
      </p:sp>
      <p:sp>
        <p:nvSpPr>
          <p:cNvPr id="85" name="Rectangle 84"/>
          <p:cNvSpPr/>
          <p:nvPr/>
        </p:nvSpPr>
        <p:spPr>
          <a:xfrm>
            <a:off x="2568077" y="1110092"/>
            <a:ext cx="699343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L’utilizzo della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specifica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PEPPOL BIS 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Ordine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3.0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 compatibile con NSO sarà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obbligatoria dal 1 Ottobre 2019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. A partire da tale data l’utilizzo della specifica 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PEPPOL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BIS Ordine 3A non 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sarà più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disponibile. </a:t>
            </a:r>
          </a:p>
        </p:txBody>
      </p:sp>
      <p:sp>
        <p:nvSpPr>
          <p:cNvPr id="86" name="Freeform 538"/>
          <p:cNvSpPr>
            <a:spLocks noChangeAspect="1" noEditPoints="1"/>
          </p:cNvSpPr>
          <p:nvPr/>
        </p:nvSpPr>
        <p:spPr bwMode="auto">
          <a:xfrm>
            <a:off x="1623598" y="5229870"/>
            <a:ext cx="540000" cy="540000"/>
          </a:xfrm>
          <a:custGeom>
            <a:avLst/>
            <a:gdLst>
              <a:gd name="T0" fmla="*/ 226 w 512"/>
              <a:gd name="T1" fmla="*/ 352 h 512"/>
              <a:gd name="T2" fmla="*/ 286 w 512"/>
              <a:gd name="T3" fmla="*/ 352 h 512"/>
              <a:gd name="T4" fmla="*/ 279 w 512"/>
              <a:gd name="T5" fmla="*/ 394 h 512"/>
              <a:gd name="T6" fmla="*/ 233 w 512"/>
              <a:gd name="T7" fmla="*/ 394 h 512"/>
              <a:gd name="T8" fmla="*/ 226 w 512"/>
              <a:gd name="T9" fmla="*/ 352 h 512"/>
              <a:gd name="T10" fmla="*/ 256 w 512"/>
              <a:gd name="T11" fmla="*/ 117 h 512"/>
              <a:gd name="T12" fmla="*/ 178 w 512"/>
              <a:gd name="T13" fmla="*/ 191 h 512"/>
              <a:gd name="T14" fmla="*/ 194 w 512"/>
              <a:gd name="T15" fmla="*/ 242 h 512"/>
              <a:gd name="T16" fmla="*/ 224 w 512"/>
              <a:gd name="T17" fmla="*/ 309 h 512"/>
              <a:gd name="T18" fmla="*/ 224 w 512"/>
              <a:gd name="T19" fmla="*/ 330 h 512"/>
              <a:gd name="T20" fmla="*/ 245 w 512"/>
              <a:gd name="T21" fmla="*/ 330 h 512"/>
              <a:gd name="T22" fmla="*/ 245 w 512"/>
              <a:gd name="T23" fmla="*/ 249 h 512"/>
              <a:gd name="T24" fmla="*/ 227 w 512"/>
              <a:gd name="T25" fmla="*/ 231 h 512"/>
              <a:gd name="T26" fmla="*/ 227 w 512"/>
              <a:gd name="T27" fmla="*/ 216 h 512"/>
              <a:gd name="T28" fmla="*/ 242 w 512"/>
              <a:gd name="T29" fmla="*/ 216 h 512"/>
              <a:gd name="T30" fmla="*/ 256 w 512"/>
              <a:gd name="T31" fmla="*/ 230 h 512"/>
              <a:gd name="T32" fmla="*/ 269 w 512"/>
              <a:gd name="T33" fmla="*/ 216 h 512"/>
              <a:gd name="T34" fmla="*/ 285 w 512"/>
              <a:gd name="T35" fmla="*/ 216 h 512"/>
              <a:gd name="T36" fmla="*/ 285 w 512"/>
              <a:gd name="T37" fmla="*/ 231 h 512"/>
              <a:gd name="T38" fmla="*/ 266 w 512"/>
              <a:gd name="T39" fmla="*/ 249 h 512"/>
              <a:gd name="T40" fmla="*/ 266 w 512"/>
              <a:gd name="T41" fmla="*/ 330 h 512"/>
              <a:gd name="T42" fmla="*/ 288 w 512"/>
              <a:gd name="T43" fmla="*/ 330 h 512"/>
              <a:gd name="T44" fmla="*/ 288 w 512"/>
              <a:gd name="T45" fmla="*/ 309 h 512"/>
              <a:gd name="T46" fmla="*/ 318 w 512"/>
              <a:gd name="T47" fmla="*/ 243 h 512"/>
              <a:gd name="T48" fmla="*/ 334 w 512"/>
              <a:gd name="T49" fmla="*/ 191 h 512"/>
              <a:gd name="T50" fmla="*/ 256 w 512"/>
              <a:gd name="T51" fmla="*/ 117 h 512"/>
              <a:gd name="T52" fmla="*/ 512 w 512"/>
              <a:gd name="T53" fmla="*/ 256 h 512"/>
              <a:gd name="T54" fmla="*/ 256 w 512"/>
              <a:gd name="T55" fmla="*/ 512 h 512"/>
              <a:gd name="T56" fmla="*/ 0 w 512"/>
              <a:gd name="T57" fmla="*/ 256 h 512"/>
              <a:gd name="T58" fmla="*/ 256 w 512"/>
              <a:gd name="T59" fmla="*/ 0 h 512"/>
              <a:gd name="T60" fmla="*/ 512 w 512"/>
              <a:gd name="T61" fmla="*/ 256 h 512"/>
              <a:gd name="T62" fmla="*/ 356 w 512"/>
              <a:gd name="T63" fmla="*/ 191 h 512"/>
              <a:gd name="T64" fmla="*/ 256 w 512"/>
              <a:gd name="T65" fmla="*/ 96 h 512"/>
              <a:gd name="T66" fmla="*/ 256 w 512"/>
              <a:gd name="T67" fmla="*/ 96 h 512"/>
              <a:gd name="T68" fmla="*/ 256 w 512"/>
              <a:gd name="T69" fmla="*/ 96 h 512"/>
              <a:gd name="T70" fmla="*/ 256 w 512"/>
              <a:gd name="T71" fmla="*/ 96 h 512"/>
              <a:gd name="T72" fmla="*/ 255 w 512"/>
              <a:gd name="T73" fmla="*/ 96 h 512"/>
              <a:gd name="T74" fmla="*/ 157 w 512"/>
              <a:gd name="T75" fmla="*/ 191 h 512"/>
              <a:gd name="T76" fmla="*/ 176 w 512"/>
              <a:gd name="T77" fmla="*/ 254 h 512"/>
              <a:gd name="T78" fmla="*/ 202 w 512"/>
              <a:gd name="T79" fmla="*/ 309 h 512"/>
              <a:gd name="T80" fmla="*/ 202 w 512"/>
              <a:gd name="T81" fmla="*/ 341 h 512"/>
              <a:gd name="T82" fmla="*/ 203 w 512"/>
              <a:gd name="T83" fmla="*/ 342 h 512"/>
              <a:gd name="T84" fmla="*/ 202 w 512"/>
              <a:gd name="T85" fmla="*/ 343 h 512"/>
              <a:gd name="T86" fmla="*/ 213 w 512"/>
              <a:gd name="T87" fmla="*/ 407 h 512"/>
              <a:gd name="T88" fmla="*/ 224 w 512"/>
              <a:gd name="T89" fmla="*/ 416 h 512"/>
              <a:gd name="T90" fmla="*/ 288 w 512"/>
              <a:gd name="T91" fmla="*/ 416 h 512"/>
              <a:gd name="T92" fmla="*/ 298 w 512"/>
              <a:gd name="T93" fmla="*/ 407 h 512"/>
              <a:gd name="T94" fmla="*/ 309 w 512"/>
              <a:gd name="T95" fmla="*/ 343 h 512"/>
              <a:gd name="T96" fmla="*/ 309 w 512"/>
              <a:gd name="T97" fmla="*/ 342 h 512"/>
              <a:gd name="T98" fmla="*/ 309 w 512"/>
              <a:gd name="T99" fmla="*/ 341 h 512"/>
              <a:gd name="T100" fmla="*/ 309 w 512"/>
              <a:gd name="T101" fmla="*/ 309 h 512"/>
              <a:gd name="T102" fmla="*/ 336 w 512"/>
              <a:gd name="T103" fmla="*/ 254 h 512"/>
              <a:gd name="T104" fmla="*/ 356 w 512"/>
              <a:gd name="T105" fmla="*/ 19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226" y="352"/>
                </a:moveTo>
                <a:cubicBezTo>
                  <a:pt x="286" y="352"/>
                  <a:pt x="286" y="352"/>
                  <a:pt x="286" y="352"/>
                </a:cubicBezTo>
                <a:cubicBezTo>
                  <a:pt x="279" y="394"/>
                  <a:pt x="279" y="394"/>
                  <a:pt x="279" y="394"/>
                </a:cubicBezTo>
                <a:cubicBezTo>
                  <a:pt x="233" y="394"/>
                  <a:pt x="233" y="394"/>
                  <a:pt x="233" y="394"/>
                </a:cubicBezTo>
                <a:lnTo>
                  <a:pt x="226" y="352"/>
                </a:lnTo>
                <a:close/>
                <a:moveTo>
                  <a:pt x="256" y="117"/>
                </a:moveTo>
                <a:cubicBezTo>
                  <a:pt x="214" y="117"/>
                  <a:pt x="178" y="151"/>
                  <a:pt x="178" y="191"/>
                </a:cubicBezTo>
                <a:cubicBezTo>
                  <a:pt x="178" y="219"/>
                  <a:pt x="194" y="242"/>
                  <a:pt x="194" y="242"/>
                </a:cubicBezTo>
                <a:cubicBezTo>
                  <a:pt x="201" y="254"/>
                  <a:pt x="224" y="292"/>
                  <a:pt x="224" y="309"/>
                </a:cubicBezTo>
                <a:cubicBezTo>
                  <a:pt x="224" y="330"/>
                  <a:pt x="224" y="330"/>
                  <a:pt x="224" y="330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45" y="249"/>
                  <a:pt x="245" y="249"/>
                  <a:pt x="245" y="249"/>
                </a:cubicBezTo>
                <a:cubicBezTo>
                  <a:pt x="227" y="231"/>
                  <a:pt x="227" y="231"/>
                  <a:pt x="227" y="231"/>
                </a:cubicBezTo>
                <a:cubicBezTo>
                  <a:pt x="223" y="227"/>
                  <a:pt x="223" y="220"/>
                  <a:pt x="227" y="216"/>
                </a:cubicBezTo>
                <a:cubicBezTo>
                  <a:pt x="231" y="212"/>
                  <a:pt x="238" y="212"/>
                  <a:pt x="242" y="216"/>
                </a:cubicBezTo>
                <a:cubicBezTo>
                  <a:pt x="256" y="230"/>
                  <a:pt x="256" y="230"/>
                  <a:pt x="256" y="230"/>
                </a:cubicBezTo>
                <a:cubicBezTo>
                  <a:pt x="269" y="216"/>
                  <a:pt x="269" y="216"/>
                  <a:pt x="269" y="216"/>
                </a:cubicBezTo>
                <a:cubicBezTo>
                  <a:pt x="274" y="212"/>
                  <a:pt x="280" y="212"/>
                  <a:pt x="285" y="216"/>
                </a:cubicBezTo>
                <a:cubicBezTo>
                  <a:pt x="289" y="220"/>
                  <a:pt x="289" y="227"/>
                  <a:pt x="285" y="231"/>
                </a:cubicBezTo>
                <a:cubicBezTo>
                  <a:pt x="266" y="249"/>
                  <a:pt x="266" y="249"/>
                  <a:pt x="266" y="249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88" y="330"/>
                  <a:pt x="288" y="330"/>
                  <a:pt x="288" y="330"/>
                </a:cubicBezTo>
                <a:cubicBezTo>
                  <a:pt x="288" y="309"/>
                  <a:pt x="288" y="309"/>
                  <a:pt x="288" y="309"/>
                </a:cubicBezTo>
                <a:cubicBezTo>
                  <a:pt x="288" y="292"/>
                  <a:pt x="311" y="254"/>
                  <a:pt x="318" y="243"/>
                </a:cubicBezTo>
                <a:cubicBezTo>
                  <a:pt x="318" y="242"/>
                  <a:pt x="334" y="218"/>
                  <a:pt x="334" y="191"/>
                </a:cubicBezTo>
                <a:cubicBezTo>
                  <a:pt x="334" y="151"/>
                  <a:pt x="298" y="117"/>
                  <a:pt x="256" y="117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56" y="191"/>
                </a:moveTo>
                <a:cubicBezTo>
                  <a:pt x="356" y="140"/>
                  <a:pt x="310" y="96"/>
                  <a:pt x="256" y="96"/>
                </a:cubicBezTo>
                <a:cubicBezTo>
                  <a:pt x="256" y="96"/>
                  <a:pt x="256" y="96"/>
                  <a:pt x="256" y="96"/>
                </a:cubicBezTo>
                <a:cubicBezTo>
                  <a:pt x="256" y="96"/>
                  <a:pt x="256" y="96"/>
                  <a:pt x="256" y="96"/>
                </a:cubicBezTo>
                <a:cubicBezTo>
                  <a:pt x="256" y="96"/>
                  <a:pt x="256" y="96"/>
                  <a:pt x="256" y="96"/>
                </a:cubicBezTo>
                <a:cubicBezTo>
                  <a:pt x="256" y="96"/>
                  <a:pt x="256" y="96"/>
                  <a:pt x="255" y="96"/>
                </a:cubicBezTo>
                <a:cubicBezTo>
                  <a:pt x="202" y="96"/>
                  <a:pt x="157" y="140"/>
                  <a:pt x="157" y="191"/>
                </a:cubicBezTo>
                <a:cubicBezTo>
                  <a:pt x="157" y="225"/>
                  <a:pt x="175" y="253"/>
                  <a:pt x="176" y="254"/>
                </a:cubicBezTo>
                <a:cubicBezTo>
                  <a:pt x="189" y="275"/>
                  <a:pt x="202" y="302"/>
                  <a:pt x="202" y="309"/>
                </a:cubicBezTo>
                <a:cubicBezTo>
                  <a:pt x="202" y="341"/>
                  <a:pt x="202" y="341"/>
                  <a:pt x="202" y="341"/>
                </a:cubicBezTo>
                <a:cubicBezTo>
                  <a:pt x="202" y="341"/>
                  <a:pt x="202" y="342"/>
                  <a:pt x="203" y="342"/>
                </a:cubicBezTo>
                <a:cubicBezTo>
                  <a:pt x="203" y="342"/>
                  <a:pt x="202" y="342"/>
                  <a:pt x="202" y="343"/>
                </a:cubicBezTo>
                <a:cubicBezTo>
                  <a:pt x="213" y="407"/>
                  <a:pt x="213" y="407"/>
                  <a:pt x="213" y="407"/>
                </a:cubicBezTo>
                <a:cubicBezTo>
                  <a:pt x="214" y="412"/>
                  <a:pt x="218" y="416"/>
                  <a:pt x="224" y="416"/>
                </a:cubicBezTo>
                <a:cubicBezTo>
                  <a:pt x="288" y="416"/>
                  <a:pt x="288" y="416"/>
                  <a:pt x="288" y="416"/>
                </a:cubicBezTo>
                <a:cubicBezTo>
                  <a:pt x="293" y="416"/>
                  <a:pt x="297" y="412"/>
                  <a:pt x="298" y="407"/>
                </a:cubicBezTo>
                <a:cubicBezTo>
                  <a:pt x="309" y="343"/>
                  <a:pt x="309" y="343"/>
                  <a:pt x="309" y="343"/>
                </a:cubicBezTo>
                <a:cubicBezTo>
                  <a:pt x="309" y="342"/>
                  <a:pt x="309" y="342"/>
                  <a:pt x="309" y="342"/>
                </a:cubicBezTo>
                <a:cubicBezTo>
                  <a:pt x="309" y="342"/>
                  <a:pt x="309" y="341"/>
                  <a:pt x="309" y="341"/>
                </a:cubicBezTo>
                <a:cubicBezTo>
                  <a:pt x="309" y="309"/>
                  <a:pt x="309" y="309"/>
                  <a:pt x="309" y="309"/>
                </a:cubicBezTo>
                <a:cubicBezTo>
                  <a:pt x="309" y="302"/>
                  <a:pt x="323" y="275"/>
                  <a:pt x="336" y="254"/>
                </a:cubicBezTo>
                <a:cubicBezTo>
                  <a:pt x="337" y="253"/>
                  <a:pt x="356" y="225"/>
                  <a:pt x="356" y="191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7" name="TextBox 86"/>
          <p:cNvSpPr txBox="1"/>
          <p:nvPr/>
        </p:nvSpPr>
        <p:spPr>
          <a:xfrm>
            <a:off x="1299598" y="1110092"/>
            <a:ext cx="1188000" cy="93600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it-IT"/>
            </a:defPPr>
            <a:lvl1pPr>
              <a:defRPr sz="1200">
                <a:latin typeface="Calibri" panose="020F0502020204030204" pitchFamily="34" charset="0"/>
              </a:defRPr>
            </a:lvl1pPr>
          </a:lstStyle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</p:txBody>
      </p:sp>
      <p:sp>
        <p:nvSpPr>
          <p:cNvPr id="89" name="Freeform 37"/>
          <p:cNvSpPr>
            <a:spLocks noChangeAspect="1" noEditPoints="1"/>
          </p:cNvSpPr>
          <p:nvPr/>
        </p:nvSpPr>
        <p:spPr bwMode="auto">
          <a:xfrm>
            <a:off x="1630574" y="1310502"/>
            <a:ext cx="539852" cy="540000"/>
          </a:xfrm>
          <a:custGeom>
            <a:avLst/>
            <a:gdLst>
              <a:gd name="T0" fmla="*/ 160 w 512"/>
              <a:gd name="T1" fmla="*/ 266 h 512"/>
              <a:gd name="T2" fmla="*/ 352 w 512"/>
              <a:gd name="T3" fmla="*/ 266 h 512"/>
              <a:gd name="T4" fmla="*/ 284 w 512"/>
              <a:gd name="T5" fmla="*/ 263 h 512"/>
              <a:gd name="T6" fmla="*/ 263 w 512"/>
              <a:gd name="T7" fmla="*/ 284 h 512"/>
              <a:gd name="T8" fmla="*/ 248 w 512"/>
              <a:gd name="T9" fmla="*/ 284 h 512"/>
              <a:gd name="T10" fmla="*/ 205 w 512"/>
              <a:gd name="T11" fmla="*/ 227 h 512"/>
              <a:gd name="T12" fmla="*/ 256 w 512"/>
              <a:gd name="T13" fmla="*/ 261 h 512"/>
              <a:gd name="T14" fmla="*/ 285 w 512"/>
              <a:gd name="T15" fmla="*/ 248 h 512"/>
              <a:gd name="T16" fmla="*/ 256 w 512"/>
              <a:gd name="T17" fmla="*/ 0 h 512"/>
              <a:gd name="T18" fmla="*/ 256 w 512"/>
              <a:gd name="T19" fmla="*/ 512 h 512"/>
              <a:gd name="T20" fmla="*/ 256 w 512"/>
              <a:gd name="T21" fmla="*/ 0 h 512"/>
              <a:gd name="T22" fmla="*/ 131 w 512"/>
              <a:gd name="T23" fmla="*/ 158 h 512"/>
              <a:gd name="T24" fmla="*/ 199 w 512"/>
              <a:gd name="T25" fmla="*/ 131 h 512"/>
              <a:gd name="T26" fmla="*/ 184 w 512"/>
              <a:gd name="T27" fmla="*/ 146 h 512"/>
              <a:gd name="T28" fmla="*/ 146 w 512"/>
              <a:gd name="T29" fmla="*/ 173 h 512"/>
              <a:gd name="T30" fmla="*/ 146 w 512"/>
              <a:gd name="T31" fmla="*/ 184 h 512"/>
              <a:gd name="T32" fmla="*/ 139 w 512"/>
              <a:gd name="T33" fmla="*/ 202 h 512"/>
              <a:gd name="T34" fmla="*/ 123 w 512"/>
              <a:gd name="T35" fmla="*/ 178 h 512"/>
              <a:gd name="T36" fmla="*/ 346 w 512"/>
              <a:gd name="T37" fmla="*/ 404 h 512"/>
              <a:gd name="T38" fmla="*/ 331 w 512"/>
              <a:gd name="T39" fmla="*/ 399 h 512"/>
              <a:gd name="T40" fmla="*/ 256 w 512"/>
              <a:gd name="T41" fmla="*/ 384 h 512"/>
              <a:gd name="T42" fmla="*/ 180 w 512"/>
              <a:gd name="T43" fmla="*/ 399 h 512"/>
              <a:gd name="T44" fmla="*/ 166 w 512"/>
              <a:gd name="T45" fmla="*/ 404 h 512"/>
              <a:gd name="T46" fmla="*/ 178 w 512"/>
              <a:gd name="T47" fmla="*/ 354 h 512"/>
              <a:gd name="T48" fmla="*/ 256 w 512"/>
              <a:gd name="T49" fmla="*/ 149 h 512"/>
              <a:gd name="T50" fmla="*/ 333 w 512"/>
              <a:gd name="T51" fmla="*/ 354 h 512"/>
              <a:gd name="T52" fmla="*/ 380 w 512"/>
              <a:gd name="T53" fmla="*/ 199 h 512"/>
              <a:gd name="T54" fmla="*/ 365 w 512"/>
              <a:gd name="T55" fmla="*/ 199 h 512"/>
              <a:gd name="T56" fmla="*/ 367 w 512"/>
              <a:gd name="T57" fmla="*/ 178 h 512"/>
              <a:gd name="T58" fmla="*/ 339 w 512"/>
              <a:gd name="T59" fmla="*/ 146 h 512"/>
              <a:gd name="T60" fmla="*/ 312 w 512"/>
              <a:gd name="T61" fmla="*/ 146 h 512"/>
              <a:gd name="T62" fmla="*/ 354 w 512"/>
              <a:gd name="T63" fmla="*/ 131 h 512"/>
              <a:gd name="T64" fmla="*/ 389 w 512"/>
              <a:gd name="T65" fmla="*/ 17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12" h="512">
                <a:moveTo>
                  <a:pt x="256" y="170"/>
                </a:moveTo>
                <a:cubicBezTo>
                  <a:pt x="203" y="170"/>
                  <a:pt x="160" y="213"/>
                  <a:pt x="160" y="266"/>
                </a:cubicBezTo>
                <a:cubicBezTo>
                  <a:pt x="160" y="319"/>
                  <a:pt x="203" y="362"/>
                  <a:pt x="256" y="362"/>
                </a:cubicBezTo>
                <a:cubicBezTo>
                  <a:pt x="309" y="362"/>
                  <a:pt x="352" y="319"/>
                  <a:pt x="352" y="266"/>
                </a:cubicBezTo>
                <a:cubicBezTo>
                  <a:pt x="352" y="213"/>
                  <a:pt x="309" y="170"/>
                  <a:pt x="256" y="170"/>
                </a:cubicBezTo>
                <a:close/>
                <a:moveTo>
                  <a:pt x="284" y="263"/>
                </a:moveTo>
                <a:cubicBezTo>
                  <a:pt x="263" y="284"/>
                  <a:pt x="263" y="284"/>
                  <a:pt x="263" y="284"/>
                </a:cubicBezTo>
                <a:cubicBezTo>
                  <a:pt x="263" y="284"/>
                  <a:pt x="263" y="284"/>
                  <a:pt x="263" y="284"/>
                </a:cubicBezTo>
                <a:cubicBezTo>
                  <a:pt x="261" y="286"/>
                  <a:pt x="258" y="287"/>
                  <a:pt x="256" y="287"/>
                </a:cubicBezTo>
                <a:cubicBezTo>
                  <a:pt x="253" y="287"/>
                  <a:pt x="250" y="286"/>
                  <a:pt x="248" y="284"/>
                </a:cubicBezTo>
                <a:cubicBezTo>
                  <a:pt x="206" y="242"/>
                  <a:pt x="206" y="242"/>
                  <a:pt x="206" y="242"/>
                </a:cubicBezTo>
                <a:cubicBezTo>
                  <a:pt x="201" y="238"/>
                  <a:pt x="201" y="231"/>
                  <a:pt x="205" y="227"/>
                </a:cubicBezTo>
                <a:cubicBezTo>
                  <a:pt x="210" y="223"/>
                  <a:pt x="216" y="223"/>
                  <a:pt x="220" y="227"/>
                </a:cubicBezTo>
                <a:cubicBezTo>
                  <a:pt x="256" y="261"/>
                  <a:pt x="256" y="261"/>
                  <a:pt x="256" y="261"/>
                </a:cubicBezTo>
                <a:cubicBezTo>
                  <a:pt x="270" y="248"/>
                  <a:pt x="270" y="248"/>
                  <a:pt x="270" y="248"/>
                </a:cubicBezTo>
                <a:cubicBezTo>
                  <a:pt x="274" y="244"/>
                  <a:pt x="281" y="244"/>
                  <a:pt x="285" y="248"/>
                </a:cubicBezTo>
                <a:cubicBezTo>
                  <a:pt x="289" y="253"/>
                  <a:pt x="289" y="259"/>
                  <a:pt x="284" y="263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23" y="178"/>
                </a:moveTo>
                <a:cubicBezTo>
                  <a:pt x="123" y="171"/>
                  <a:pt x="126" y="163"/>
                  <a:pt x="131" y="158"/>
                </a:cubicBezTo>
                <a:cubicBezTo>
                  <a:pt x="158" y="131"/>
                  <a:pt x="158" y="131"/>
                  <a:pt x="158" y="131"/>
                </a:cubicBezTo>
                <a:cubicBezTo>
                  <a:pt x="169" y="120"/>
                  <a:pt x="188" y="120"/>
                  <a:pt x="199" y="131"/>
                </a:cubicBezTo>
                <a:cubicBezTo>
                  <a:pt x="203" y="135"/>
                  <a:pt x="203" y="142"/>
                  <a:pt x="199" y="146"/>
                </a:cubicBezTo>
                <a:cubicBezTo>
                  <a:pt x="195" y="151"/>
                  <a:pt x="188" y="151"/>
                  <a:pt x="184" y="146"/>
                </a:cubicBezTo>
                <a:cubicBezTo>
                  <a:pt x="181" y="143"/>
                  <a:pt x="176" y="143"/>
                  <a:pt x="173" y="146"/>
                </a:cubicBezTo>
                <a:cubicBezTo>
                  <a:pt x="146" y="173"/>
                  <a:pt x="146" y="173"/>
                  <a:pt x="146" y="173"/>
                </a:cubicBezTo>
                <a:cubicBezTo>
                  <a:pt x="145" y="174"/>
                  <a:pt x="144" y="176"/>
                  <a:pt x="144" y="178"/>
                </a:cubicBezTo>
                <a:cubicBezTo>
                  <a:pt x="144" y="181"/>
                  <a:pt x="145" y="183"/>
                  <a:pt x="146" y="184"/>
                </a:cubicBezTo>
                <a:cubicBezTo>
                  <a:pt x="151" y="188"/>
                  <a:pt x="151" y="195"/>
                  <a:pt x="146" y="199"/>
                </a:cubicBezTo>
                <a:cubicBezTo>
                  <a:pt x="144" y="201"/>
                  <a:pt x="142" y="202"/>
                  <a:pt x="139" y="202"/>
                </a:cubicBezTo>
                <a:cubicBezTo>
                  <a:pt x="136" y="202"/>
                  <a:pt x="133" y="201"/>
                  <a:pt x="131" y="199"/>
                </a:cubicBezTo>
                <a:cubicBezTo>
                  <a:pt x="126" y="194"/>
                  <a:pt x="123" y="186"/>
                  <a:pt x="123" y="178"/>
                </a:cubicBezTo>
                <a:close/>
                <a:moveTo>
                  <a:pt x="351" y="390"/>
                </a:moveTo>
                <a:cubicBezTo>
                  <a:pt x="353" y="395"/>
                  <a:pt x="351" y="401"/>
                  <a:pt x="346" y="404"/>
                </a:cubicBezTo>
                <a:cubicBezTo>
                  <a:pt x="344" y="405"/>
                  <a:pt x="343" y="405"/>
                  <a:pt x="341" y="405"/>
                </a:cubicBezTo>
                <a:cubicBezTo>
                  <a:pt x="337" y="405"/>
                  <a:pt x="333" y="403"/>
                  <a:pt x="331" y="399"/>
                </a:cubicBezTo>
                <a:cubicBezTo>
                  <a:pt x="315" y="367"/>
                  <a:pt x="315" y="367"/>
                  <a:pt x="315" y="367"/>
                </a:cubicBezTo>
                <a:cubicBezTo>
                  <a:pt x="298" y="378"/>
                  <a:pt x="278" y="384"/>
                  <a:pt x="256" y="384"/>
                </a:cubicBezTo>
                <a:cubicBezTo>
                  <a:pt x="234" y="384"/>
                  <a:pt x="213" y="378"/>
                  <a:pt x="196" y="367"/>
                </a:cubicBezTo>
                <a:cubicBezTo>
                  <a:pt x="180" y="399"/>
                  <a:pt x="180" y="399"/>
                  <a:pt x="180" y="399"/>
                </a:cubicBezTo>
                <a:cubicBezTo>
                  <a:pt x="178" y="403"/>
                  <a:pt x="174" y="405"/>
                  <a:pt x="170" y="405"/>
                </a:cubicBezTo>
                <a:cubicBezTo>
                  <a:pt x="169" y="405"/>
                  <a:pt x="167" y="405"/>
                  <a:pt x="166" y="404"/>
                </a:cubicBezTo>
                <a:cubicBezTo>
                  <a:pt x="160" y="401"/>
                  <a:pt x="158" y="395"/>
                  <a:pt x="161" y="390"/>
                </a:cubicBezTo>
                <a:cubicBezTo>
                  <a:pt x="178" y="354"/>
                  <a:pt x="178" y="354"/>
                  <a:pt x="178" y="354"/>
                </a:cubicBezTo>
                <a:cubicBezTo>
                  <a:pt x="154" y="333"/>
                  <a:pt x="138" y="301"/>
                  <a:pt x="138" y="266"/>
                </a:cubicBezTo>
                <a:cubicBezTo>
                  <a:pt x="138" y="202"/>
                  <a:pt x="191" y="149"/>
                  <a:pt x="256" y="149"/>
                </a:cubicBezTo>
                <a:cubicBezTo>
                  <a:pt x="320" y="149"/>
                  <a:pt x="373" y="202"/>
                  <a:pt x="373" y="266"/>
                </a:cubicBezTo>
                <a:cubicBezTo>
                  <a:pt x="373" y="301"/>
                  <a:pt x="357" y="333"/>
                  <a:pt x="333" y="354"/>
                </a:cubicBezTo>
                <a:lnTo>
                  <a:pt x="351" y="390"/>
                </a:lnTo>
                <a:close/>
                <a:moveTo>
                  <a:pt x="380" y="199"/>
                </a:moveTo>
                <a:cubicBezTo>
                  <a:pt x="378" y="201"/>
                  <a:pt x="375" y="202"/>
                  <a:pt x="372" y="202"/>
                </a:cubicBezTo>
                <a:cubicBezTo>
                  <a:pt x="370" y="202"/>
                  <a:pt x="367" y="201"/>
                  <a:pt x="365" y="199"/>
                </a:cubicBezTo>
                <a:cubicBezTo>
                  <a:pt x="361" y="195"/>
                  <a:pt x="361" y="188"/>
                  <a:pt x="365" y="184"/>
                </a:cubicBezTo>
                <a:cubicBezTo>
                  <a:pt x="366" y="183"/>
                  <a:pt x="367" y="181"/>
                  <a:pt x="367" y="178"/>
                </a:cubicBezTo>
                <a:cubicBezTo>
                  <a:pt x="367" y="176"/>
                  <a:pt x="366" y="174"/>
                  <a:pt x="365" y="173"/>
                </a:cubicBezTo>
                <a:cubicBezTo>
                  <a:pt x="339" y="146"/>
                  <a:pt x="339" y="146"/>
                  <a:pt x="339" y="146"/>
                </a:cubicBezTo>
                <a:cubicBezTo>
                  <a:pt x="335" y="143"/>
                  <a:pt x="330" y="143"/>
                  <a:pt x="327" y="146"/>
                </a:cubicBezTo>
                <a:cubicBezTo>
                  <a:pt x="323" y="151"/>
                  <a:pt x="316" y="151"/>
                  <a:pt x="312" y="146"/>
                </a:cubicBezTo>
                <a:cubicBezTo>
                  <a:pt x="308" y="142"/>
                  <a:pt x="308" y="135"/>
                  <a:pt x="312" y="131"/>
                </a:cubicBezTo>
                <a:cubicBezTo>
                  <a:pt x="324" y="120"/>
                  <a:pt x="342" y="120"/>
                  <a:pt x="354" y="131"/>
                </a:cubicBezTo>
                <a:cubicBezTo>
                  <a:pt x="380" y="158"/>
                  <a:pt x="380" y="158"/>
                  <a:pt x="380" y="158"/>
                </a:cubicBezTo>
                <a:cubicBezTo>
                  <a:pt x="386" y="163"/>
                  <a:pt x="389" y="171"/>
                  <a:pt x="389" y="178"/>
                </a:cubicBezTo>
                <a:cubicBezTo>
                  <a:pt x="389" y="186"/>
                  <a:pt x="386" y="194"/>
                  <a:pt x="380" y="199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0" name="Rectangle 89"/>
          <p:cNvSpPr/>
          <p:nvPr/>
        </p:nvSpPr>
        <p:spPr>
          <a:xfrm>
            <a:off x="2568077" y="5176704"/>
            <a:ext cx="699343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L’ambiente di 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Produzione </a:t>
            </a:r>
            <a:r>
              <a:rPr lang="it-IT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NoTI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-ER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permetterà l’invio dell’Ordine compatibile con NSO dal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1 Settembre 2019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it-IT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0894" y="2361734"/>
            <a:ext cx="7870618" cy="2395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492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25</a:t>
            </a:fld>
            <a:endParaRPr lang="it-IT" altLang="it-IT" dirty="0"/>
          </a:p>
        </p:txBody>
      </p:sp>
      <p:sp>
        <p:nvSpPr>
          <p:cNvPr id="22" name="Freeform: Shape 4">
            <a:extLst>
              <a:ext uri="{FF2B5EF4-FFF2-40B4-BE49-F238E27FC236}">
                <a16:creationId xmlns:a16="http://schemas.microsoft.com/office/drawing/2014/main" id="{F74396C4-0B67-4615-8CAC-3AEB51BCC54F}"/>
              </a:ext>
            </a:extLst>
          </p:cNvPr>
          <p:cNvSpPr/>
          <p:nvPr/>
        </p:nvSpPr>
        <p:spPr>
          <a:xfrm flipH="1">
            <a:off x="1535345" y="1641530"/>
            <a:ext cx="1805364" cy="1425002"/>
          </a:xfrm>
          <a:custGeom>
            <a:avLst/>
            <a:gdLst>
              <a:gd name="connsiteX0" fmla="*/ 2046514 w 2046514"/>
              <a:gd name="connsiteY0" fmla="*/ 0 h 1118431"/>
              <a:gd name="connsiteX1" fmla="*/ 1684277 w 2046514"/>
              <a:gd name="connsiteY1" fmla="*/ 288765 h 1118431"/>
              <a:gd name="connsiteX2" fmla="*/ 1322039 w 2046514"/>
              <a:gd name="connsiteY2" fmla="*/ 0 h 1118431"/>
              <a:gd name="connsiteX3" fmla="*/ 1322039 w 2046514"/>
              <a:gd name="connsiteY3" fmla="*/ 271622 h 1118431"/>
              <a:gd name="connsiteX4" fmla="*/ 117569 w 2046514"/>
              <a:gd name="connsiteY4" fmla="*/ 271622 h 1118431"/>
              <a:gd name="connsiteX5" fmla="*/ 0 w 2046514"/>
              <a:gd name="connsiteY5" fmla="*/ 389191 h 1118431"/>
              <a:gd name="connsiteX6" fmla="*/ 0 w 2046514"/>
              <a:gd name="connsiteY6" fmla="*/ 483022 h 1118431"/>
              <a:gd name="connsiteX7" fmla="*/ 0 w 2046514"/>
              <a:gd name="connsiteY7" fmla="*/ 712097 h 1118431"/>
              <a:gd name="connsiteX8" fmla="*/ 0 w 2046514"/>
              <a:gd name="connsiteY8" fmla="*/ 829666 h 1118431"/>
              <a:gd name="connsiteX9" fmla="*/ 362237 w 2046514"/>
              <a:gd name="connsiteY9" fmla="*/ 1118431 h 1118431"/>
              <a:gd name="connsiteX10" fmla="*/ 724475 w 2046514"/>
              <a:gd name="connsiteY10" fmla="*/ 829666 h 1118431"/>
              <a:gd name="connsiteX11" fmla="*/ 1928945 w 2046514"/>
              <a:gd name="connsiteY11" fmla="*/ 829666 h 1118431"/>
              <a:gd name="connsiteX12" fmla="*/ 2046514 w 2046514"/>
              <a:gd name="connsiteY12" fmla="*/ 712097 h 1118431"/>
              <a:gd name="connsiteX13" fmla="*/ 2046514 w 2046514"/>
              <a:gd name="connsiteY13" fmla="*/ 540901 h 1118431"/>
              <a:gd name="connsiteX14" fmla="*/ 2046514 w 2046514"/>
              <a:gd name="connsiteY14" fmla="*/ 389191 h 1118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046514" h="1118431">
                <a:moveTo>
                  <a:pt x="2046514" y="0"/>
                </a:moveTo>
                <a:lnTo>
                  <a:pt x="1684277" y="288765"/>
                </a:lnTo>
                <a:lnTo>
                  <a:pt x="1322039" y="0"/>
                </a:lnTo>
                <a:lnTo>
                  <a:pt x="1322039" y="271622"/>
                </a:lnTo>
                <a:lnTo>
                  <a:pt x="117569" y="271622"/>
                </a:lnTo>
                <a:cubicBezTo>
                  <a:pt x="52637" y="271622"/>
                  <a:pt x="0" y="324259"/>
                  <a:pt x="0" y="389191"/>
                </a:cubicBezTo>
                <a:lnTo>
                  <a:pt x="0" y="483022"/>
                </a:lnTo>
                <a:lnTo>
                  <a:pt x="0" y="712097"/>
                </a:lnTo>
                <a:lnTo>
                  <a:pt x="0" y="829666"/>
                </a:lnTo>
                <a:lnTo>
                  <a:pt x="362237" y="1118431"/>
                </a:lnTo>
                <a:lnTo>
                  <a:pt x="724475" y="829666"/>
                </a:lnTo>
                <a:lnTo>
                  <a:pt x="1928945" y="829666"/>
                </a:lnTo>
                <a:cubicBezTo>
                  <a:pt x="1993877" y="829666"/>
                  <a:pt x="2046514" y="777029"/>
                  <a:pt x="2046514" y="712097"/>
                </a:cubicBezTo>
                <a:lnTo>
                  <a:pt x="2046514" y="540901"/>
                </a:lnTo>
                <a:lnTo>
                  <a:pt x="2046514" y="389191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it-IT" sz="1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cumento dei casi d’uso</a:t>
            </a:r>
            <a:endParaRPr lang="en-US" sz="1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Freeform: Shape 5">
            <a:extLst>
              <a:ext uri="{FF2B5EF4-FFF2-40B4-BE49-F238E27FC236}">
                <a16:creationId xmlns:a16="http://schemas.microsoft.com/office/drawing/2014/main" id="{447209E4-2648-4ED1-8258-3BC06C152E73}"/>
              </a:ext>
            </a:extLst>
          </p:cNvPr>
          <p:cNvSpPr/>
          <p:nvPr/>
        </p:nvSpPr>
        <p:spPr>
          <a:xfrm>
            <a:off x="1535345" y="2823815"/>
            <a:ext cx="1805364" cy="1425002"/>
          </a:xfrm>
          <a:custGeom>
            <a:avLst/>
            <a:gdLst>
              <a:gd name="connsiteX0" fmla="*/ 2046514 w 2046514"/>
              <a:gd name="connsiteY0" fmla="*/ 0 h 1118431"/>
              <a:gd name="connsiteX1" fmla="*/ 1684277 w 2046514"/>
              <a:gd name="connsiteY1" fmla="*/ 288765 h 1118431"/>
              <a:gd name="connsiteX2" fmla="*/ 1322039 w 2046514"/>
              <a:gd name="connsiteY2" fmla="*/ 0 h 1118431"/>
              <a:gd name="connsiteX3" fmla="*/ 1322039 w 2046514"/>
              <a:gd name="connsiteY3" fmla="*/ 271622 h 1118431"/>
              <a:gd name="connsiteX4" fmla="*/ 117569 w 2046514"/>
              <a:gd name="connsiteY4" fmla="*/ 271622 h 1118431"/>
              <a:gd name="connsiteX5" fmla="*/ 0 w 2046514"/>
              <a:gd name="connsiteY5" fmla="*/ 389191 h 1118431"/>
              <a:gd name="connsiteX6" fmla="*/ 0 w 2046514"/>
              <a:gd name="connsiteY6" fmla="*/ 483022 h 1118431"/>
              <a:gd name="connsiteX7" fmla="*/ 0 w 2046514"/>
              <a:gd name="connsiteY7" fmla="*/ 712097 h 1118431"/>
              <a:gd name="connsiteX8" fmla="*/ 0 w 2046514"/>
              <a:gd name="connsiteY8" fmla="*/ 829666 h 1118431"/>
              <a:gd name="connsiteX9" fmla="*/ 362237 w 2046514"/>
              <a:gd name="connsiteY9" fmla="*/ 1118431 h 1118431"/>
              <a:gd name="connsiteX10" fmla="*/ 724475 w 2046514"/>
              <a:gd name="connsiteY10" fmla="*/ 829666 h 1118431"/>
              <a:gd name="connsiteX11" fmla="*/ 1928945 w 2046514"/>
              <a:gd name="connsiteY11" fmla="*/ 829666 h 1118431"/>
              <a:gd name="connsiteX12" fmla="*/ 2046514 w 2046514"/>
              <a:gd name="connsiteY12" fmla="*/ 712097 h 1118431"/>
              <a:gd name="connsiteX13" fmla="*/ 2046514 w 2046514"/>
              <a:gd name="connsiteY13" fmla="*/ 540901 h 1118431"/>
              <a:gd name="connsiteX14" fmla="*/ 2046514 w 2046514"/>
              <a:gd name="connsiteY14" fmla="*/ 389191 h 1118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046514" h="1118431">
                <a:moveTo>
                  <a:pt x="2046514" y="0"/>
                </a:moveTo>
                <a:lnTo>
                  <a:pt x="1684277" y="288765"/>
                </a:lnTo>
                <a:lnTo>
                  <a:pt x="1322039" y="0"/>
                </a:lnTo>
                <a:lnTo>
                  <a:pt x="1322039" y="271622"/>
                </a:lnTo>
                <a:lnTo>
                  <a:pt x="117569" y="271622"/>
                </a:lnTo>
                <a:cubicBezTo>
                  <a:pt x="52637" y="271622"/>
                  <a:pt x="0" y="324259"/>
                  <a:pt x="0" y="389191"/>
                </a:cubicBezTo>
                <a:lnTo>
                  <a:pt x="0" y="483022"/>
                </a:lnTo>
                <a:lnTo>
                  <a:pt x="0" y="712097"/>
                </a:lnTo>
                <a:lnTo>
                  <a:pt x="0" y="829666"/>
                </a:lnTo>
                <a:lnTo>
                  <a:pt x="362237" y="1118431"/>
                </a:lnTo>
                <a:lnTo>
                  <a:pt x="724475" y="829666"/>
                </a:lnTo>
                <a:lnTo>
                  <a:pt x="1928945" y="829666"/>
                </a:lnTo>
                <a:cubicBezTo>
                  <a:pt x="1993877" y="829666"/>
                  <a:pt x="2046514" y="777029"/>
                  <a:pt x="2046514" y="712097"/>
                </a:cubicBezTo>
                <a:lnTo>
                  <a:pt x="2046514" y="540901"/>
                </a:lnTo>
                <a:lnTo>
                  <a:pt x="2046514" y="389191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US" sz="1800" b="1" dirty="0" err="1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llaudo</a:t>
            </a:r>
            <a:endParaRPr lang="en-US" sz="1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Freeform: Shape 8">
            <a:extLst>
              <a:ext uri="{FF2B5EF4-FFF2-40B4-BE49-F238E27FC236}">
                <a16:creationId xmlns:a16="http://schemas.microsoft.com/office/drawing/2014/main" id="{28B91244-E586-4D8C-8BFE-E6A786B2EB09}"/>
              </a:ext>
            </a:extLst>
          </p:cNvPr>
          <p:cNvSpPr/>
          <p:nvPr/>
        </p:nvSpPr>
        <p:spPr>
          <a:xfrm flipH="1">
            <a:off x="1549745" y="4006100"/>
            <a:ext cx="1805364" cy="1425002"/>
          </a:xfrm>
          <a:custGeom>
            <a:avLst/>
            <a:gdLst>
              <a:gd name="connsiteX0" fmla="*/ 2046514 w 2046514"/>
              <a:gd name="connsiteY0" fmla="*/ 0 h 1118431"/>
              <a:gd name="connsiteX1" fmla="*/ 1684277 w 2046514"/>
              <a:gd name="connsiteY1" fmla="*/ 288765 h 1118431"/>
              <a:gd name="connsiteX2" fmla="*/ 1322039 w 2046514"/>
              <a:gd name="connsiteY2" fmla="*/ 0 h 1118431"/>
              <a:gd name="connsiteX3" fmla="*/ 1322039 w 2046514"/>
              <a:gd name="connsiteY3" fmla="*/ 271622 h 1118431"/>
              <a:gd name="connsiteX4" fmla="*/ 117569 w 2046514"/>
              <a:gd name="connsiteY4" fmla="*/ 271622 h 1118431"/>
              <a:gd name="connsiteX5" fmla="*/ 0 w 2046514"/>
              <a:gd name="connsiteY5" fmla="*/ 389191 h 1118431"/>
              <a:gd name="connsiteX6" fmla="*/ 0 w 2046514"/>
              <a:gd name="connsiteY6" fmla="*/ 483022 h 1118431"/>
              <a:gd name="connsiteX7" fmla="*/ 0 w 2046514"/>
              <a:gd name="connsiteY7" fmla="*/ 712097 h 1118431"/>
              <a:gd name="connsiteX8" fmla="*/ 0 w 2046514"/>
              <a:gd name="connsiteY8" fmla="*/ 829666 h 1118431"/>
              <a:gd name="connsiteX9" fmla="*/ 362237 w 2046514"/>
              <a:gd name="connsiteY9" fmla="*/ 1118431 h 1118431"/>
              <a:gd name="connsiteX10" fmla="*/ 724475 w 2046514"/>
              <a:gd name="connsiteY10" fmla="*/ 829666 h 1118431"/>
              <a:gd name="connsiteX11" fmla="*/ 1928945 w 2046514"/>
              <a:gd name="connsiteY11" fmla="*/ 829666 h 1118431"/>
              <a:gd name="connsiteX12" fmla="*/ 2046514 w 2046514"/>
              <a:gd name="connsiteY12" fmla="*/ 712097 h 1118431"/>
              <a:gd name="connsiteX13" fmla="*/ 2046514 w 2046514"/>
              <a:gd name="connsiteY13" fmla="*/ 540901 h 1118431"/>
              <a:gd name="connsiteX14" fmla="*/ 2046514 w 2046514"/>
              <a:gd name="connsiteY14" fmla="*/ 389191 h 1118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046514" h="1118431">
                <a:moveTo>
                  <a:pt x="2046514" y="0"/>
                </a:moveTo>
                <a:lnTo>
                  <a:pt x="1684277" y="288765"/>
                </a:lnTo>
                <a:lnTo>
                  <a:pt x="1322039" y="0"/>
                </a:lnTo>
                <a:lnTo>
                  <a:pt x="1322039" y="271622"/>
                </a:lnTo>
                <a:lnTo>
                  <a:pt x="117569" y="271622"/>
                </a:lnTo>
                <a:cubicBezTo>
                  <a:pt x="52637" y="271622"/>
                  <a:pt x="0" y="324259"/>
                  <a:pt x="0" y="389191"/>
                </a:cubicBezTo>
                <a:lnTo>
                  <a:pt x="0" y="483022"/>
                </a:lnTo>
                <a:lnTo>
                  <a:pt x="0" y="712097"/>
                </a:lnTo>
                <a:lnTo>
                  <a:pt x="0" y="829666"/>
                </a:lnTo>
                <a:lnTo>
                  <a:pt x="362237" y="1118431"/>
                </a:lnTo>
                <a:lnTo>
                  <a:pt x="724475" y="829666"/>
                </a:lnTo>
                <a:lnTo>
                  <a:pt x="1928945" y="829666"/>
                </a:lnTo>
                <a:cubicBezTo>
                  <a:pt x="1993877" y="829666"/>
                  <a:pt x="2046514" y="777029"/>
                  <a:pt x="2046514" y="712097"/>
                </a:cubicBezTo>
                <a:lnTo>
                  <a:pt x="2046514" y="540901"/>
                </a:lnTo>
                <a:lnTo>
                  <a:pt x="2046514" y="389191"/>
                </a:lnTo>
                <a:close/>
              </a:path>
            </a:pathLst>
          </a:custGeom>
          <a:solidFill>
            <a:srgbClr val="006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US" sz="1800" b="1" dirty="0" err="1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azione</a:t>
            </a:r>
            <a:r>
              <a:rPr lang="en-US" sz="18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n Support</a:t>
            </a:r>
            <a:endParaRPr lang="en-US" sz="18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68CD7E8-C930-4FF3-8C7A-DC44E26A8748}"/>
              </a:ext>
            </a:extLst>
          </p:cNvPr>
          <p:cNvCxnSpPr>
            <a:cxnSpLocks/>
          </p:cNvCxnSpPr>
          <p:nvPr/>
        </p:nvCxnSpPr>
        <p:spPr>
          <a:xfrm>
            <a:off x="3473862" y="2782401"/>
            <a:ext cx="5400000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651E2FA-26C3-4D25-A9DD-2BA83EF73A91}"/>
              </a:ext>
            </a:extLst>
          </p:cNvPr>
          <p:cNvCxnSpPr>
            <a:cxnSpLocks/>
          </p:cNvCxnSpPr>
          <p:nvPr/>
        </p:nvCxnSpPr>
        <p:spPr>
          <a:xfrm>
            <a:off x="3473862" y="3987310"/>
            <a:ext cx="5400000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id="{D11AFFF5-18F7-411F-80BA-3ADC8770EFD3}"/>
              </a:ext>
            </a:extLst>
          </p:cNvPr>
          <p:cNvSpPr>
            <a:spLocks noChangeAspect="1"/>
          </p:cNvSpPr>
          <p:nvPr/>
        </p:nvSpPr>
        <p:spPr>
          <a:xfrm>
            <a:off x="3473862" y="2083891"/>
            <a:ext cx="395307" cy="395307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US" sz="18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ADF4E0B-B160-4F66-A782-587D63C3D362}"/>
              </a:ext>
            </a:extLst>
          </p:cNvPr>
          <p:cNvSpPr>
            <a:spLocks noChangeAspect="1"/>
          </p:cNvSpPr>
          <p:nvPr/>
        </p:nvSpPr>
        <p:spPr>
          <a:xfrm>
            <a:off x="3473862" y="3233382"/>
            <a:ext cx="395307" cy="39530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US" sz="18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50C6C1A-0E5D-4071-B2DB-55B5D498B4FA}"/>
              </a:ext>
            </a:extLst>
          </p:cNvPr>
          <p:cNvSpPr>
            <a:spLocks noChangeAspect="1"/>
          </p:cNvSpPr>
          <p:nvPr/>
        </p:nvSpPr>
        <p:spPr>
          <a:xfrm>
            <a:off x="3473862" y="4475230"/>
            <a:ext cx="395307" cy="395307"/>
          </a:xfrm>
          <a:prstGeom prst="ellipse">
            <a:avLst/>
          </a:prstGeom>
          <a:solidFill>
            <a:srgbClr val="006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US" sz="18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3E421DD-7F73-48C5-BDA3-451A3E2EF995}"/>
              </a:ext>
            </a:extLst>
          </p:cNvPr>
          <p:cNvSpPr/>
          <p:nvPr/>
        </p:nvSpPr>
        <p:spPr>
          <a:xfrm>
            <a:off x="3993733" y="1898683"/>
            <a:ext cx="5567780" cy="7615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 defTabSz="685800">
              <a:defRPr/>
            </a:pPr>
            <a:r>
              <a:rPr lang="it-IT" sz="18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 fornitori durante le attività di </a:t>
            </a:r>
            <a:r>
              <a:rPr lang="it-IT" sz="1800" dirty="0" err="1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r>
              <a:rPr lang="it-IT" sz="18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ovranno attenersi ai casi d’uso definiti e distribuiti da </a:t>
            </a:r>
            <a:r>
              <a:rPr lang="it-IT" sz="1800" dirty="0" err="1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cent</a:t>
            </a:r>
            <a:r>
              <a:rPr lang="it-IT" sz="18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ER.</a:t>
            </a:r>
            <a:endParaRPr lang="en-US" sz="18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AEA28A2-3B7A-4F81-8E2F-726011B03030}"/>
              </a:ext>
            </a:extLst>
          </p:cNvPr>
          <p:cNvSpPr/>
          <p:nvPr/>
        </p:nvSpPr>
        <p:spPr>
          <a:xfrm>
            <a:off x="3975627" y="3070363"/>
            <a:ext cx="5585886" cy="7615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 defTabSz="685800">
              <a:defRPr/>
            </a:pPr>
            <a:r>
              <a:rPr lang="it-IT" sz="18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ll’ambiente di </a:t>
            </a:r>
            <a:r>
              <a:rPr lang="it-IT" sz="1800" dirty="0" err="1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ging</a:t>
            </a:r>
            <a:r>
              <a:rPr lang="it-IT" sz="18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iene verificato l’esito positivo di tutte le funzionalità </a:t>
            </a:r>
            <a:r>
              <a:rPr lang="it-IT" sz="1800" dirty="0" err="1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liant</a:t>
            </a:r>
            <a:r>
              <a:rPr lang="it-IT" sz="18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lla nuova versione di NSO.</a:t>
            </a:r>
            <a:endParaRPr lang="en-US" sz="18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E2407D-97B3-4CF4-8F03-F12333D4588D}"/>
              </a:ext>
            </a:extLst>
          </p:cNvPr>
          <p:cNvSpPr/>
          <p:nvPr/>
        </p:nvSpPr>
        <p:spPr>
          <a:xfrm>
            <a:off x="3975627" y="4171557"/>
            <a:ext cx="5585886" cy="9760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 defTabSz="685800">
              <a:defRPr/>
            </a:pPr>
            <a:r>
              <a:rPr lang="it-IT" sz="18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po l’avvio in produzione, i fornitori potranno comunicare a </a:t>
            </a:r>
            <a:r>
              <a:rPr lang="it-IT" sz="1600" dirty="0" smtClean="0">
                <a:latin typeface="Calibri" panose="020F0502020204030204" pitchFamily="34" charset="0"/>
                <a:cs typeface="Calibri" panose="020F0502020204030204" pitchFamily="34" charset="0"/>
                <a:hlinkClick r:id="rId2"/>
              </a:rPr>
              <a:t>Support.Notier@regione.emilia-romagna.it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18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gni problematica attraverso opportune segnalazioni.</a:t>
            </a:r>
          </a:p>
        </p:txBody>
      </p:sp>
      <p:sp>
        <p:nvSpPr>
          <p:cNvPr id="36" name="Rectangle 35"/>
          <p:cNvSpPr/>
          <p:nvPr/>
        </p:nvSpPr>
        <p:spPr>
          <a:xfrm>
            <a:off x="2569984" y="5064484"/>
            <a:ext cx="803564" cy="3573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Rectangle 45"/>
          <p:cNvSpPr>
            <a:spLocks noChangeArrowheads="1"/>
          </p:cNvSpPr>
          <p:nvPr/>
        </p:nvSpPr>
        <p:spPr bwMode="auto">
          <a:xfrm>
            <a:off x="1047750" y="222250"/>
            <a:ext cx="8513763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eaLnBrk="0" hangingPunct="0">
              <a:buClr>
                <a:srgbClr val="CC0000"/>
              </a:buClr>
              <a:buSzPct val="70000"/>
              <a:buFont typeface="Wingdings" pitchFamily="2" charset="2"/>
              <a:buNone/>
            </a:pPr>
            <a:r>
              <a:rPr lang="it-IT" sz="28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l piano di migrazione degli ordini elettronici (3/3)</a:t>
            </a:r>
            <a:endParaRPr lang="it-IT" sz="1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Rectangle 49"/>
          <p:cNvSpPr/>
          <p:nvPr/>
        </p:nvSpPr>
        <p:spPr bwMode="gray">
          <a:xfrm>
            <a:off x="1173163" y="5409906"/>
            <a:ext cx="8392051" cy="885437"/>
          </a:xfrm>
          <a:prstGeom prst="rect">
            <a:avLst/>
          </a:prstGeom>
          <a:solidFill>
            <a:srgbClr val="E8F6CF"/>
          </a:solidFill>
          <a:ln w="19050" algn="ctr">
            <a:solidFill>
              <a:srgbClr val="007E00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just" fontAlgn="t">
              <a:lnSpc>
                <a:spcPct val="107000"/>
              </a:lnSpc>
              <a:spcAft>
                <a:spcPts val="600"/>
              </a:spcAft>
            </a:pPr>
            <a:endParaRPr lang="it-IT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" name="Oval 16"/>
          <p:cNvSpPr>
            <a:spLocks noChangeArrowheads="1"/>
          </p:cNvSpPr>
          <p:nvPr/>
        </p:nvSpPr>
        <p:spPr bwMode="gray">
          <a:xfrm>
            <a:off x="999531" y="5224148"/>
            <a:ext cx="342900" cy="342900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007C00"/>
            </a:solidFill>
            <a:miter lim="800000"/>
            <a:headEnd/>
            <a:tailEnd/>
          </a:ln>
        </p:spPr>
        <p:txBody>
          <a:bodyPr lIns="82062" tIns="82062" rIns="82062" bIns="82062" anchor="ctr"/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106000"/>
              </a:lnSpc>
              <a:spcBef>
                <a:spcPct val="0"/>
              </a:spcBef>
              <a:buClrTx/>
              <a:buFont typeface="Wingdings 2" panose="05020102010507070707" pitchFamily="18" charset="2"/>
              <a:buNone/>
            </a:pPr>
            <a:endParaRPr lang="it-IT" altLang="it-IT" sz="1477" i="1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52" name="Freeform 105"/>
          <p:cNvSpPr>
            <a:spLocks noEditPoints="1"/>
          </p:cNvSpPr>
          <p:nvPr/>
        </p:nvSpPr>
        <p:spPr bwMode="auto">
          <a:xfrm>
            <a:off x="1053749" y="5273971"/>
            <a:ext cx="232997" cy="232996"/>
          </a:xfrm>
          <a:custGeom>
            <a:avLst/>
            <a:gdLst>
              <a:gd name="T0" fmla="*/ 232 w 236"/>
              <a:gd name="T1" fmla="*/ 70 h 235"/>
              <a:gd name="T2" fmla="*/ 166 w 236"/>
              <a:gd name="T3" fmla="*/ 3 h 235"/>
              <a:gd name="T4" fmla="*/ 157 w 236"/>
              <a:gd name="T5" fmla="*/ 0 h 235"/>
              <a:gd name="T6" fmla="*/ 149 w 236"/>
              <a:gd name="T7" fmla="*/ 6 h 235"/>
              <a:gd name="T8" fmla="*/ 145 w 236"/>
              <a:gd name="T9" fmla="*/ 42 h 235"/>
              <a:gd name="T10" fmla="*/ 105 w 236"/>
              <a:gd name="T11" fmla="*/ 82 h 235"/>
              <a:gd name="T12" fmla="*/ 70 w 236"/>
              <a:gd name="T13" fmla="*/ 74 h 235"/>
              <a:gd name="T14" fmla="*/ 27 w 236"/>
              <a:gd name="T15" fmla="*/ 91 h 235"/>
              <a:gd name="T16" fmla="*/ 24 w 236"/>
              <a:gd name="T17" fmla="*/ 99 h 235"/>
              <a:gd name="T18" fmla="*/ 27 w 236"/>
              <a:gd name="T19" fmla="*/ 106 h 235"/>
              <a:gd name="T20" fmla="*/ 75 w 236"/>
              <a:gd name="T21" fmla="*/ 154 h 235"/>
              <a:gd name="T22" fmla="*/ 2 w 236"/>
              <a:gd name="T23" fmla="*/ 227 h 235"/>
              <a:gd name="T24" fmla="*/ 2 w 236"/>
              <a:gd name="T25" fmla="*/ 234 h 235"/>
              <a:gd name="T26" fmla="*/ 6 w 236"/>
              <a:gd name="T27" fmla="*/ 235 h 235"/>
              <a:gd name="T28" fmla="*/ 9 w 236"/>
              <a:gd name="T29" fmla="*/ 234 h 235"/>
              <a:gd name="T30" fmla="*/ 82 w 236"/>
              <a:gd name="T31" fmla="*/ 161 h 235"/>
              <a:gd name="T32" fmla="*/ 130 w 236"/>
              <a:gd name="T33" fmla="*/ 209 h 235"/>
              <a:gd name="T34" fmla="*/ 137 w 236"/>
              <a:gd name="T35" fmla="*/ 212 h 235"/>
              <a:gd name="T36" fmla="*/ 137 w 236"/>
              <a:gd name="T37" fmla="*/ 212 h 235"/>
              <a:gd name="T38" fmla="*/ 145 w 236"/>
              <a:gd name="T39" fmla="*/ 209 h 235"/>
              <a:gd name="T40" fmla="*/ 154 w 236"/>
              <a:gd name="T41" fmla="*/ 131 h 235"/>
              <a:gd name="T42" fmla="*/ 194 w 236"/>
              <a:gd name="T43" fmla="*/ 91 h 235"/>
              <a:gd name="T44" fmla="*/ 230 w 236"/>
              <a:gd name="T45" fmla="*/ 87 h 235"/>
              <a:gd name="T46" fmla="*/ 235 w 236"/>
              <a:gd name="T47" fmla="*/ 79 h 235"/>
              <a:gd name="T48" fmla="*/ 232 w 236"/>
              <a:gd name="T49" fmla="*/ 70 h 235"/>
              <a:gd name="T50" fmla="*/ 225 w 236"/>
              <a:gd name="T51" fmla="*/ 78 h 235"/>
              <a:gd name="T52" fmla="*/ 194 w 236"/>
              <a:gd name="T53" fmla="*/ 81 h 235"/>
              <a:gd name="T54" fmla="*/ 191 w 236"/>
              <a:gd name="T55" fmla="*/ 80 h 235"/>
              <a:gd name="T56" fmla="*/ 142 w 236"/>
              <a:gd name="T57" fmla="*/ 129 h 235"/>
              <a:gd name="T58" fmla="*/ 144 w 236"/>
              <a:gd name="T59" fmla="*/ 132 h 235"/>
              <a:gd name="T60" fmla="*/ 138 w 236"/>
              <a:gd name="T61" fmla="*/ 202 h 235"/>
              <a:gd name="T62" fmla="*/ 136 w 236"/>
              <a:gd name="T63" fmla="*/ 202 h 235"/>
              <a:gd name="T64" fmla="*/ 34 w 236"/>
              <a:gd name="T65" fmla="*/ 99 h 235"/>
              <a:gd name="T66" fmla="*/ 33 w 236"/>
              <a:gd name="T67" fmla="*/ 99 h 235"/>
              <a:gd name="T68" fmla="*/ 34 w 236"/>
              <a:gd name="T69" fmla="*/ 98 h 235"/>
              <a:gd name="T70" fmla="*/ 70 w 236"/>
              <a:gd name="T71" fmla="*/ 84 h 235"/>
              <a:gd name="T72" fmla="*/ 104 w 236"/>
              <a:gd name="T73" fmla="*/ 92 h 235"/>
              <a:gd name="T74" fmla="*/ 107 w 236"/>
              <a:gd name="T75" fmla="*/ 93 h 235"/>
              <a:gd name="T76" fmla="*/ 156 w 236"/>
              <a:gd name="T77" fmla="*/ 45 h 235"/>
              <a:gd name="T78" fmla="*/ 155 w 236"/>
              <a:gd name="T79" fmla="*/ 42 h 235"/>
              <a:gd name="T80" fmla="*/ 157 w 236"/>
              <a:gd name="T81" fmla="*/ 10 h 235"/>
              <a:gd name="T82" fmla="*/ 158 w 236"/>
              <a:gd name="T83" fmla="*/ 10 h 235"/>
              <a:gd name="T84" fmla="*/ 159 w 236"/>
              <a:gd name="T85" fmla="*/ 10 h 235"/>
              <a:gd name="T86" fmla="*/ 226 w 236"/>
              <a:gd name="T87" fmla="*/ 77 h 235"/>
              <a:gd name="T88" fmla="*/ 226 w 236"/>
              <a:gd name="T89" fmla="*/ 78 h 235"/>
              <a:gd name="T90" fmla="*/ 225 w 236"/>
              <a:gd name="T91" fmla="*/ 78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36" h="235">
                <a:moveTo>
                  <a:pt x="232" y="70"/>
                </a:moveTo>
                <a:cubicBezTo>
                  <a:pt x="166" y="3"/>
                  <a:pt x="166" y="3"/>
                  <a:pt x="166" y="3"/>
                </a:cubicBezTo>
                <a:cubicBezTo>
                  <a:pt x="164" y="1"/>
                  <a:pt x="160" y="0"/>
                  <a:pt x="157" y="0"/>
                </a:cubicBezTo>
                <a:cubicBezTo>
                  <a:pt x="154" y="1"/>
                  <a:pt x="151" y="3"/>
                  <a:pt x="149" y="6"/>
                </a:cubicBezTo>
                <a:cubicBezTo>
                  <a:pt x="143" y="16"/>
                  <a:pt x="142" y="29"/>
                  <a:pt x="145" y="42"/>
                </a:cubicBezTo>
                <a:cubicBezTo>
                  <a:pt x="105" y="82"/>
                  <a:pt x="105" y="82"/>
                  <a:pt x="105" y="82"/>
                </a:cubicBezTo>
                <a:cubicBezTo>
                  <a:pt x="94" y="77"/>
                  <a:pt x="82" y="74"/>
                  <a:pt x="70" y="74"/>
                </a:cubicBezTo>
                <a:cubicBezTo>
                  <a:pt x="53" y="74"/>
                  <a:pt x="38" y="80"/>
                  <a:pt x="27" y="91"/>
                </a:cubicBezTo>
                <a:cubicBezTo>
                  <a:pt x="25" y="93"/>
                  <a:pt x="24" y="96"/>
                  <a:pt x="24" y="99"/>
                </a:cubicBezTo>
                <a:cubicBezTo>
                  <a:pt x="24" y="101"/>
                  <a:pt x="25" y="104"/>
                  <a:pt x="27" y="106"/>
                </a:cubicBezTo>
                <a:cubicBezTo>
                  <a:pt x="75" y="154"/>
                  <a:pt x="75" y="154"/>
                  <a:pt x="75" y="154"/>
                </a:cubicBezTo>
                <a:cubicBezTo>
                  <a:pt x="2" y="227"/>
                  <a:pt x="2" y="227"/>
                  <a:pt x="2" y="227"/>
                </a:cubicBezTo>
                <a:cubicBezTo>
                  <a:pt x="0" y="229"/>
                  <a:pt x="0" y="232"/>
                  <a:pt x="2" y="234"/>
                </a:cubicBezTo>
                <a:cubicBezTo>
                  <a:pt x="3" y="234"/>
                  <a:pt x="4" y="235"/>
                  <a:pt x="6" y="235"/>
                </a:cubicBezTo>
                <a:cubicBezTo>
                  <a:pt x="7" y="235"/>
                  <a:pt x="8" y="234"/>
                  <a:pt x="9" y="234"/>
                </a:cubicBezTo>
                <a:cubicBezTo>
                  <a:pt x="82" y="161"/>
                  <a:pt x="82" y="161"/>
                  <a:pt x="82" y="161"/>
                </a:cubicBezTo>
                <a:cubicBezTo>
                  <a:pt x="130" y="209"/>
                  <a:pt x="130" y="209"/>
                  <a:pt x="130" y="209"/>
                </a:cubicBezTo>
                <a:cubicBezTo>
                  <a:pt x="132" y="211"/>
                  <a:pt x="134" y="212"/>
                  <a:pt x="137" y="212"/>
                </a:cubicBezTo>
                <a:cubicBezTo>
                  <a:pt x="137" y="212"/>
                  <a:pt x="137" y="212"/>
                  <a:pt x="137" y="212"/>
                </a:cubicBezTo>
                <a:cubicBezTo>
                  <a:pt x="140" y="212"/>
                  <a:pt x="143" y="211"/>
                  <a:pt x="145" y="209"/>
                </a:cubicBezTo>
                <a:cubicBezTo>
                  <a:pt x="164" y="190"/>
                  <a:pt x="167" y="160"/>
                  <a:pt x="154" y="131"/>
                </a:cubicBezTo>
                <a:cubicBezTo>
                  <a:pt x="194" y="91"/>
                  <a:pt x="194" y="91"/>
                  <a:pt x="194" y="91"/>
                </a:cubicBezTo>
                <a:cubicBezTo>
                  <a:pt x="207" y="94"/>
                  <a:pt x="220" y="92"/>
                  <a:pt x="230" y="87"/>
                </a:cubicBezTo>
                <a:cubicBezTo>
                  <a:pt x="233" y="85"/>
                  <a:pt x="235" y="82"/>
                  <a:pt x="235" y="79"/>
                </a:cubicBezTo>
                <a:cubicBezTo>
                  <a:pt x="236" y="76"/>
                  <a:pt x="235" y="72"/>
                  <a:pt x="232" y="70"/>
                </a:cubicBezTo>
                <a:close/>
                <a:moveTo>
                  <a:pt x="225" y="78"/>
                </a:moveTo>
                <a:cubicBezTo>
                  <a:pt x="217" y="83"/>
                  <a:pt x="205" y="84"/>
                  <a:pt x="194" y="81"/>
                </a:cubicBezTo>
                <a:cubicBezTo>
                  <a:pt x="191" y="80"/>
                  <a:pt x="191" y="80"/>
                  <a:pt x="191" y="80"/>
                </a:cubicBezTo>
                <a:cubicBezTo>
                  <a:pt x="142" y="129"/>
                  <a:pt x="142" y="129"/>
                  <a:pt x="142" y="129"/>
                </a:cubicBezTo>
                <a:cubicBezTo>
                  <a:pt x="144" y="132"/>
                  <a:pt x="144" y="132"/>
                  <a:pt x="144" y="132"/>
                </a:cubicBezTo>
                <a:cubicBezTo>
                  <a:pt x="157" y="158"/>
                  <a:pt x="155" y="186"/>
                  <a:pt x="138" y="202"/>
                </a:cubicBezTo>
                <a:cubicBezTo>
                  <a:pt x="137" y="203"/>
                  <a:pt x="137" y="203"/>
                  <a:pt x="136" y="202"/>
                </a:cubicBezTo>
                <a:cubicBezTo>
                  <a:pt x="34" y="99"/>
                  <a:pt x="34" y="99"/>
                  <a:pt x="34" y="99"/>
                </a:cubicBezTo>
                <a:cubicBezTo>
                  <a:pt x="33" y="99"/>
                  <a:pt x="33" y="99"/>
                  <a:pt x="33" y="99"/>
                </a:cubicBezTo>
                <a:cubicBezTo>
                  <a:pt x="33" y="98"/>
                  <a:pt x="33" y="98"/>
                  <a:pt x="34" y="98"/>
                </a:cubicBezTo>
                <a:cubicBezTo>
                  <a:pt x="43" y="89"/>
                  <a:pt x="56" y="84"/>
                  <a:pt x="70" y="84"/>
                </a:cubicBezTo>
                <a:cubicBezTo>
                  <a:pt x="81" y="84"/>
                  <a:pt x="93" y="86"/>
                  <a:pt x="104" y="92"/>
                </a:cubicBezTo>
                <a:cubicBezTo>
                  <a:pt x="107" y="93"/>
                  <a:pt x="107" y="93"/>
                  <a:pt x="107" y="93"/>
                </a:cubicBezTo>
                <a:cubicBezTo>
                  <a:pt x="156" y="45"/>
                  <a:pt x="156" y="45"/>
                  <a:pt x="156" y="45"/>
                </a:cubicBezTo>
                <a:cubicBezTo>
                  <a:pt x="155" y="42"/>
                  <a:pt x="155" y="42"/>
                  <a:pt x="155" y="42"/>
                </a:cubicBezTo>
                <a:cubicBezTo>
                  <a:pt x="151" y="30"/>
                  <a:pt x="152" y="19"/>
                  <a:pt x="157" y="10"/>
                </a:cubicBezTo>
                <a:cubicBezTo>
                  <a:pt x="158" y="10"/>
                  <a:pt x="158" y="10"/>
                  <a:pt x="158" y="10"/>
                </a:cubicBezTo>
                <a:cubicBezTo>
                  <a:pt x="159" y="10"/>
                  <a:pt x="159" y="10"/>
                  <a:pt x="159" y="10"/>
                </a:cubicBezTo>
                <a:cubicBezTo>
                  <a:pt x="226" y="77"/>
                  <a:pt x="226" y="77"/>
                  <a:pt x="226" y="77"/>
                </a:cubicBezTo>
                <a:cubicBezTo>
                  <a:pt x="226" y="77"/>
                  <a:pt x="226" y="77"/>
                  <a:pt x="226" y="78"/>
                </a:cubicBezTo>
                <a:cubicBezTo>
                  <a:pt x="226" y="78"/>
                  <a:pt x="226" y="78"/>
                  <a:pt x="225" y="78"/>
                </a:cubicBezTo>
                <a:close/>
              </a:path>
            </a:pathLst>
          </a:custGeom>
          <a:solidFill>
            <a:schemeClr val="accent5"/>
          </a:solidFill>
          <a:ln>
            <a:solidFill>
              <a:srgbClr val="007C00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en-US" sz="2215" dirty="0">
              <a:cs typeface="Arial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86746" y="5524867"/>
            <a:ext cx="82184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Gli operatori dovranno collaborare con i fornitori software per gli adeguamenti implementativi al fine di poter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gestire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entrambi i profili PEPPOL durante la transizione.</a:t>
            </a:r>
            <a:endParaRPr lang="it-IT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173163" y="1062467"/>
            <a:ext cx="83883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I fornitori software devo concordare con Support </a:t>
            </a:r>
            <a:r>
              <a:rPr lang="it-IT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NoTI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-ER i periodi per effettuare le procedure di collaudo che andranno a consolidare il nuovo </a:t>
            </a:r>
            <a:r>
              <a:rPr lang="it-IT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workflow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3.0.</a:t>
            </a:r>
            <a:endParaRPr lang="it-IT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6293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8" name="Segnaposto numero diapositiva 9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buNone/>
              <a:tabLst/>
              <a:defRPr/>
            </a:pPr>
            <a:fld id="{9539DF35-EC0B-4069-9591-CDCD58FB9F20}" type="slidenum">
              <a:rPr kumimoji="0" lang="it-IT" altLang="it-IT" sz="1200" b="1" i="0" u="none" strike="noStrike" kern="1200" cap="none" spc="0" normalizeH="0" baseline="0" noProof="0" smtClean="0">
                <a:ln>
                  <a:noFill/>
                </a:ln>
                <a:solidFill>
                  <a:srgbClr val="336600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0000"/>
                </a:buClr>
                <a:buSzPct val="70000"/>
                <a:buFont typeface="Wingdings" pitchFamily="2" charset="2"/>
                <a:buNone/>
                <a:tabLst/>
                <a:defRPr/>
              </a:pPr>
              <a:t>26</a:t>
            </a:fld>
            <a:endParaRPr kumimoji="0" lang="it-IT" altLang="it-IT" sz="1200" b="1" i="0" u="none" strike="noStrike" kern="1200" cap="none" spc="0" normalizeH="0" baseline="0" noProof="0">
              <a:ln>
                <a:noFill/>
              </a:ln>
              <a:solidFill>
                <a:srgbClr val="336600"/>
              </a:solidFill>
              <a:effectLst/>
              <a:uLnTx/>
              <a:uFillTx/>
              <a:latin typeface="Tahoma" panose="020B0604030504040204" pitchFamily="34" charset="0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3163" y="1016000"/>
            <a:ext cx="7581900" cy="5372100"/>
          </a:xfrm>
          <a:prstGeom prst="rect">
            <a:avLst/>
          </a:prstGeom>
        </p:spPr>
      </p:pic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047750" y="222250"/>
            <a:ext cx="8513763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buClr>
                <a:srgbClr val="CC0000"/>
              </a:buClr>
              <a:buSzPct val="70000"/>
            </a:pPr>
            <a:r>
              <a:rPr lang="it-IT" altLang="it-IT" sz="2800" b="1" kern="0" dirty="0" smtClean="0">
                <a:solidFill>
                  <a:schemeClr val="bg1"/>
                </a:solidFill>
                <a:latin typeface="Calibri" panose="020F0502020204030204" pitchFamily="34" charset="0"/>
              </a:rPr>
              <a:t>Il </a:t>
            </a:r>
            <a:r>
              <a:rPr lang="it-IT" altLang="it-IT" sz="2800" b="1" kern="0" dirty="0">
                <a:solidFill>
                  <a:schemeClr val="bg1"/>
                </a:solidFill>
                <a:latin typeface="Calibri" panose="020F0502020204030204" pitchFamily="34" charset="0"/>
              </a:rPr>
              <a:t>valore della digitalizzazione nel processo di </a:t>
            </a:r>
            <a:r>
              <a:rPr lang="it-IT" altLang="it-IT" sz="2800" b="1" kern="0" dirty="0" smtClean="0">
                <a:solidFill>
                  <a:schemeClr val="bg1"/>
                </a:solidFill>
                <a:latin typeface="Calibri" panose="020F0502020204030204" pitchFamily="34" charset="0"/>
              </a:rPr>
              <a:t>acquisto</a:t>
            </a:r>
            <a:endParaRPr lang="it-IT" sz="1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741773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8" name="Segnaposto numero diapositiva 9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buNone/>
              <a:tabLst/>
              <a:defRPr/>
            </a:pPr>
            <a:fld id="{9539DF35-EC0B-4069-9591-CDCD58FB9F20}" type="slidenum">
              <a:rPr kumimoji="0" lang="it-IT" altLang="it-IT" sz="1200" b="1" i="0" u="none" strike="noStrike" kern="1200" cap="none" spc="0" normalizeH="0" baseline="0" noProof="0" smtClean="0">
                <a:ln>
                  <a:noFill/>
                </a:ln>
                <a:solidFill>
                  <a:srgbClr val="336600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0000"/>
                </a:buClr>
                <a:buSzPct val="70000"/>
                <a:buFont typeface="Wingdings" pitchFamily="2" charset="2"/>
                <a:buNone/>
                <a:tabLst/>
                <a:defRPr/>
              </a:pPr>
              <a:t>27</a:t>
            </a:fld>
            <a:endParaRPr kumimoji="0" lang="it-IT" altLang="it-IT" sz="1200" b="1" i="0" u="none" strike="noStrike" kern="1200" cap="none" spc="0" normalizeH="0" baseline="0" noProof="0">
              <a:ln>
                <a:noFill/>
              </a:ln>
              <a:solidFill>
                <a:srgbClr val="336600"/>
              </a:solidFill>
              <a:effectLst/>
              <a:uLnTx/>
              <a:uFillTx/>
              <a:latin typeface="Tahoma" panose="020B0604030504040204" pitchFamily="34" charset="0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3163" y="1016000"/>
            <a:ext cx="7429500" cy="5375275"/>
          </a:xfrm>
          <a:prstGeom prst="rect">
            <a:avLst/>
          </a:prstGeom>
        </p:spPr>
      </p:pic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047750" y="222250"/>
            <a:ext cx="8513763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buClr>
                <a:srgbClr val="CC0000"/>
              </a:buClr>
              <a:buSzPct val="70000"/>
            </a:pPr>
            <a:r>
              <a:rPr lang="it-IT" altLang="it-IT" sz="2800" b="1" kern="0" dirty="0" smtClean="0">
                <a:solidFill>
                  <a:schemeClr val="bg1"/>
                </a:solidFill>
                <a:latin typeface="Calibri" panose="020F0502020204030204" pitchFamily="34" charset="0"/>
              </a:rPr>
              <a:t>Il </a:t>
            </a:r>
            <a:r>
              <a:rPr lang="it-IT" altLang="it-IT" sz="2800" b="1" kern="0" dirty="0">
                <a:solidFill>
                  <a:schemeClr val="bg1"/>
                </a:solidFill>
                <a:latin typeface="Calibri" panose="020F0502020204030204" pitchFamily="34" charset="0"/>
              </a:rPr>
              <a:t>valore della digitalizzazione nel processo di </a:t>
            </a:r>
            <a:r>
              <a:rPr lang="it-IT" altLang="it-IT" sz="2800" b="1" kern="0" dirty="0" smtClean="0">
                <a:solidFill>
                  <a:schemeClr val="bg1"/>
                </a:solidFill>
                <a:latin typeface="Calibri" panose="020F0502020204030204" pitchFamily="34" charset="0"/>
              </a:rPr>
              <a:t>acquisto</a:t>
            </a:r>
            <a:endParaRPr lang="it-IT" sz="1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880629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8" name="Segnaposto numero diapositiva 9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buNone/>
              <a:tabLst/>
              <a:defRPr/>
            </a:pPr>
            <a:fld id="{9539DF35-EC0B-4069-9591-CDCD58FB9F20}" type="slidenum">
              <a:rPr kumimoji="0" lang="it-IT" altLang="it-IT" sz="1200" b="1" i="0" u="none" strike="noStrike" kern="1200" cap="none" spc="0" normalizeH="0" baseline="0" noProof="0" smtClean="0">
                <a:ln>
                  <a:noFill/>
                </a:ln>
                <a:solidFill>
                  <a:srgbClr val="336600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0000"/>
                </a:buClr>
                <a:buSzPct val="70000"/>
                <a:buFont typeface="Wingdings" pitchFamily="2" charset="2"/>
                <a:buNone/>
                <a:tabLst/>
                <a:defRPr/>
              </a:pPr>
              <a:t>28</a:t>
            </a:fld>
            <a:endParaRPr kumimoji="0" lang="it-IT" altLang="it-IT" sz="1200" b="1" i="0" u="none" strike="noStrike" kern="1200" cap="none" spc="0" normalizeH="0" baseline="0" noProof="0">
              <a:ln>
                <a:noFill/>
              </a:ln>
              <a:solidFill>
                <a:srgbClr val="336600"/>
              </a:solidFill>
              <a:effectLst/>
              <a:uLnTx/>
              <a:uFillTx/>
              <a:latin typeface="Tahoma" panose="020B0604030504040204" pitchFamily="34" charset="0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3163" y="1016000"/>
            <a:ext cx="7439025" cy="5314950"/>
          </a:xfrm>
          <a:prstGeom prst="rect">
            <a:avLst/>
          </a:prstGeom>
        </p:spPr>
      </p:pic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047750" y="222250"/>
            <a:ext cx="8513763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buClr>
                <a:srgbClr val="CC0000"/>
              </a:buClr>
              <a:buSzPct val="70000"/>
            </a:pPr>
            <a:r>
              <a:rPr lang="it-IT" altLang="it-IT" sz="2800" b="1" kern="0" dirty="0" smtClean="0">
                <a:solidFill>
                  <a:schemeClr val="bg1"/>
                </a:solidFill>
                <a:latin typeface="Calibri" panose="020F0502020204030204" pitchFamily="34" charset="0"/>
              </a:rPr>
              <a:t>Il </a:t>
            </a:r>
            <a:r>
              <a:rPr lang="it-IT" altLang="it-IT" sz="2800" b="1" kern="0" dirty="0">
                <a:solidFill>
                  <a:schemeClr val="bg1"/>
                </a:solidFill>
                <a:latin typeface="Calibri" panose="020F0502020204030204" pitchFamily="34" charset="0"/>
              </a:rPr>
              <a:t>valore della digitalizzazione nel processo di </a:t>
            </a:r>
            <a:r>
              <a:rPr lang="it-IT" altLang="it-IT" sz="2800" b="1" kern="0" dirty="0" smtClean="0">
                <a:solidFill>
                  <a:schemeClr val="bg1"/>
                </a:solidFill>
                <a:latin typeface="Calibri" panose="020F0502020204030204" pitchFamily="34" charset="0"/>
              </a:rPr>
              <a:t>acquisto</a:t>
            </a:r>
            <a:endParaRPr lang="it-IT" sz="1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643411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8" name="Segnaposto numero diapositiva 9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buNone/>
              <a:tabLst/>
              <a:defRPr/>
            </a:pPr>
            <a:fld id="{9539DF35-EC0B-4069-9591-CDCD58FB9F20}" type="slidenum">
              <a:rPr kumimoji="0" lang="it-IT" altLang="it-IT" sz="1200" b="1" i="0" u="none" strike="noStrike" kern="1200" cap="none" spc="0" normalizeH="0" baseline="0" noProof="0" smtClean="0">
                <a:ln>
                  <a:noFill/>
                </a:ln>
                <a:solidFill>
                  <a:srgbClr val="336600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0000"/>
                </a:buClr>
                <a:buSzPct val="70000"/>
                <a:buFont typeface="Wingdings" pitchFamily="2" charset="2"/>
                <a:buNone/>
                <a:tabLst/>
                <a:defRPr/>
              </a:pPr>
              <a:t>29</a:t>
            </a:fld>
            <a:endParaRPr kumimoji="0" lang="it-IT" altLang="it-IT" sz="1200" b="1" i="0" u="none" strike="noStrike" kern="1200" cap="none" spc="0" normalizeH="0" baseline="0" noProof="0">
              <a:ln>
                <a:noFill/>
              </a:ln>
              <a:solidFill>
                <a:srgbClr val="336600"/>
              </a:solidFill>
              <a:effectLst/>
              <a:uLnTx/>
              <a:uFillTx/>
              <a:latin typeface="Tahoma" panose="020B0604030504040204" pitchFamily="34" charset="0"/>
              <a:ea typeface="+mn-ea"/>
              <a:cs typeface="+mn-cs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3163" y="1025525"/>
            <a:ext cx="7467600" cy="5381625"/>
          </a:xfrm>
          <a:prstGeom prst="rect">
            <a:avLst/>
          </a:prstGeom>
        </p:spPr>
      </p:pic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047750" y="222250"/>
            <a:ext cx="8513763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buClr>
                <a:srgbClr val="CC0000"/>
              </a:buClr>
              <a:buSzPct val="70000"/>
            </a:pPr>
            <a:r>
              <a:rPr lang="it-IT" altLang="it-IT" sz="2800" b="1" kern="0" dirty="0" smtClean="0">
                <a:solidFill>
                  <a:schemeClr val="bg1"/>
                </a:solidFill>
                <a:latin typeface="Calibri" panose="020F0502020204030204" pitchFamily="34" charset="0"/>
              </a:rPr>
              <a:t>Il </a:t>
            </a:r>
            <a:r>
              <a:rPr lang="it-IT" altLang="it-IT" sz="2800" b="1" kern="0" dirty="0">
                <a:solidFill>
                  <a:schemeClr val="bg1"/>
                </a:solidFill>
                <a:latin typeface="Calibri" panose="020F0502020204030204" pitchFamily="34" charset="0"/>
              </a:rPr>
              <a:t>valore della digitalizzazione nel processo di </a:t>
            </a:r>
            <a:r>
              <a:rPr lang="it-IT" altLang="it-IT" sz="2800" b="1" kern="0" dirty="0" smtClean="0">
                <a:solidFill>
                  <a:schemeClr val="bg1"/>
                </a:solidFill>
                <a:latin typeface="Calibri" panose="020F0502020204030204" pitchFamily="34" charset="0"/>
              </a:rPr>
              <a:t>acquisto</a:t>
            </a:r>
            <a:endParaRPr lang="it-IT" sz="1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702745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/>
        </p:nvSpPr>
        <p:spPr bwMode="auto">
          <a:xfrm>
            <a:off x="790192" y="1016000"/>
            <a:ext cx="8325617" cy="3708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480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5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. Dematerializzazione </a:t>
            </a:r>
            <a:br>
              <a:rPr kumimoji="0" lang="it-IT" altLang="it-IT" sz="5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it-IT" altLang="it-IT" sz="5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rdini e DDT</a:t>
            </a:r>
          </a:p>
          <a:p>
            <a:pPr marL="685800" marR="0" lvl="0" indent="-6858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it-IT" altLang="it-IT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 numeri di </a:t>
            </a:r>
            <a:r>
              <a:rPr lang="it-IT" altLang="it-IT" sz="2000" b="1" dirty="0" err="1" smtClean="0">
                <a:solidFill>
                  <a:prstClr val="white"/>
                </a:solidFill>
                <a:latin typeface="Calibri" panose="020F0502020204030204" pitchFamily="34" charset="0"/>
              </a:rPr>
              <a:t>NoTI</a:t>
            </a:r>
            <a:r>
              <a:rPr lang="it-IT" altLang="it-IT" sz="2000" b="1" dirty="0" smtClean="0">
                <a:solidFill>
                  <a:prstClr val="white"/>
                </a:solidFill>
                <a:latin typeface="Calibri" panose="020F0502020204030204" pitchFamily="34" charset="0"/>
              </a:rPr>
              <a:t>-ER e lo </a:t>
            </a:r>
            <a:r>
              <a:rPr kumimoji="0" lang="it-IT" altLang="it-IT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o </a:t>
            </a:r>
            <a:r>
              <a:rPr kumimoji="0" lang="it-IT" alt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i </a:t>
            </a:r>
            <a:r>
              <a:rPr kumimoji="0" lang="it-IT" altLang="it-IT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vanzamento del</a:t>
            </a:r>
            <a:r>
              <a:rPr kumimoji="0" lang="it-IT" altLang="it-IT" sz="20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SSR</a:t>
            </a:r>
            <a:endParaRPr kumimoji="0" lang="it-IT" altLang="it-IT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685800" marR="0" lvl="0" indent="-6858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it-IT" altLang="it-IT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mpatibilità con il Nodo Smistamento Ordini (NSO)</a:t>
            </a:r>
            <a:endParaRPr kumimoji="0" lang="it-IT" altLang="it-IT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685800" marR="0" lvl="0" indent="-6858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it-IT" alt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unzionalità messe a disposizione da </a:t>
            </a:r>
            <a:r>
              <a:rPr kumimoji="0" lang="it-IT" altLang="it-IT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cent</a:t>
            </a:r>
            <a:r>
              <a:rPr kumimoji="0" lang="it-IT" altLang="it-IT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ER</a:t>
            </a:r>
            <a:endParaRPr kumimoji="0" lang="it-IT" altLang="it-IT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685800" marR="0" lvl="0" indent="-6858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lang="it-IT" altLang="it-IT" sz="2000" b="1" dirty="0" smtClean="0">
                <a:solidFill>
                  <a:prstClr val="white"/>
                </a:solidFill>
                <a:latin typeface="Calibri" panose="020F0502020204030204" pitchFamily="34" charset="0"/>
              </a:rPr>
              <a:t>Il valore della digitalizzazione </a:t>
            </a:r>
            <a:r>
              <a:rPr lang="it-IT" altLang="it-IT" sz="2000" b="1" dirty="0">
                <a:solidFill>
                  <a:prstClr val="white"/>
                </a:solidFill>
                <a:latin typeface="Calibri" panose="020F0502020204030204" pitchFamily="34" charset="0"/>
              </a:rPr>
              <a:t>n</a:t>
            </a:r>
            <a:r>
              <a:rPr lang="it-IT" altLang="it-IT" sz="2000" b="1" dirty="0" smtClean="0">
                <a:solidFill>
                  <a:prstClr val="white"/>
                </a:solidFill>
                <a:latin typeface="Calibri" panose="020F0502020204030204" pitchFamily="34" charset="0"/>
              </a:rPr>
              <a:t>el processo di acquisto</a:t>
            </a:r>
            <a:endParaRPr kumimoji="0" lang="it-IT" altLang="it-IT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2979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8" name="Segnaposto numero diapositiva 9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buNone/>
              <a:tabLst/>
              <a:defRPr/>
            </a:pPr>
            <a:fld id="{9539DF35-EC0B-4069-9591-CDCD58FB9F20}" type="slidenum">
              <a:rPr kumimoji="0" lang="it-IT" altLang="it-IT" sz="1200" b="1" i="0" u="none" strike="noStrike" kern="1200" cap="none" spc="0" normalizeH="0" baseline="0" noProof="0" smtClean="0">
                <a:ln>
                  <a:noFill/>
                </a:ln>
                <a:solidFill>
                  <a:srgbClr val="336600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0000"/>
                </a:buClr>
                <a:buSzPct val="70000"/>
                <a:buFont typeface="Wingdings" pitchFamily="2" charset="2"/>
                <a:buNone/>
                <a:tabLst/>
                <a:defRPr/>
              </a:pPr>
              <a:t>30</a:t>
            </a:fld>
            <a:endParaRPr kumimoji="0" lang="it-IT" altLang="it-IT" sz="1200" b="1" i="0" u="none" strike="noStrike" kern="1200" cap="none" spc="0" normalizeH="0" baseline="0" noProof="0">
              <a:ln>
                <a:noFill/>
              </a:ln>
              <a:solidFill>
                <a:srgbClr val="336600"/>
              </a:solidFill>
              <a:effectLst/>
              <a:uLnTx/>
              <a:uFillTx/>
              <a:latin typeface="Tahoma" panose="020B0604030504040204" pitchFamily="34" charset="0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3163" y="1016000"/>
            <a:ext cx="7391400" cy="5048250"/>
          </a:xfrm>
          <a:prstGeom prst="rect">
            <a:avLst/>
          </a:prstGeom>
        </p:spPr>
      </p:pic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047750" y="222250"/>
            <a:ext cx="8513763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buClr>
                <a:srgbClr val="CC0000"/>
              </a:buClr>
              <a:buSzPct val="70000"/>
            </a:pPr>
            <a:r>
              <a:rPr lang="it-IT" altLang="it-IT" sz="2800" b="1" kern="0" dirty="0" smtClean="0">
                <a:solidFill>
                  <a:schemeClr val="bg1"/>
                </a:solidFill>
                <a:latin typeface="Calibri" panose="020F0502020204030204" pitchFamily="34" charset="0"/>
              </a:rPr>
              <a:t>Il </a:t>
            </a:r>
            <a:r>
              <a:rPr lang="it-IT" altLang="it-IT" sz="2800" b="1" kern="0" dirty="0">
                <a:solidFill>
                  <a:schemeClr val="bg1"/>
                </a:solidFill>
                <a:latin typeface="Calibri" panose="020F0502020204030204" pitchFamily="34" charset="0"/>
              </a:rPr>
              <a:t>valore della digitalizzazione nel processo di </a:t>
            </a:r>
            <a:r>
              <a:rPr lang="it-IT" altLang="it-IT" sz="2800" b="1" kern="0" dirty="0" smtClean="0">
                <a:solidFill>
                  <a:schemeClr val="bg1"/>
                </a:solidFill>
                <a:latin typeface="Calibri" panose="020F0502020204030204" pitchFamily="34" charset="0"/>
              </a:rPr>
              <a:t>acquisto</a:t>
            </a:r>
            <a:endParaRPr lang="it-IT" sz="1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000868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/>
        </p:nvSpPr>
        <p:spPr bwMode="auto">
          <a:xfrm>
            <a:off x="790192" y="1016000"/>
            <a:ext cx="8325617" cy="56323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480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5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. Fatturazione elettronica europea</a:t>
            </a:r>
          </a:p>
          <a:p>
            <a:pPr marL="685800" marR="0" lvl="0" indent="-6858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lang="it-IT" altLang="it-IT" sz="20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norama legislativo </a:t>
            </a:r>
            <a:endParaRPr lang="it-IT" sz="2000" b="1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85800" lvl="0" indent="-685800">
              <a:spcBef>
                <a:spcPct val="0"/>
              </a:spcBef>
              <a:spcAft>
                <a:spcPts val="600"/>
              </a:spcAft>
              <a:buClrTx/>
              <a:defRPr/>
            </a:pPr>
            <a:r>
              <a:rPr lang="it-IT" sz="20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cesso di e-Delivery</a:t>
            </a:r>
            <a:endParaRPr lang="it-IT" altLang="it-IT" sz="20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85800" marR="0" lvl="0" indent="-6858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lang="it-IT" altLang="it-IT" sz="20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alisi delle regole tecniche di utilizzo</a:t>
            </a:r>
          </a:p>
          <a:p>
            <a:pPr marL="685800" marR="0" lvl="0" indent="-6858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lang="it-IT" altLang="it-IT" sz="20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nzionalità associate all’emissione della fattura</a:t>
            </a:r>
          </a:p>
          <a:p>
            <a:pPr marL="685800" marR="0" lvl="0" indent="-6858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endParaRPr lang="it-IT" altLang="it-IT" sz="2000" b="1" dirty="0" smtClean="0">
              <a:solidFill>
                <a:prstClr val="white"/>
              </a:solidFill>
              <a:latin typeface="Calibri" panose="020F0502020204030204" pitchFamily="34" charset="0"/>
            </a:endParaRPr>
          </a:p>
          <a:p>
            <a:pPr marL="685800" marR="0" lvl="0" indent="-6858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endParaRPr lang="it-IT" altLang="it-IT" sz="2000" b="1" dirty="0" smtClean="0">
              <a:solidFill>
                <a:prstClr val="white"/>
              </a:solidFill>
              <a:latin typeface="Calibri" panose="020F0502020204030204" pitchFamily="34" charset="0"/>
            </a:endParaRPr>
          </a:p>
          <a:p>
            <a:pPr marL="685800" marR="0" lvl="0" indent="-6858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endParaRPr kumimoji="0" lang="it-IT" altLang="it-IT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685800" indent="-685800">
              <a:spcBef>
                <a:spcPct val="0"/>
              </a:spcBef>
              <a:spcAft>
                <a:spcPts val="600"/>
              </a:spcAft>
              <a:buClrTx/>
              <a:defRPr/>
            </a:pPr>
            <a:endParaRPr lang="it-IT" altLang="it-IT" sz="2000" b="1" dirty="0">
              <a:solidFill>
                <a:prstClr val="white"/>
              </a:solidFill>
              <a:latin typeface="Calibri" panose="020F0502020204030204" pitchFamily="34" charset="0"/>
            </a:endParaRPr>
          </a:p>
          <a:p>
            <a:pPr marL="685800" marR="0" lvl="0" indent="-6858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endParaRPr kumimoji="0" lang="it-IT" altLang="it-IT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7112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buNone/>
              <a:tabLst/>
              <a:defRPr/>
            </a:pPr>
            <a:fld id="{A7D288F4-6033-4B7B-B024-6E2C68A6B6A0}" type="slidenum">
              <a:rPr kumimoji="0" lang="it-IT" sz="1200" b="1" i="0" u="none" strike="noStrike" kern="1200" cap="none" spc="0" normalizeH="0" baseline="0" noProof="0" smtClean="0">
                <a:ln>
                  <a:noFill/>
                </a:ln>
                <a:solidFill>
                  <a:srgbClr val="336600"/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0000"/>
                </a:buClr>
                <a:buSzPct val="70000"/>
                <a:buFont typeface="Wingdings" pitchFamily="2" charset="2"/>
                <a:buNone/>
                <a:tabLst/>
                <a:defRPr/>
              </a:pPr>
              <a:t>32</a:t>
            </a:fld>
            <a:endParaRPr kumimoji="0" lang="it-IT" sz="1200" b="1" i="0" u="none" strike="noStrike" kern="1200" cap="none" spc="0" normalizeH="0" baseline="0" noProof="0">
              <a:ln>
                <a:noFill/>
              </a:ln>
              <a:solidFill>
                <a:srgbClr val="33660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sp>
        <p:nvSpPr>
          <p:cNvPr id="11" name="CasellaDiTesto 10"/>
          <p:cNvSpPr txBox="1"/>
          <p:nvPr/>
        </p:nvSpPr>
        <p:spPr>
          <a:xfrm>
            <a:off x="696686" y="3171561"/>
            <a:ext cx="8950551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7400"/>
              </a:buClr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Gli Stati membri </a:t>
            </a:r>
            <a:r>
              <a:rPr kumimoji="0" lang="it-IT" sz="16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garantiscono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che le amministrazioni aggiudicatrici e gli enti aggiudicatori </a:t>
            </a:r>
            <a:r>
              <a:rPr kumimoji="0" lang="it-IT" sz="16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icevano ed elaborino fatture elettroniche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che siano conformi alla norma europea sulla fatturazione elettronica dal punto di vista semantico.</a:t>
            </a:r>
            <a:r>
              <a:rPr kumimoji="0" lang="it-IT" sz="1600" b="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7400"/>
              </a:buClr>
              <a:buSzPct val="10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it-IT" sz="1600" i="0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l </a:t>
            </a:r>
            <a:r>
              <a:rPr kumimoji="0" lang="it-IT" sz="1600" b="1" i="0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odello Emilia-Romagna già strutturato</a:t>
            </a:r>
            <a:r>
              <a:rPr kumimoji="0" lang="it-IT" sz="1600" i="0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per recepire quanto previsto dalla Direttiva 2014/55/UE.</a:t>
            </a:r>
            <a:endParaRPr kumimoji="0" lang="it-IT" sz="1600" i="0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1321620" y="129760"/>
            <a:ext cx="832561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buClrTx/>
              <a:buNone/>
            </a:pPr>
            <a:r>
              <a:rPr lang="it-IT" altLang="it-IT" sz="2800" b="1" dirty="0">
                <a:solidFill>
                  <a:schemeClr val="bg1"/>
                </a:solidFill>
                <a:latin typeface="Calibri" panose="020F0502020204030204" pitchFamily="34" charset="0"/>
              </a:rPr>
              <a:t>La Regione Emilia-Romagna verso il contesto europeo</a:t>
            </a:r>
            <a:endParaRPr lang="it-IT" altLang="it-IT" sz="2000" b="1" dirty="0">
              <a:solidFill>
                <a:srgbClr val="006600"/>
              </a:solidFill>
              <a:latin typeface="Calibri" panose="020F0502020204030204" pitchFamily="34" charset="0"/>
            </a:endParaRP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gray">
          <a:xfrm>
            <a:off x="1064717" y="1086909"/>
            <a:ext cx="3188649" cy="1965600"/>
          </a:xfrm>
          <a:prstGeom prst="rect">
            <a:avLst/>
          </a:prstGeom>
          <a:solidFill>
            <a:srgbClr val="C9E7A7"/>
          </a:solidFill>
          <a:ln w="19050" algn="ctr">
            <a:solidFill>
              <a:srgbClr val="002060"/>
            </a:solidFill>
            <a:miter lim="800000"/>
            <a:headEnd/>
            <a:tailEnd/>
          </a:ln>
        </p:spPr>
        <p:txBody>
          <a:bodyPr lIns="66462" tIns="33231" rIns="66462" bIns="33231"/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Bef>
                <a:spcPct val="0"/>
              </a:spcBef>
              <a:spcAft>
                <a:spcPts val="369"/>
              </a:spcAft>
              <a:buClrTx/>
              <a:buNone/>
            </a:pPr>
            <a:r>
              <a:rPr lang="it-IT" altLang="it-IT" sz="1100" b="1" i="1" dirty="0">
                <a:latin typeface="+mj-lt"/>
              </a:rPr>
              <a:t>X</a:t>
            </a:r>
          </a:p>
          <a:p>
            <a:pPr eaLnBrk="1" hangingPunct="1">
              <a:lnSpc>
                <a:spcPct val="106000"/>
              </a:lnSpc>
              <a:spcBef>
                <a:spcPct val="0"/>
              </a:spcBef>
              <a:spcAft>
                <a:spcPts val="369"/>
              </a:spcAft>
              <a:buClrTx/>
              <a:buNone/>
            </a:pPr>
            <a:endParaRPr lang="it-IT" altLang="it-IT" sz="1100" b="1" i="1" dirty="0">
              <a:latin typeface="+mj-lt"/>
            </a:endParaRPr>
          </a:p>
        </p:txBody>
      </p:sp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910053" y="1130872"/>
            <a:ext cx="3495247" cy="350227"/>
          </a:xfrm>
          <a:prstGeom prst="rect">
            <a:avLst/>
          </a:prstGeom>
          <a:solidFill>
            <a:srgbClr val="007400"/>
          </a:solidFill>
          <a:ln>
            <a:noFill/>
          </a:ln>
          <a:extLst/>
        </p:spPr>
        <p:txBody>
          <a:bodyPr/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buSzPct val="70000"/>
              <a:buFontTx/>
              <a:buNone/>
            </a:pPr>
            <a:r>
              <a:rPr lang="it-IT" altLang="it-IT" sz="2000" b="1" dirty="0">
                <a:solidFill>
                  <a:schemeClr val="bg1"/>
                </a:solidFill>
                <a:latin typeface="Calibri" panose="020F0502020204030204" pitchFamily="34" charset="0"/>
              </a:rPr>
              <a:t>DIRETTIVA 2014/55/UE</a:t>
            </a:r>
          </a:p>
        </p:txBody>
      </p:sp>
      <p:sp>
        <p:nvSpPr>
          <p:cNvPr id="5" name="Rectangle 4"/>
          <p:cNvSpPr/>
          <p:nvPr/>
        </p:nvSpPr>
        <p:spPr>
          <a:xfrm>
            <a:off x="1130026" y="1489162"/>
            <a:ext cx="304138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buClr>
                <a:srgbClr val="CC0000"/>
              </a:buClr>
              <a:buSzPct val="70000"/>
              <a:defRPr/>
            </a:pPr>
            <a:r>
              <a:rPr lang="it-IT" sz="1600" dirty="0">
                <a:solidFill>
                  <a:prstClr val="black"/>
                </a:solidFill>
                <a:latin typeface="Calibri" panose="020F0502020204030204" pitchFamily="34" charset="0"/>
              </a:rPr>
              <a:t>del Parlamento europeo e del Consiglio del 16 aprile 2014 relativa alla </a:t>
            </a:r>
            <a:r>
              <a:rPr lang="it-IT" sz="1600" b="1" dirty="0">
                <a:solidFill>
                  <a:prstClr val="black"/>
                </a:solidFill>
                <a:latin typeface="Calibri" panose="020F0502020204030204" pitchFamily="34" charset="0"/>
              </a:rPr>
              <a:t>fatturazione elettronica negli appalti pubblici </a:t>
            </a:r>
            <a:r>
              <a:rPr lang="it-IT" sz="1600" dirty="0">
                <a:solidFill>
                  <a:prstClr val="black"/>
                </a:solidFill>
                <a:latin typeface="Calibri" panose="020F0502020204030204" pitchFamily="34" charset="0"/>
              </a:rPr>
              <a:t>chiede di fornire al competente organismo di normazione europeo</a:t>
            </a:r>
            <a:endParaRPr lang="it-IT" sz="16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12" name="Half Frame 11"/>
          <p:cNvSpPr/>
          <p:nvPr/>
        </p:nvSpPr>
        <p:spPr bwMode="auto">
          <a:xfrm rot="8142470">
            <a:off x="4346807" y="2030616"/>
            <a:ext cx="345831" cy="237392"/>
          </a:xfrm>
          <a:prstGeom prst="halfFrame">
            <a:avLst>
              <a:gd name="adj1" fmla="val 26576"/>
              <a:gd name="adj2" fmla="val 25856"/>
            </a:avLst>
          </a:prstGeom>
          <a:solidFill>
            <a:srgbClr val="0074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tIns="33231" rIns="33231" bIns="33231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92" err="1">
              <a:solidFill>
                <a:schemeClr val="tx2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400380" y="1150731"/>
            <a:ext cx="5168475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just">
              <a:spcAft>
                <a:spcPts val="600"/>
              </a:spcAft>
              <a:buClr>
                <a:schemeClr val="tx1"/>
              </a:buClr>
              <a:buSzPct val="100000"/>
              <a:defRPr/>
            </a:pPr>
            <a:r>
              <a:rPr lang="it-IT" sz="1600" dirty="0">
                <a:solidFill>
                  <a:prstClr val="black"/>
                </a:solidFill>
                <a:latin typeface="Calibri" panose="020F0502020204030204" pitchFamily="34" charset="0"/>
              </a:rPr>
              <a:t>Una </a:t>
            </a:r>
            <a:r>
              <a:rPr lang="it-IT" sz="1600" b="1" dirty="0">
                <a:solidFill>
                  <a:prstClr val="black"/>
                </a:solidFill>
                <a:latin typeface="Calibri" panose="020F0502020204030204" pitchFamily="34" charset="0"/>
              </a:rPr>
              <a:t>norma europea per il modello semantico dei dati</a:t>
            </a:r>
            <a:r>
              <a:rPr lang="it-IT" sz="1600" dirty="0">
                <a:solidFill>
                  <a:prstClr val="black"/>
                </a:solidFill>
                <a:latin typeface="Calibri" panose="020F0502020204030204" pitchFamily="34" charset="0"/>
              </a:rPr>
              <a:t> degli elementi essenziali di una fattura elettronica.</a:t>
            </a:r>
          </a:p>
          <a:p>
            <a:pPr lvl="1" algn="just">
              <a:spcAft>
                <a:spcPts val="600"/>
              </a:spcAft>
              <a:buClr>
                <a:schemeClr val="tx1"/>
              </a:buClr>
              <a:buSzPct val="100000"/>
              <a:defRPr/>
            </a:pPr>
            <a:r>
              <a:rPr lang="it-IT" sz="1600" dirty="0">
                <a:solidFill>
                  <a:prstClr val="black"/>
                </a:solidFill>
                <a:latin typeface="Calibri" panose="020F0502020204030204" pitchFamily="34" charset="0"/>
              </a:rPr>
              <a:t>Un</a:t>
            </a:r>
            <a:r>
              <a:rPr lang="it-IT" sz="1600" b="1" dirty="0">
                <a:solidFill>
                  <a:prstClr val="black"/>
                </a:solidFill>
                <a:latin typeface="Calibri" panose="020F0502020204030204" pitchFamily="34" charset="0"/>
              </a:rPr>
              <a:t> elenco contenente un numero limitato di sintassi </a:t>
            </a:r>
            <a:r>
              <a:rPr lang="it-IT" sz="1600" dirty="0">
                <a:solidFill>
                  <a:prstClr val="black"/>
                </a:solidFill>
                <a:latin typeface="Calibri" panose="020F0502020204030204" pitchFamily="34" charset="0"/>
              </a:rPr>
              <a:t>che sono conformi alla norma europea sulla fatturazione elettronica, adeguate corrispondenze sintattiche e </a:t>
            </a:r>
            <a:r>
              <a:rPr lang="it-IT" sz="1600" b="1" dirty="0">
                <a:solidFill>
                  <a:prstClr val="black"/>
                </a:solidFill>
                <a:latin typeface="Calibri" panose="020F0502020204030204" pitchFamily="34" charset="0"/>
              </a:rPr>
              <a:t>linee guida sull'interoperabilità</a:t>
            </a:r>
            <a:r>
              <a:rPr lang="it-IT" sz="1600" dirty="0">
                <a:solidFill>
                  <a:prstClr val="black"/>
                </a:solidFill>
                <a:latin typeface="Calibri" panose="020F0502020204030204" pitchFamily="34" charset="0"/>
              </a:rPr>
              <a:t> a livello di trasmissione al fine di facilitare l'uso di tale norma.</a:t>
            </a:r>
            <a:endParaRPr lang="en-US" dirty="0"/>
          </a:p>
        </p:txBody>
      </p:sp>
      <p:sp>
        <p:nvSpPr>
          <p:cNvPr id="18" name="Rectangle 5"/>
          <p:cNvSpPr>
            <a:spLocks noChangeArrowheads="1"/>
          </p:cNvSpPr>
          <p:nvPr/>
        </p:nvSpPr>
        <p:spPr bwMode="gray">
          <a:xfrm>
            <a:off x="1068506" y="4392871"/>
            <a:ext cx="3188649" cy="1965600"/>
          </a:xfrm>
          <a:prstGeom prst="rect">
            <a:avLst/>
          </a:prstGeom>
          <a:solidFill>
            <a:srgbClr val="C9E7A7"/>
          </a:solidFill>
          <a:ln w="19050" algn="ctr">
            <a:solidFill>
              <a:srgbClr val="002060"/>
            </a:solidFill>
            <a:miter lim="800000"/>
            <a:headEnd/>
            <a:tailEnd/>
          </a:ln>
        </p:spPr>
        <p:txBody>
          <a:bodyPr lIns="66462" tIns="33231" rIns="66462" bIns="33231"/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Bef>
                <a:spcPct val="0"/>
              </a:spcBef>
              <a:spcAft>
                <a:spcPts val="369"/>
              </a:spcAft>
              <a:buClrTx/>
              <a:buNone/>
            </a:pPr>
            <a:r>
              <a:rPr lang="it-IT" altLang="it-IT" sz="1100" b="1" i="1" dirty="0">
                <a:latin typeface="+mj-lt"/>
              </a:rPr>
              <a:t>X</a:t>
            </a:r>
          </a:p>
          <a:p>
            <a:pPr eaLnBrk="1" hangingPunct="1">
              <a:lnSpc>
                <a:spcPct val="106000"/>
              </a:lnSpc>
              <a:spcBef>
                <a:spcPct val="0"/>
              </a:spcBef>
              <a:spcAft>
                <a:spcPts val="369"/>
              </a:spcAft>
              <a:buClrTx/>
              <a:buNone/>
            </a:pPr>
            <a:endParaRPr lang="it-IT" altLang="it-IT" sz="1100" b="1" i="1" dirty="0">
              <a:latin typeface="+mj-lt"/>
            </a:endParaRPr>
          </a:p>
        </p:txBody>
      </p:sp>
      <p:sp>
        <p:nvSpPr>
          <p:cNvPr id="19" name="Rectangle 7"/>
          <p:cNvSpPr>
            <a:spLocks noChangeArrowheads="1"/>
          </p:cNvSpPr>
          <p:nvPr/>
        </p:nvSpPr>
        <p:spPr bwMode="auto">
          <a:xfrm>
            <a:off x="913842" y="4436834"/>
            <a:ext cx="3495247" cy="350227"/>
          </a:xfrm>
          <a:prstGeom prst="rect">
            <a:avLst/>
          </a:prstGeom>
          <a:solidFill>
            <a:srgbClr val="007400"/>
          </a:solidFill>
          <a:ln>
            <a:noFill/>
          </a:ln>
          <a:extLst/>
        </p:spPr>
        <p:txBody>
          <a:bodyPr/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buSzPct val="70000"/>
              <a:buFontTx/>
              <a:buNone/>
            </a:pPr>
            <a:r>
              <a:rPr lang="it-IT" altLang="it-IT" sz="2000" b="1" dirty="0">
                <a:solidFill>
                  <a:schemeClr val="bg1"/>
                </a:solidFill>
                <a:latin typeface="Calibri" panose="020F0502020204030204" pitchFamily="34" charset="0"/>
              </a:rPr>
              <a:t>DECRETO LEGISLATIVO n.148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133815" y="4795124"/>
            <a:ext cx="304138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buClr>
                <a:srgbClr val="CC0000"/>
              </a:buClr>
              <a:buSzPct val="70000"/>
              <a:defRPr/>
            </a:pPr>
            <a:r>
              <a:rPr lang="it-IT" sz="1600" dirty="0">
                <a:solidFill>
                  <a:prstClr val="black"/>
                </a:solidFill>
                <a:latin typeface="Calibri" panose="020F0502020204030204" pitchFamily="34" charset="0"/>
              </a:rPr>
              <a:t>del Consiglio dei Ministri del 27 Dicembre 2018 dà attuazione alla normativa europea in tema di obbligo di fatturazione elettronica negli appalti pubblici</a:t>
            </a:r>
          </a:p>
        </p:txBody>
      </p:sp>
      <p:sp>
        <p:nvSpPr>
          <p:cNvPr id="21" name="Half Frame 20"/>
          <p:cNvSpPr/>
          <p:nvPr/>
        </p:nvSpPr>
        <p:spPr bwMode="auto">
          <a:xfrm rot="8142470">
            <a:off x="4350596" y="5336578"/>
            <a:ext cx="345831" cy="237392"/>
          </a:xfrm>
          <a:prstGeom prst="halfFrame">
            <a:avLst>
              <a:gd name="adj1" fmla="val 26576"/>
              <a:gd name="adj2" fmla="val 25856"/>
            </a:avLst>
          </a:prstGeom>
          <a:solidFill>
            <a:srgbClr val="0074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tIns="33231" rIns="33231" bIns="33231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92" err="1">
              <a:solidFill>
                <a:schemeClr val="tx2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396023" y="4429510"/>
            <a:ext cx="5168475" cy="16466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just">
              <a:spcAft>
                <a:spcPts val="600"/>
              </a:spcAft>
              <a:buClr>
                <a:schemeClr val="tx1"/>
              </a:buClr>
              <a:buSzPct val="100000"/>
              <a:defRPr/>
            </a:pPr>
            <a:r>
              <a:rPr lang="it-IT" sz="1600" dirty="0">
                <a:solidFill>
                  <a:prstClr val="black"/>
                </a:solidFill>
                <a:latin typeface="Calibri" panose="020F0502020204030204" pitchFamily="34" charset="0"/>
              </a:rPr>
              <a:t>Viene formulata una richiesta per la costituzione del </a:t>
            </a:r>
            <a:r>
              <a:rPr lang="it-IT" sz="1600" b="1" dirty="0">
                <a:solidFill>
                  <a:prstClr val="black"/>
                </a:solidFill>
                <a:latin typeface="Calibri" panose="020F0502020204030204" pitchFamily="34" charset="0"/>
              </a:rPr>
              <a:t>Tavolo Tecnico Permanente per la Fatturazione Elettronica</a:t>
            </a:r>
            <a:r>
              <a:rPr lang="it-IT" sz="1600" dirty="0">
                <a:solidFill>
                  <a:prstClr val="black"/>
                </a:solidFill>
                <a:latin typeface="Calibri" panose="020F0502020204030204" pitchFamily="34" charset="0"/>
              </a:rPr>
              <a:t>.</a:t>
            </a:r>
          </a:p>
          <a:p>
            <a:pPr lvl="1" algn="just">
              <a:spcAft>
                <a:spcPts val="600"/>
              </a:spcAft>
              <a:buClr>
                <a:schemeClr val="tx1"/>
              </a:buClr>
              <a:buSzPct val="100000"/>
              <a:defRPr/>
            </a:pPr>
            <a:r>
              <a:rPr lang="it-IT" sz="1600" dirty="0">
                <a:solidFill>
                  <a:prstClr val="black"/>
                </a:solidFill>
                <a:latin typeface="Calibri" panose="020F0502020204030204" pitchFamily="34" charset="0"/>
              </a:rPr>
              <a:t>La </a:t>
            </a:r>
            <a:r>
              <a:rPr lang="it-IT" sz="1600" b="1" dirty="0">
                <a:solidFill>
                  <a:prstClr val="black"/>
                </a:solidFill>
                <a:latin typeface="Calibri" panose="020F0502020204030204" pitchFamily="34" charset="0"/>
              </a:rPr>
              <a:t>Regione Emilia-Romagna</a:t>
            </a:r>
            <a:r>
              <a:rPr lang="it-IT" sz="1600" dirty="0">
                <a:solidFill>
                  <a:prstClr val="black"/>
                </a:solidFill>
                <a:latin typeface="Calibri" panose="020F0502020204030204" pitchFamily="34" charset="0"/>
              </a:rPr>
              <a:t> viene </a:t>
            </a:r>
            <a:r>
              <a:rPr lang="it-IT" sz="1600" b="1" dirty="0">
                <a:solidFill>
                  <a:prstClr val="black"/>
                </a:solidFill>
                <a:latin typeface="Calibri" panose="020F0502020204030204" pitchFamily="34" charset="0"/>
              </a:rPr>
              <a:t>designata componente del tavolo tecnico</a:t>
            </a:r>
            <a:r>
              <a:rPr lang="it-IT" sz="1600" dirty="0">
                <a:solidFill>
                  <a:prstClr val="black"/>
                </a:solidFill>
                <a:latin typeface="Calibri" panose="020F0502020204030204" pitchFamily="34" charset="0"/>
              </a:rPr>
              <a:t>, come uno dei rappresentati regionali.</a:t>
            </a:r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>
            <a:off x="4873395" y="1069312"/>
            <a:ext cx="4773842" cy="2016000"/>
          </a:xfrm>
          <a:prstGeom prst="rect">
            <a:avLst/>
          </a:prstGeom>
          <a:ln w="19050">
            <a:solidFill>
              <a:srgbClr val="009F3B"/>
            </a:solidFill>
            <a:prstDash val="dash"/>
          </a:ln>
        </p:spPr>
        <p:txBody>
          <a:bodyPr wrap="square">
            <a:spAutoFit/>
          </a:bodyPr>
          <a:lstStyle/>
          <a:p>
            <a:pPr algn="just"/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877744" y="4391634"/>
            <a:ext cx="4773842" cy="1944000"/>
          </a:xfrm>
          <a:prstGeom prst="rect">
            <a:avLst/>
          </a:prstGeom>
          <a:ln w="19050">
            <a:solidFill>
              <a:srgbClr val="009F3B"/>
            </a:solidFill>
            <a:prstDash val="dash"/>
          </a:ln>
        </p:spPr>
        <p:txBody>
          <a:bodyPr wrap="square">
            <a:spAutoFit/>
          </a:bodyPr>
          <a:lstStyle/>
          <a:p>
            <a:pPr algn="just"/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9397603" y="896975"/>
            <a:ext cx="347284" cy="309176"/>
            <a:chOff x="6650048" y="4011056"/>
            <a:chExt cx="1259946" cy="1259946"/>
          </a:xfrm>
          <a:solidFill>
            <a:srgbClr val="007800"/>
          </a:solidFill>
        </p:grpSpPr>
        <p:sp>
          <p:nvSpPr>
            <p:cNvPr id="25" name="Oval 24"/>
            <p:cNvSpPr/>
            <p:nvPr/>
          </p:nvSpPr>
          <p:spPr>
            <a:xfrm>
              <a:off x="6650048" y="4011056"/>
              <a:ext cx="1259946" cy="1259946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34" dirty="0"/>
            </a:p>
          </p:txBody>
        </p:sp>
        <p:pic>
          <p:nvPicPr>
            <p:cNvPr id="26" name="Picture 3" descr="\\Cagmasrv1\sso$\Gestion_Deloitte\Global_Brand\- Templates\Icons\Iconography Deloitte\Icon_Chain_MBlue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7700" y="4244195"/>
              <a:ext cx="764644" cy="793667"/>
            </a:xfrm>
            <a:prstGeom prst="rect">
              <a:avLst/>
            </a:prstGeom>
            <a:grpFill/>
            <a:extLst/>
          </p:spPr>
        </p:pic>
      </p:grpSp>
      <p:grpSp>
        <p:nvGrpSpPr>
          <p:cNvPr id="27" name="Group 26"/>
          <p:cNvGrpSpPr/>
          <p:nvPr/>
        </p:nvGrpSpPr>
        <p:grpSpPr>
          <a:xfrm>
            <a:off x="9392490" y="4227752"/>
            <a:ext cx="347284" cy="309176"/>
            <a:chOff x="6650048" y="4011056"/>
            <a:chExt cx="1259946" cy="1259946"/>
          </a:xfrm>
          <a:solidFill>
            <a:srgbClr val="007800"/>
          </a:solidFill>
        </p:grpSpPr>
        <p:sp>
          <p:nvSpPr>
            <p:cNvPr id="28" name="Oval 27"/>
            <p:cNvSpPr/>
            <p:nvPr/>
          </p:nvSpPr>
          <p:spPr>
            <a:xfrm>
              <a:off x="6650048" y="4011056"/>
              <a:ext cx="1259946" cy="1259946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34" dirty="0"/>
            </a:p>
          </p:txBody>
        </p:sp>
        <p:pic>
          <p:nvPicPr>
            <p:cNvPr id="29" name="Picture 3" descr="\\Cagmasrv1\sso$\Gestion_Deloitte\Global_Brand\- Templates\Icons\Iconography Deloitte\Icon_Chain_MBlue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7700" y="4244195"/>
              <a:ext cx="764644" cy="793667"/>
            </a:xfrm>
            <a:prstGeom prst="rect">
              <a:avLst/>
            </a:prstGeom>
            <a:grpFill/>
            <a:extLst/>
          </p:spPr>
        </p:pic>
      </p:grpSp>
    </p:spTree>
    <p:extLst>
      <p:ext uri="{BB962C8B-B14F-4D97-AF65-F5344CB8AC3E}">
        <p14:creationId xmlns:p14="http://schemas.microsoft.com/office/powerpoint/2010/main" val="305588929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33</a:t>
            </a:fld>
            <a:endParaRPr lang="it-IT" altLang="it-IT" dirty="0"/>
          </a:p>
        </p:txBody>
      </p:sp>
      <p:sp>
        <p:nvSpPr>
          <p:cNvPr id="58" name="Rectangle 4"/>
          <p:cNvSpPr>
            <a:spLocks noChangeArrowheads="1"/>
          </p:cNvSpPr>
          <p:nvPr/>
        </p:nvSpPr>
        <p:spPr bwMode="auto">
          <a:xfrm>
            <a:off x="1235895" y="131817"/>
            <a:ext cx="8325617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it-IT" altLang="it-IT" sz="2800" b="1" dirty="0">
                <a:solidFill>
                  <a:schemeClr val="bg1"/>
                </a:solidFill>
                <a:latin typeface="Calibri" panose="020F0502020204030204" pitchFamily="34" charset="0"/>
              </a:rPr>
              <a:t>Fatturazione </a:t>
            </a:r>
            <a:r>
              <a:rPr lang="it-IT" altLang="it-IT" sz="28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Elettronica G2B e G2C</a:t>
            </a:r>
            <a:endParaRPr lang="it-IT" altLang="it-IT" sz="1800" b="1" dirty="0">
              <a:solidFill>
                <a:srgbClr val="006600"/>
              </a:solidFill>
              <a:latin typeface="Calibri" panose="020F0502020204030204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543050" y="3713772"/>
            <a:ext cx="7400924" cy="893280"/>
            <a:chOff x="1543050" y="3117297"/>
            <a:chExt cx="7400924" cy="893280"/>
          </a:xfrm>
        </p:grpSpPr>
        <p:sp>
          <p:nvSpPr>
            <p:cNvPr id="14" name="Rectangle 13"/>
            <p:cNvSpPr/>
            <p:nvPr/>
          </p:nvSpPr>
          <p:spPr bwMode="gray">
            <a:xfrm>
              <a:off x="1543050" y="3194874"/>
              <a:ext cx="7400924" cy="743802"/>
            </a:xfrm>
            <a:prstGeom prst="rect">
              <a:avLst/>
            </a:prstGeom>
            <a:solidFill>
              <a:srgbClr val="FFC000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TextBox 103"/>
            <p:cNvSpPr txBox="1">
              <a:spLocks noChangeArrowheads="1"/>
            </p:cNvSpPr>
            <p:nvPr/>
          </p:nvSpPr>
          <p:spPr bwMode="auto">
            <a:xfrm flipH="1">
              <a:off x="2929729" y="3320004"/>
              <a:ext cx="5937180" cy="498598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0" tIns="0" rIns="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marR="0" lvl="0" algn="just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tabLst/>
                <a:defRPr/>
              </a:pPr>
              <a:r>
                <a:rPr lang="it-IT" altLang="en-US" sz="1800" dirty="0" smtClean="0">
                  <a:solidFill>
                    <a:prstClr val="white"/>
                  </a:solidFill>
                  <a:latin typeface="Calibri" panose="020F0502020204030204"/>
                </a:rPr>
                <a:t>Emissione delle fatture elettroniche utilizzando esclusivamente il Sistema di Interscambio</a:t>
              </a:r>
              <a:endParaRPr kumimoji="0" lang="it-IT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1778763" y="3117297"/>
              <a:ext cx="992864" cy="893280"/>
              <a:chOff x="7607482" y="1139759"/>
              <a:chExt cx="809467" cy="748485"/>
            </a:xfrm>
            <a:solidFill>
              <a:srgbClr val="006B00"/>
            </a:solidFill>
          </p:grpSpPr>
          <p:grpSp>
            <p:nvGrpSpPr>
              <p:cNvPr id="17" name="Group 16"/>
              <p:cNvGrpSpPr/>
              <p:nvPr/>
            </p:nvGrpSpPr>
            <p:grpSpPr>
              <a:xfrm>
                <a:off x="7607482" y="1147750"/>
                <a:ext cx="809467" cy="740427"/>
                <a:chOff x="3662835" y="3709065"/>
                <a:chExt cx="1168401" cy="1226035"/>
              </a:xfrm>
              <a:grpFill/>
            </p:grpSpPr>
            <p:sp>
              <p:nvSpPr>
                <p:cNvPr id="20" name="Isosceles Triangle 19"/>
                <p:cNvSpPr/>
                <p:nvPr/>
              </p:nvSpPr>
              <p:spPr bwMode="gray">
                <a:xfrm>
                  <a:off x="4723519" y="3709065"/>
                  <a:ext cx="107717" cy="101734"/>
                </a:xfrm>
                <a:prstGeom prst="triangle">
                  <a:avLst/>
                </a:prstGeom>
                <a:grpFill/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24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Isosceles Triangle 20"/>
                <p:cNvSpPr/>
                <p:nvPr/>
              </p:nvSpPr>
              <p:spPr bwMode="gray">
                <a:xfrm rot="10800000">
                  <a:off x="3662835" y="4833366"/>
                  <a:ext cx="107717" cy="101734"/>
                </a:xfrm>
                <a:prstGeom prst="triangle">
                  <a:avLst/>
                </a:prstGeom>
                <a:grpFill/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24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8" name="Freeform 17"/>
              <p:cNvSpPr/>
              <p:nvPr/>
            </p:nvSpPr>
            <p:spPr bwMode="gray">
              <a:xfrm>
                <a:off x="7640576" y="1139759"/>
                <a:ext cx="734430" cy="748485"/>
              </a:xfrm>
              <a:custGeom>
                <a:avLst/>
                <a:gdLst>
                  <a:gd name="connsiteX0" fmla="*/ 213466 w 1166099"/>
                  <a:gd name="connsiteY0" fmla="*/ 0 h 1239378"/>
                  <a:gd name="connsiteX1" fmla="*/ 0 w 1166099"/>
                  <a:gd name="connsiteY1" fmla="*/ 1239378 h 1239378"/>
                  <a:gd name="connsiteX2" fmla="*/ 968563 w 1166099"/>
                  <a:gd name="connsiteY2" fmla="*/ 1220262 h 1239378"/>
                  <a:gd name="connsiteX3" fmla="*/ 1166099 w 1166099"/>
                  <a:gd name="connsiteY3" fmla="*/ 12744 h 1239378"/>
                  <a:gd name="connsiteX4" fmla="*/ 213466 w 1166099"/>
                  <a:gd name="connsiteY4" fmla="*/ 0 h 1239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66099" h="1239378">
                    <a:moveTo>
                      <a:pt x="213466" y="0"/>
                    </a:moveTo>
                    <a:lnTo>
                      <a:pt x="0" y="1239378"/>
                    </a:lnTo>
                    <a:lnTo>
                      <a:pt x="968563" y="1220262"/>
                    </a:lnTo>
                    <a:lnTo>
                      <a:pt x="1166099" y="12744"/>
                    </a:lnTo>
                    <a:lnTo>
                      <a:pt x="213466" y="0"/>
                    </a:lnTo>
                    <a:close/>
                  </a:path>
                </a:pathLst>
              </a:custGeom>
              <a:grp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Oval 18"/>
              <p:cNvSpPr/>
              <p:nvPr/>
            </p:nvSpPr>
            <p:spPr bwMode="gray">
              <a:xfrm>
                <a:off x="7871916" y="1360714"/>
                <a:ext cx="293503" cy="301646"/>
              </a:xfrm>
              <a:prstGeom prst="ellipse">
                <a:avLst/>
              </a:prstGeom>
              <a:grpFill/>
              <a:ln w="3810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88900" tIns="88900" rIns="88900" bIns="8890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0" lang="it-IT" sz="2400" b="1" i="1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2</a:t>
                </a:r>
              </a:p>
            </p:txBody>
          </p:sp>
        </p:grpSp>
      </p:grpSp>
      <p:grpSp>
        <p:nvGrpSpPr>
          <p:cNvPr id="6" name="Group 5"/>
          <p:cNvGrpSpPr/>
          <p:nvPr/>
        </p:nvGrpSpPr>
        <p:grpSpPr>
          <a:xfrm>
            <a:off x="1543050" y="2519683"/>
            <a:ext cx="7400925" cy="893281"/>
            <a:chOff x="1543050" y="2029005"/>
            <a:chExt cx="7400925" cy="893281"/>
          </a:xfrm>
        </p:grpSpPr>
        <p:sp>
          <p:nvSpPr>
            <p:cNvPr id="22" name="Rectangle 21"/>
            <p:cNvSpPr/>
            <p:nvPr/>
          </p:nvSpPr>
          <p:spPr bwMode="gray">
            <a:xfrm>
              <a:off x="1543050" y="2106582"/>
              <a:ext cx="7400925" cy="743801"/>
            </a:xfrm>
            <a:prstGeom prst="rect">
              <a:avLst/>
            </a:prstGeom>
            <a:solidFill>
              <a:srgbClr val="C00000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TextBox 103"/>
            <p:cNvSpPr txBox="1">
              <a:spLocks noChangeArrowheads="1"/>
            </p:cNvSpPr>
            <p:nvPr/>
          </p:nvSpPr>
          <p:spPr bwMode="auto">
            <a:xfrm flipH="1">
              <a:off x="2981177" y="2231708"/>
              <a:ext cx="5885732" cy="498598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0" tIns="0" rIns="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marL="0" marR="0" lvl="0" indent="0" algn="just" defTabSz="914400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it-IT" alt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azionalizzazione</a:t>
              </a:r>
              <a:r>
                <a:rPr kumimoji="0" lang="it-IT" altLang="en-US" sz="1800" b="0" i="0" u="none" strike="noStrike" kern="1200" cap="none" spc="0" normalizeH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del processo di fatturazione e registrazione per la cessione di beni e le prestazioni di servizi</a:t>
              </a:r>
              <a:endParaRPr kumimoji="0" lang="it-IT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1988313" y="2029005"/>
              <a:ext cx="992864" cy="893281"/>
              <a:chOff x="7607482" y="1139759"/>
              <a:chExt cx="809467" cy="748485"/>
            </a:xfrm>
            <a:solidFill>
              <a:srgbClr val="006B00"/>
            </a:solidFill>
          </p:grpSpPr>
          <p:grpSp>
            <p:nvGrpSpPr>
              <p:cNvPr id="25" name="Group 24"/>
              <p:cNvGrpSpPr/>
              <p:nvPr/>
            </p:nvGrpSpPr>
            <p:grpSpPr>
              <a:xfrm>
                <a:off x="7607482" y="1147750"/>
                <a:ext cx="809467" cy="740427"/>
                <a:chOff x="3662835" y="3709065"/>
                <a:chExt cx="1168401" cy="1226035"/>
              </a:xfrm>
              <a:grpFill/>
            </p:grpSpPr>
            <p:sp>
              <p:nvSpPr>
                <p:cNvPr id="28" name="Isosceles Triangle 27"/>
                <p:cNvSpPr/>
                <p:nvPr/>
              </p:nvSpPr>
              <p:spPr bwMode="gray">
                <a:xfrm>
                  <a:off x="4723519" y="3709065"/>
                  <a:ext cx="107717" cy="101734"/>
                </a:xfrm>
                <a:prstGeom prst="triangle">
                  <a:avLst/>
                </a:prstGeom>
                <a:grpFill/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24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Isosceles Triangle 28"/>
                <p:cNvSpPr/>
                <p:nvPr/>
              </p:nvSpPr>
              <p:spPr bwMode="gray">
                <a:xfrm rot="10800000">
                  <a:off x="3662835" y="4833366"/>
                  <a:ext cx="107717" cy="101734"/>
                </a:xfrm>
                <a:prstGeom prst="triangle">
                  <a:avLst/>
                </a:prstGeom>
                <a:grpFill/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24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6" name="Freeform 25"/>
              <p:cNvSpPr/>
              <p:nvPr/>
            </p:nvSpPr>
            <p:spPr bwMode="gray">
              <a:xfrm>
                <a:off x="7640576" y="1139759"/>
                <a:ext cx="734430" cy="748485"/>
              </a:xfrm>
              <a:custGeom>
                <a:avLst/>
                <a:gdLst>
                  <a:gd name="connsiteX0" fmla="*/ 213466 w 1166099"/>
                  <a:gd name="connsiteY0" fmla="*/ 0 h 1239378"/>
                  <a:gd name="connsiteX1" fmla="*/ 0 w 1166099"/>
                  <a:gd name="connsiteY1" fmla="*/ 1239378 h 1239378"/>
                  <a:gd name="connsiteX2" fmla="*/ 968563 w 1166099"/>
                  <a:gd name="connsiteY2" fmla="*/ 1220262 h 1239378"/>
                  <a:gd name="connsiteX3" fmla="*/ 1166099 w 1166099"/>
                  <a:gd name="connsiteY3" fmla="*/ 12744 h 1239378"/>
                  <a:gd name="connsiteX4" fmla="*/ 213466 w 1166099"/>
                  <a:gd name="connsiteY4" fmla="*/ 0 h 1239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66099" h="1239378">
                    <a:moveTo>
                      <a:pt x="213466" y="0"/>
                    </a:moveTo>
                    <a:lnTo>
                      <a:pt x="0" y="1239378"/>
                    </a:lnTo>
                    <a:lnTo>
                      <a:pt x="968563" y="1220262"/>
                    </a:lnTo>
                    <a:lnTo>
                      <a:pt x="1166099" y="12744"/>
                    </a:lnTo>
                    <a:lnTo>
                      <a:pt x="213466" y="0"/>
                    </a:lnTo>
                    <a:close/>
                  </a:path>
                </a:pathLst>
              </a:custGeom>
              <a:grp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Oval 26"/>
              <p:cNvSpPr/>
              <p:nvPr/>
            </p:nvSpPr>
            <p:spPr bwMode="gray">
              <a:xfrm>
                <a:off x="7864150" y="1358257"/>
                <a:ext cx="293503" cy="301646"/>
              </a:xfrm>
              <a:prstGeom prst="ellipse">
                <a:avLst/>
              </a:prstGeom>
              <a:grpFill/>
              <a:ln w="3810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88900" tIns="88900" rIns="88900" bIns="8890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0" lang="it-IT" sz="2400" b="1" i="1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1</a:t>
                </a:r>
              </a:p>
            </p:txBody>
          </p:sp>
        </p:grpSp>
      </p:grpSp>
      <p:grpSp>
        <p:nvGrpSpPr>
          <p:cNvPr id="8" name="Group 7"/>
          <p:cNvGrpSpPr/>
          <p:nvPr/>
        </p:nvGrpSpPr>
        <p:grpSpPr>
          <a:xfrm>
            <a:off x="1542471" y="4907860"/>
            <a:ext cx="7401503" cy="875252"/>
            <a:chOff x="1542471" y="4417182"/>
            <a:chExt cx="7401503" cy="875252"/>
          </a:xfrm>
        </p:grpSpPr>
        <p:sp>
          <p:nvSpPr>
            <p:cNvPr id="32" name="Rectangle 31"/>
            <p:cNvSpPr/>
            <p:nvPr/>
          </p:nvSpPr>
          <p:spPr bwMode="gray">
            <a:xfrm>
              <a:off x="1545045" y="4499152"/>
              <a:ext cx="7398929" cy="745200"/>
            </a:xfrm>
            <a:prstGeom prst="rect">
              <a:avLst/>
            </a:prstGeom>
            <a:solidFill>
              <a:srgbClr val="92D050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TextBox 103"/>
            <p:cNvSpPr txBox="1">
              <a:spLocks noChangeArrowheads="1"/>
            </p:cNvSpPr>
            <p:nvPr/>
          </p:nvSpPr>
          <p:spPr bwMode="auto">
            <a:xfrm flipH="1">
              <a:off x="2889643" y="4609465"/>
              <a:ext cx="5977266" cy="498598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0" tIns="0" rIns="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lvl="0" algn="just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SzPct val="100000"/>
                <a:defRPr/>
              </a:pPr>
              <a:r>
                <a:rPr lang="it-IT" altLang="en-US" sz="1800" dirty="0">
                  <a:solidFill>
                    <a:prstClr val="white"/>
                  </a:solidFill>
                  <a:latin typeface="Calibri" panose="020F0502020204030204"/>
                </a:rPr>
                <a:t>Operatori economici possono avvalersi di intermediari per la trasmissione delle fatture elettroniche</a:t>
              </a:r>
              <a:endParaRPr kumimoji="0" lang="it-IT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542471" y="4417182"/>
              <a:ext cx="1068359" cy="875252"/>
              <a:chOff x="7607482" y="1139759"/>
              <a:chExt cx="809467" cy="748485"/>
            </a:xfrm>
            <a:solidFill>
              <a:srgbClr val="006B00"/>
            </a:solidFill>
          </p:grpSpPr>
          <p:grpSp>
            <p:nvGrpSpPr>
              <p:cNvPr id="35" name="Group 34"/>
              <p:cNvGrpSpPr/>
              <p:nvPr/>
            </p:nvGrpSpPr>
            <p:grpSpPr>
              <a:xfrm>
                <a:off x="7607482" y="1147750"/>
                <a:ext cx="809467" cy="740427"/>
                <a:chOff x="3662835" y="3709065"/>
                <a:chExt cx="1168401" cy="1226035"/>
              </a:xfrm>
              <a:grpFill/>
            </p:grpSpPr>
            <p:sp>
              <p:nvSpPr>
                <p:cNvPr id="38" name="Isosceles Triangle 37"/>
                <p:cNvSpPr/>
                <p:nvPr/>
              </p:nvSpPr>
              <p:spPr bwMode="gray">
                <a:xfrm>
                  <a:off x="4723519" y="3709065"/>
                  <a:ext cx="107717" cy="101734"/>
                </a:xfrm>
                <a:prstGeom prst="triangle">
                  <a:avLst/>
                </a:prstGeom>
                <a:grpFill/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24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Isosceles Triangle 38"/>
                <p:cNvSpPr/>
                <p:nvPr/>
              </p:nvSpPr>
              <p:spPr bwMode="gray">
                <a:xfrm rot="10800000">
                  <a:off x="3662835" y="4833366"/>
                  <a:ext cx="107717" cy="101734"/>
                </a:xfrm>
                <a:prstGeom prst="triangle">
                  <a:avLst/>
                </a:prstGeom>
                <a:grpFill/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24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6" name="Freeform 35"/>
              <p:cNvSpPr/>
              <p:nvPr/>
            </p:nvSpPr>
            <p:spPr bwMode="gray">
              <a:xfrm>
                <a:off x="7640576" y="1139759"/>
                <a:ext cx="734430" cy="748485"/>
              </a:xfrm>
              <a:custGeom>
                <a:avLst/>
                <a:gdLst>
                  <a:gd name="connsiteX0" fmla="*/ 213466 w 1166099"/>
                  <a:gd name="connsiteY0" fmla="*/ 0 h 1239378"/>
                  <a:gd name="connsiteX1" fmla="*/ 0 w 1166099"/>
                  <a:gd name="connsiteY1" fmla="*/ 1239378 h 1239378"/>
                  <a:gd name="connsiteX2" fmla="*/ 968563 w 1166099"/>
                  <a:gd name="connsiteY2" fmla="*/ 1220262 h 1239378"/>
                  <a:gd name="connsiteX3" fmla="*/ 1166099 w 1166099"/>
                  <a:gd name="connsiteY3" fmla="*/ 12744 h 1239378"/>
                  <a:gd name="connsiteX4" fmla="*/ 213466 w 1166099"/>
                  <a:gd name="connsiteY4" fmla="*/ 0 h 1239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66099" h="1239378">
                    <a:moveTo>
                      <a:pt x="213466" y="0"/>
                    </a:moveTo>
                    <a:lnTo>
                      <a:pt x="0" y="1239378"/>
                    </a:lnTo>
                    <a:lnTo>
                      <a:pt x="968563" y="1220262"/>
                    </a:lnTo>
                    <a:lnTo>
                      <a:pt x="1166099" y="12744"/>
                    </a:lnTo>
                    <a:lnTo>
                      <a:pt x="213466" y="0"/>
                    </a:lnTo>
                    <a:close/>
                  </a:path>
                </a:pathLst>
              </a:custGeom>
              <a:grp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Oval 36"/>
              <p:cNvSpPr/>
              <p:nvPr/>
            </p:nvSpPr>
            <p:spPr bwMode="gray">
              <a:xfrm>
                <a:off x="7835794" y="1335062"/>
                <a:ext cx="329626" cy="379257"/>
              </a:xfrm>
              <a:prstGeom prst="ellipse">
                <a:avLst/>
              </a:prstGeom>
              <a:grpFill/>
              <a:ln w="3810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88900" tIns="88900" rIns="88900" bIns="8890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lang="it-IT" sz="2400" b="1" i="1" dirty="0">
                    <a:solidFill>
                      <a:schemeClr val="bg1"/>
                    </a:solidFill>
                    <a:latin typeface="Calibri" panose="020F0502020204030204"/>
                  </a:rPr>
                  <a:t>3</a:t>
                </a:r>
                <a:endParaRPr kumimoji="0" lang="it-IT" sz="2400" b="1" i="1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</p:grpSp>
      <p:sp>
        <p:nvSpPr>
          <p:cNvPr id="40" name="TextBox 39"/>
          <p:cNvSpPr txBox="1"/>
          <p:nvPr/>
        </p:nvSpPr>
        <p:spPr>
          <a:xfrm>
            <a:off x="1502537" y="1001661"/>
            <a:ext cx="7578000" cy="1116000"/>
          </a:xfrm>
          <a:prstGeom prst="roundRect">
            <a:avLst>
              <a:gd name="adj" fmla="val 8638"/>
            </a:avLst>
          </a:prstGeom>
          <a:ln w="317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just"/>
            <a:endParaRPr lang="it-IT" sz="13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777887" y="1097996"/>
            <a:ext cx="73026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creto </a:t>
            </a:r>
            <a:r>
              <a:rPr lang="it-IT" sz="1800" b="1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gislativo 127/2015 art. 1 comma 3</a:t>
            </a:r>
          </a:p>
          <a:p>
            <a:pPr algn="just"/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Fatturazione elettronica e trasmissione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telematica delle fatture o dei relativi dati per G2B e G2C (operatori economici ed utenti finali residenti in Italia).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242062" y="1264096"/>
            <a:ext cx="540001" cy="540000"/>
            <a:chOff x="302680" y="2930287"/>
            <a:chExt cx="540001" cy="540000"/>
          </a:xfrm>
        </p:grpSpPr>
        <p:sp>
          <p:nvSpPr>
            <p:cNvPr id="3" name="Oval 2"/>
            <p:cNvSpPr/>
            <p:nvPr/>
          </p:nvSpPr>
          <p:spPr bwMode="auto">
            <a:xfrm>
              <a:off x="360218" y="2979053"/>
              <a:ext cx="420748" cy="44246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42" name="Freeform 976"/>
            <p:cNvSpPr>
              <a:spLocks noChangeAspect="1" noEditPoints="1"/>
            </p:cNvSpPr>
            <p:nvPr/>
          </p:nvSpPr>
          <p:spPr bwMode="auto">
            <a:xfrm>
              <a:off x="302680" y="2930287"/>
              <a:ext cx="540001" cy="54000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373 h 512"/>
                <a:gd name="T12" fmla="*/ 128 w 512"/>
                <a:gd name="T13" fmla="*/ 373 h 512"/>
                <a:gd name="T14" fmla="*/ 117 w 512"/>
                <a:gd name="T15" fmla="*/ 362 h 512"/>
                <a:gd name="T16" fmla="*/ 128 w 512"/>
                <a:gd name="T17" fmla="*/ 352 h 512"/>
                <a:gd name="T18" fmla="*/ 256 w 512"/>
                <a:gd name="T19" fmla="*/ 352 h 512"/>
                <a:gd name="T20" fmla="*/ 266 w 512"/>
                <a:gd name="T21" fmla="*/ 362 h 512"/>
                <a:gd name="T22" fmla="*/ 256 w 512"/>
                <a:gd name="T23" fmla="*/ 373 h 512"/>
                <a:gd name="T24" fmla="*/ 391 w 512"/>
                <a:gd name="T25" fmla="*/ 370 h 512"/>
                <a:gd name="T26" fmla="*/ 384 w 512"/>
                <a:gd name="T27" fmla="*/ 373 h 512"/>
                <a:gd name="T28" fmla="*/ 376 w 512"/>
                <a:gd name="T29" fmla="*/ 370 h 512"/>
                <a:gd name="T30" fmla="*/ 279 w 512"/>
                <a:gd name="T31" fmla="*/ 272 h 512"/>
                <a:gd name="T32" fmla="*/ 242 w 512"/>
                <a:gd name="T33" fmla="*/ 310 h 512"/>
                <a:gd name="T34" fmla="*/ 242 w 512"/>
                <a:gd name="T35" fmla="*/ 310 h 512"/>
                <a:gd name="T36" fmla="*/ 242 w 512"/>
                <a:gd name="T37" fmla="*/ 325 h 512"/>
                <a:gd name="T38" fmla="*/ 234 w 512"/>
                <a:gd name="T39" fmla="*/ 328 h 512"/>
                <a:gd name="T40" fmla="*/ 227 w 512"/>
                <a:gd name="T41" fmla="*/ 325 h 512"/>
                <a:gd name="T42" fmla="*/ 151 w 512"/>
                <a:gd name="T43" fmla="*/ 250 h 512"/>
                <a:gd name="T44" fmla="*/ 151 w 512"/>
                <a:gd name="T45" fmla="*/ 235 h 512"/>
                <a:gd name="T46" fmla="*/ 166 w 512"/>
                <a:gd name="T47" fmla="*/ 235 h 512"/>
                <a:gd name="T48" fmla="*/ 257 w 512"/>
                <a:gd name="T49" fmla="*/ 144 h 512"/>
                <a:gd name="T50" fmla="*/ 257 w 512"/>
                <a:gd name="T51" fmla="*/ 129 h 512"/>
                <a:gd name="T52" fmla="*/ 272 w 512"/>
                <a:gd name="T53" fmla="*/ 129 h 512"/>
                <a:gd name="T54" fmla="*/ 347 w 512"/>
                <a:gd name="T55" fmla="*/ 204 h 512"/>
                <a:gd name="T56" fmla="*/ 347 w 512"/>
                <a:gd name="T57" fmla="*/ 220 h 512"/>
                <a:gd name="T58" fmla="*/ 340 w 512"/>
                <a:gd name="T59" fmla="*/ 223 h 512"/>
                <a:gd name="T60" fmla="*/ 332 w 512"/>
                <a:gd name="T61" fmla="*/ 220 h 512"/>
                <a:gd name="T62" fmla="*/ 295 w 512"/>
                <a:gd name="T63" fmla="*/ 257 h 512"/>
                <a:gd name="T64" fmla="*/ 295 w 512"/>
                <a:gd name="T65" fmla="*/ 257 h 512"/>
                <a:gd name="T66" fmla="*/ 391 w 512"/>
                <a:gd name="T67" fmla="*/ 355 h 512"/>
                <a:gd name="T68" fmla="*/ 391 w 512"/>
                <a:gd name="T69" fmla="*/ 370 h 512"/>
                <a:gd name="T70" fmla="*/ 317 w 512"/>
                <a:gd name="T71" fmla="*/ 204 h 512"/>
                <a:gd name="T72" fmla="*/ 227 w 512"/>
                <a:gd name="T73" fmla="*/ 295 h 512"/>
                <a:gd name="T74" fmla="*/ 181 w 512"/>
                <a:gd name="T75" fmla="*/ 250 h 512"/>
                <a:gd name="T76" fmla="*/ 272 w 512"/>
                <a:gd name="T77" fmla="*/ 159 h 512"/>
                <a:gd name="T78" fmla="*/ 317 w 512"/>
                <a:gd name="T79" fmla="*/ 20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373"/>
                  </a:moveTo>
                  <a:cubicBezTo>
                    <a:pt x="128" y="373"/>
                    <a:pt x="128" y="373"/>
                    <a:pt x="128" y="373"/>
                  </a:cubicBezTo>
                  <a:cubicBezTo>
                    <a:pt x="122" y="373"/>
                    <a:pt x="117" y="368"/>
                    <a:pt x="117" y="362"/>
                  </a:cubicBezTo>
                  <a:cubicBezTo>
                    <a:pt x="117" y="356"/>
                    <a:pt x="122" y="352"/>
                    <a:pt x="128" y="352"/>
                  </a:cubicBezTo>
                  <a:cubicBezTo>
                    <a:pt x="256" y="352"/>
                    <a:pt x="256" y="352"/>
                    <a:pt x="256" y="352"/>
                  </a:cubicBezTo>
                  <a:cubicBezTo>
                    <a:pt x="262" y="352"/>
                    <a:pt x="266" y="356"/>
                    <a:pt x="266" y="362"/>
                  </a:cubicBezTo>
                  <a:cubicBezTo>
                    <a:pt x="266" y="368"/>
                    <a:pt x="262" y="373"/>
                    <a:pt x="256" y="373"/>
                  </a:cubicBezTo>
                  <a:close/>
                  <a:moveTo>
                    <a:pt x="391" y="370"/>
                  </a:moveTo>
                  <a:cubicBezTo>
                    <a:pt x="389" y="372"/>
                    <a:pt x="386" y="373"/>
                    <a:pt x="384" y="373"/>
                  </a:cubicBezTo>
                  <a:cubicBezTo>
                    <a:pt x="381" y="373"/>
                    <a:pt x="378" y="372"/>
                    <a:pt x="376" y="370"/>
                  </a:cubicBezTo>
                  <a:cubicBezTo>
                    <a:pt x="279" y="272"/>
                    <a:pt x="279" y="272"/>
                    <a:pt x="279" y="272"/>
                  </a:cubicBezTo>
                  <a:cubicBezTo>
                    <a:pt x="242" y="310"/>
                    <a:pt x="242" y="310"/>
                    <a:pt x="242" y="310"/>
                  </a:cubicBezTo>
                  <a:cubicBezTo>
                    <a:pt x="242" y="310"/>
                    <a:pt x="242" y="310"/>
                    <a:pt x="242" y="310"/>
                  </a:cubicBezTo>
                  <a:cubicBezTo>
                    <a:pt x="246" y="314"/>
                    <a:pt x="246" y="321"/>
                    <a:pt x="242" y="325"/>
                  </a:cubicBezTo>
                  <a:cubicBezTo>
                    <a:pt x="240" y="327"/>
                    <a:pt x="237" y="328"/>
                    <a:pt x="234" y="328"/>
                  </a:cubicBezTo>
                  <a:cubicBezTo>
                    <a:pt x="231" y="328"/>
                    <a:pt x="229" y="327"/>
                    <a:pt x="227" y="325"/>
                  </a:cubicBezTo>
                  <a:cubicBezTo>
                    <a:pt x="151" y="250"/>
                    <a:pt x="151" y="250"/>
                    <a:pt x="151" y="250"/>
                  </a:cubicBezTo>
                  <a:cubicBezTo>
                    <a:pt x="147" y="246"/>
                    <a:pt x="147" y="239"/>
                    <a:pt x="151" y="235"/>
                  </a:cubicBezTo>
                  <a:cubicBezTo>
                    <a:pt x="155" y="230"/>
                    <a:pt x="162" y="230"/>
                    <a:pt x="166" y="235"/>
                  </a:cubicBezTo>
                  <a:cubicBezTo>
                    <a:pt x="257" y="144"/>
                    <a:pt x="257" y="144"/>
                    <a:pt x="257" y="144"/>
                  </a:cubicBezTo>
                  <a:cubicBezTo>
                    <a:pt x="253" y="140"/>
                    <a:pt x="253" y="133"/>
                    <a:pt x="257" y="129"/>
                  </a:cubicBezTo>
                  <a:cubicBezTo>
                    <a:pt x="261" y="125"/>
                    <a:pt x="268" y="125"/>
                    <a:pt x="272" y="129"/>
                  </a:cubicBezTo>
                  <a:cubicBezTo>
                    <a:pt x="347" y="204"/>
                    <a:pt x="347" y="204"/>
                    <a:pt x="347" y="204"/>
                  </a:cubicBezTo>
                  <a:cubicBezTo>
                    <a:pt x="352" y="209"/>
                    <a:pt x="352" y="215"/>
                    <a:pt x="347" y="220"/>
                  </a:cubicBezTo>
                  <a:cubicBezTo>
                    <a:pt x="345" y="222"/>
                    <a:pt x="343" y="223"/>
                    <a:pt x="340" y="223"/>
                  </a:cubicBezTo>
                  <a:cubicBezTo>
                    <a:pt x="337" y="223"/>
                    <a:pt x="334" y="222"/>
                    <a:pt x="332" y="220"/>
                  </a:cubicBezTo>
                  <a:cubicBezTo>
                    <a:pt x="295" y="257"/>
                    <a:pt x="295" y="257"/>
                    <a:pt x="295" y="257"/>
                  </a:cubicBezTo>
                  <a:cubicBezTo>
                    <a:pt x="295" y="257"/>
                    <a:pt x="295" y="257"/>
                    <a:pt x="295" y="257"/>
                  </a:cubicBezTo>
                  <a:cubicBezTo>
                    <a:pt x="391" y="355"/>
                    <a:pt x="391" y="355"/>
                    <a:pt x="391" y="355"/>
                  </a:cubicBezTo>
                  <a:cubicBezTo>
                    <a:pt x="395" y="359"/>
                    <a:pt x="395" y="366"/>
                    <a:pt x="391" y="370"/>
                  </a:cubicBezTo>
                  <a:close/>
                  <a:moveTo>
                    <a:pt x="317" y="204"/>
                  </a:moveTo>
                  <a:cubicBezTo>
                    <a:pt x="227" y="295"/>
                    <a:pt x="227" y="295"/>
                    <a:pt x="227" y="295"/>
                  </a:cubicBezTo>
                  <a:cubicBezTo>
                    <a:pt x="181" y="250"/>
                    <a:pt x="181" y="250"/>
                    <a:pt x="181" y="250"/>
                  </a:cubicBezTo>
                  <a:cubicBezTo>
                    <a:pt x="272" y="159"/>
                    <a:pt x="272" y="159"/>
                    <a:pt x="272" y="159"/>
                  </a:cubicBezTo>
                  <a:lnTo>
                    <a:pt x="317" y="204"/>
                  </a:lnTo>
                  <a:close/>
                </a:path>
              </a:pathLst>
            </a:custGeom>
            <a:solidFill>
              <a:srgbClr val="0075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57258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34</a:t>
            </a:fld>
            <a:endParaRPr lang="it-IT" altLang="it-IT" dirty="0"/>
          </a:p>
        </p:txBody>
      </p:sp>
      <p:sp>
        <p:nvSpPr>
          <p:cNvPr id="84" name="Rectangle 4"/>
          <p:cNvSpPr>
            <a:spLocks noChangeArrowheads="1"/>
          </p:cNvSpPr>
          <p:nvPr/>
        </p:nvSpPr>
        <p:spPr bwMode="auto">
          <a:xfrm>
            <a:off x="1383676" y="129763"/>
            <a:ext cx="832561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it-IT" altLang="it-IT" sz="28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Esoneri da fatturazione elettronica (1/2) </a:t>
            </a:r>
            <a:endParaRPr lang="it-IT" altLang="it-IT" sz="2000" b="1" dirty="0">
              <a:solidFill>
                <a:srgbClr val="006600"/>
              </a:solidFill>
              <a:latin typeface="Calibri" panose="020F0502020204030204" pitchFamily="34" charset="0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2744548" y="2563284"/>
            <a:ext cx="615930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Le prestazioni sanitarie soggette al modello 730 sono esonerate dal processo di fatturazione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elettronica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solo per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l’anno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2019.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1536659" y="2441859"/>
            <a:ext cx="1013990" cy="93600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it-IT"/>
            </a:defPPr>
            <a:lvl1pPr>
              <a:defRPr sz="1200">
                <a:latin typeface="Calibri" panose="020F0502020204030204" pitchFamily="34" charset="0"/>
              </a:defRPr>
            </a:lvl1pPr>
          </a:lstStyle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</p:txBody>
      </p:sp>
      <p:sp>
        <p:nvSpPr>
          <p:cNvPr id="66" name="Freeform 538"/>
          <p:cNvSpPr>
            <a:spLocks noChangeAspect="1" noEditPoints="1"/>
          </p:cNvSpPr>
          <p:nvPr/>
        </p:nvSpPr>
        <p:spPr bwMode="auto">
          <a:xfrm>
            <a:off x="1773654" y="2632671"/>
            <a:ext cx="540000" cy="540000"/>
          </a:xfrm>
          <a:custGeom>
            <a:avLst/>
            <a:gdLst>
              <a:gd name="T0" fmla="*/ 226 w 512"/>
              <a:gd name="T1" fmla="*/ 352 h 512"/>
              <a:gd name="T2" fmla="*/ 286 w 512"/>
              <a:gd name="T3" fmla="*/ 352 h 512"/>
              <a:gd name="T4" fmla="*/ 279 w 512"/>
              <a:gd name="T5" fmla="*/ 394 h 512"/>
              <a:gd name="T6" fmla="*/ 233 w 512"/>
              <a:gd name="T7" fmla="*/ 394 h 512"/>
              <a:gd name="T8" fmla="*/ 226 w 512"/>
              <a:gd name="T9" fmla="*/ 352 h 512"/>
              <a:gd name="T10" fmla="*/ 256 w 512"/>
              <a:gd name="T11" fmla="*/ 117 h 512"/>
              <a:gd name="T12" fmla="*/ 178 w 512"/>
              <a:gd name="T13" fmla="*/ 191 h 512"/>
              <a:gd name="T14" fmla="*/ 194 w 512"/>
              <a:gd name="T15" fmla="*/ 242 h 512"/>
              <a:gd name="T16" fmla="*/ 224 w 512"/>
              <a:gd name="T17" fmla="*/ 309 h 512"/>
              <a:gd name="T18" fmla="*/ 224 w 512"/>
              <a:gd name="T19" fmla="*/ 330 h 512"/>
              <a:gd name="T20" fmla="*/ 245 w 512"/>
              <a:gd name="T21" fmla="*/ 330 h 512"/>
              <a:gd name="T22" fmla="*/ 245 w 512"/>
              <a:gd name="T23" fmla="*/ 249 h 512"/>
              <a:gd name="T24" fmla="*/ 227 w 512"/>
              <a:gd name="T25" fmla="*/ 231 h 512"/>
              <a:gd name="T26" fmla="*/ 227 w 512"/>
              <a:gd name="T27" fmla="*/ 216 h 512"/>
              <a:gd name="T28" fmla="*/ 242 w 512"/>
              <a:gd name="T29" fmla="*/ 216 h 512"/>
              <a:gd name="T30" fmla="*/ 256 w 512"/>
              <a:gd name="T31" fmla="*/ 230 h 512"/>
              <a:gd name="T32" fmla="*/ 269 w 512"/>
              <a:gd name="T33" fmla="*/ 216 h 512"/>
              <a:gd name="T34" fmla="*/ 285 w 512"/>
              <a:gd name="T35" fmla="*/ 216 h 512"/>
              <a:gd name="T36" fmla="*/ 285 w 512"/>
              <a:gd name="T37" fmla="*/ 231 h 512"/>
              <a:gd name="T38" fmla="*/ 266 w 512"/>
              <a:gd name="T39" fmla="*/ 249 h 512"/>
              <a:gd name="T40" fmla="*/ 266 w 512"/>
              <a:gd name="T41" fmla="*/ 330 h 512"/>
              <a:gd name="T42" fmla="*/ 288 w 512"/>
              <a:gd name="T43" fmla="*/ 330 h 512"/>
              <a:gd name="T44" fmla="*/ 288 w 512"/>
              <a:gd name="T45" fmla="*/ 309 h 512"/>
              <a:gd name="T46" fmla="*/ 318 w 512"/>
              <a:gd name="T47" fmla="*/ 243 h 512"/>
              <a:gd name="T48" fmla="*/ 334 w 512"/>
              <a:gd name="T49" fmla="*/ 191 h 512"/>
              <a:gd name="T50" fmla="*/ 256 w 512"/>
              <a:gd name="T51" fmla="*/ 117 h 512"/>
              <a:gd name="T52" fmla="*/ 512 w 512"/>
              <a:gd name="T53" fmla="*/ 256 h 512"/>
              <a:gd name="T54" fmla="*/ 256 w 512"/>
              <a:gd name="T55" fmla="*/ 512 h 512"/>
              <a:gd name="T56" fmla="*/ 0 w 512"/>
              <a:gd name="T57" fmla="*/ 256 h 512"/>
              <a:gd name="T58" fmla="*/ 256 w 512"/>
              <a:gd name="T59" fmla="*/ 0 h 512"/>
              <a:gd name="T60" fmla="*/ 512 w 512"/>
              <a:gd name="T61" fmla="*/ 256 h 512"/>
              <a:gd name="T62" fmla="*/ 356 w 512"/>
              <a:gd name="T63" fmla="*/ 191 h 512"/>
              <a:gd name="T64" fmla="*/ 256 w 512"/>
              <a:gd name="T65" fmla="*/ 96 h 512"/>
              <a:gd name="T66" fmla="*/ 256 w 512"/>
              <a:gd name="T67" fmla="*/ 96 h 512"/>
              <a:gd name="T68" fmla="*/ 256 w 512"/>
              <a:gd name="T69" fmla="*/ 96 h 512"/>
              <a:gd name="T70" fmla="*/ 256 w 512"/>
              <a:gd name="T71" fmla="*/ 96 h 512"/>
              <a:gd name="T72" fmla="*/ 255 w 512"/>
              <a:gd name="T73" fmla="*/ 96 h 512"/>
              <a:gd name="T74" fmla="*/ 157 w 512"/>
              <a:gd name="T75" fmla="*/ 191 h 512"/>
              <a:gd name="T76" fmla="*/ 176 w 512"/>
              <a:gd name="T77" fmla="*/ 254 h 512"/>
              <a:gd name="T78" fmla="*/ 202 w 512"/>
              <a:gd name="T79" fmla="*/ 309 h 512"/>
              <a:gd name="T80" fmla="*/ 202 w 512"/>
              <a:gd name="T81" fmla="*/ 341 h 512"/>
              <a:gd name="T82" fmla="*/ 203 w 512"/>
              <a:gd name="T83" fmla="*/ 342 h 512"/>
              <a:gd name="T84" fmla="*/ 202 w 512"/>
              <a:gd name="T85" fmla="*/ 343 h 512"/>
              <a:gd name="T86" fmla="*/ 213 w 512"/>
              <a:gd name="T87" fmla="*/ 407 h 512"/>
              <a:gd name="T88" fmla="*/ 224 w 512"/>
              <a:gd name="T89" fmla="*/ 416 h 512"/>
              <a:gd name="T90" fmla="*/ 288 w 512"/>
              <a:gd name="T91" fmla="*/ 416 h 512"/>
              <a:gd name="T92" fmla="*/ 298 w 512"/>
              <a:gd name="T93" fmla="*/ 407 h 512"/>
              <a:gd name="T94" fmla="*/ 309 w 512"/>
              <a:gd name="T95" fmla="*/ 343 h 512"/>
              <a:gd name="T96" fmla="*/ 309 w 512"/>
              <a:gd name="T97" fmla="*/ 342 h 512"/>
              <a:gd name="T98" fmla="*/ 309 w 512"/>
              <a:gd name="T99" fmla="*/ 341 h 512"/>
              <a:gd name="T100" fmla="*/ 309 w 512"/>
              <a:gd name="T101" fmla="*/ 309 h 512"/>
              <a:gd name="T102" fmla="*/ 336 w 512"/>
              <a:gd name="T103" fmla="*/ 254 h 512"/>
              <a:gd name="T104" fmla="*/ 356 w 512"/>
              <a:gd name="T105" fmla="*/ 19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226" y="352"/>
                </a:moveTo>
                <a:cubicBezTo>
                  <a:pt x="286" y="352"/>
                  <a:pt x="286" y="352"/>
                  <a:pt x="286" y="352"/>
                </a:cubicBezTo>
                <a:cubicBezTo>
                  <a:pt x="279" y="394"/>
                  <a:pt x="279" y="394"/>
                  <a:pt x="279" y="394"/>
                </a:cubicBezTo>
                <a:cubicBezTo>
                  <a:pt x="233" y="394"/>
                  <a:pt x="233" y="394"/>
                  <a:pt x="233" y="394"/>
                </a:cubicBezTo>
                <a:lnTo>
                  <a:pt x="226" y="352"/>
                </a:lnTo>
                <a:close/>
                <a:moveTo>
                  <a:pt x="256" y="117"/>
                </a:moveTo>
                <a:cubicBezTo>
                  <a:pt x="214" y="117"/>
                  <a:pt x="178" y="151"/>
                  <a:pt x="178" y="191"/>
                </a:cubicBezTo>
                <a:cubicBezTo>
                  <a:pt x="178" y="219"/>
                  <a:pt x="194" y="242"/>
                  <a:pt x="194" y="242"/>
                </a:cubicBezTo>
                <a:cubicBezTo>
                  <a:pt x="201" y="254"/>
                  <a:pt x="224" y="292"/>
                  <a:pt x="224" y="309"/>
                </a:cubicBezTo>
                <a:cubicBezTo>
                  <a:pt x="224" y="330"/>
                  <a:pt x="224" y="330"/>
                  <a:pt x="224" y="330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45" y="249"/>
                  <a:pt x="245" y="249"/>
                  <a:pt x="245" y="249"/>
                </a:cubicBezTo>
                <a:cubicBezTo>
                  <a:pt x="227" y="231"/>
                  <a:pt x="227" y="231"/>
                  <a:pt x="227" y="231"/>
                </a:cubicBezTo>
                <a:cubicBezTo>
                  <a:pt x="223" y="227"/>
                  <a:pt x="223" y="220"/>
                  <a:pt x="227" y="216"/>
                </a:cubicBezTo>
                <a:cubicBezTo>
                  <a:pt x="231" y="212"/>
                  <a:pt x="238" y="212"/>
                  <a:pt x="242" y="216"/>
                </a:cubicBezTo>
                <a:cubicBezTo>
                  <a:pt x="256" y="230"/>
                  <a:pt x="256" y="230"/>
                  <a:pt x="256" y="230"/>
                </a:cubicBezTo>
                <a:cubicBezTo>
                  <a:pt x="269" y="216"/>
                  <a:pt x="269" y="216"/>
                  <a:pt x="269" y="216"/>
                </a:cubicBezTo>
                <a:cubicBezTo>
                  <a:pt x="274" y="212"/>
                  <a:pt x="280" y="212"/>
                  <a:pt x="285" y="216"/>
                </a:cubicBezTo>
                <a:cubicBezTo>
                  <a:pt x="289" y="220"/>
                  <a:pt x="289" y="227"/>
                  <a:pt x="285" y="231"/>
                </a:cubicBezTo>
                <a:cubicBezTo>
                  <a:pt x="266" y="249"/>
                  <a:pt x="266" y="249"/>
                  <a:pt x="266" y="249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88" y="330"/>
                  <a:pt x="288" y="330"/>
                  <a:pt x="288" y="330"/>
                </a:cubicBezTo>
                <a:cubicBezTo>
                  <a:pt x="288" y="309"/>
                  <a:pt x="288" y="309"/>
                  <a:pt x="288" y="309"/>
                </a:cubicBezTo>
                <a:cubicBezTo>
                  <a:pt x="288" y="292"/>
                  <a:pt x="311" y="254"/>
                  <a:pt x="318" y="243"/>
                </a:cubicBezTo>
                <a:cubicBezTo>
                  <a:pt x="318" y="242"/>
                  <a:pt x="334" y="218"/>
                  <a:pt x="334" y="191"/>
                </a:cubicBezTo>
                <a:cubicBezTo>
                  <a:pt x="334" y="151"/>
                  <a:pt x="298" y="117"/>
                  <a:pt x="256" y="117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56" y="191"/>
                </a:moveTo>
                <a:cubicBezTo>
                  <a:pt x="356" y="140"/>
                  <a:pt x="310" y="96"/>
                  <a:pt x="256" y="96"/>
                </a:cubicBezTo>
                <a:cubicBezTo>
                  <a:pt x="256" y="96"/>
                  <a:pt x="256" y="96"/>
                  <a:pt x="256" y="96"/>
                </a:cubicBezTo>
                <a:cubicBezTo>
                  <a:pt x="256" y="96"/>
                  <a:pt x="256" y="96"/>
                  <a:pt x="256" y="96"/>
                </a:cubicBezTo>
                <a:cubicBezTo>
                  <a:pt x="256" y="96"/>
                  <a:pt x="256" y="96"/>
                  <a:pt x="256" y="96"/>
                </a:cubicBezTo>
                <a:cubicBezTo>
                  <a:pt x="256" y="96"/>
                  <a:pt x="256" y="96"/>
                  <a:pt x="255" y="96"/>
                </a:cubicBezTo>
                <a:cubicBezTo>
                  <a:pt x="202" y="96"/>
                  <a:pt x="157" y="140"/>
                  <a:pt x="157" y="191"/>
                </a:cubicBezTo>
                <a:cubicBezTo>
                  <a:pt x="157" y="225"/>
                  <a:pt x="175" y="253"/>
                  <a:pt x="176" y="254"/>
                </a:cubicBezTo>
                <a:cubicBezTo>
                  <a:pt x="189" y="275"/>
                  <a:pt x="202" y="302"/>
                  <a:pt x="202" y="309"/>
                </a:cubicBezTo>
                <a:cubicBezTo>
                  <a:pt x="202" y="341"/>
                  <a:pt x="202" y="341"/>
                  <a:pt x="202" y="341"/>
                </a:cubicBezTo>
                <a:cubicBezTo>
                  <a:pt x="202" y="341"/>
                  <a:pt x="202" y="342"/>
                  <a:pt x="203" y="342"/>
                </a:cubicBezTo>
                <a:cubicBezTo>
                  <a:pt x="203" y="342"/>
                  <a:pt x="202" y="342"/>
                  <a:pt x="202" y="343"/>
                </a:cubicBezTo>
                <a:cubicBezTo>
                  <a:pt x="213" y="407"/>
                  <a:pt x="213" y="407"/>
                  <a:pt x="213" y="407"/>
                </a:cubicBezTo>
                <a:cubicBezTo>
                  <a:pt x="214" y="412"/>
                  <a:pt x="218" y="416"/>
                  <a:pt x="224" y="416"/>
                </a:cubicBezTo>
                <a:cubicBezTo>
                  <a:pt x="288" y="416"/>
                  <a:pt x="288" y="416"/>
                  <a:pt x="288" y="416"/>
                </a:cubicBezTo>
                <a:cubicBezTo>
                  <a:pt x="293" y="416"/>
                  <a:pt x="297" y="412"/>
                  <a:pt x="298" y="407"/>
                </a:cubicBezTo>
                <a:cubicBezTo>
                  <a:pt x="309" y="343"/>
                  <a:pt x="309" y="343"/>
                  <a:pt x="309" y="343"/>
                </a:cubicBezTo>
                <a:cubicBezTo>
                  <a:pt x="309" y="342"/>
                  <a:pt x="309" y="342"/>
                  <a:pt x="309" y="342"/>
                </a:cubicBezTo>
                <a:cubicBezTo>
                  <a:pt x="309" y="342"/>
                  <a:pt x="309" y="341"/>
                  <a:pt x="309" y="341"/>
                </a:cubicBezTo>
                <a:cubicBezTo>
                  <a:pt x="309" y="309"/>
                  <a:pt x="309" y="309"/>
                  <a:pt x="309" y="309"/>
                </a:cubicBezTo>
                <a:cubicBezTo>
                  <a:pt x="309" y="302"/>
                  <a:pt x="323" y="275"/>
                  <a:pt x="336" y="254"/>
                </a:cubicBezTo>
                <a:cubicBezTo>
                  <a:pt x="337" y="253"/>
                  <a:pt x="356" y="225"/>
                  <a:pt x="356" y="191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7" name="TextBox 66"/>
          <p:cNvSpPr txBox="1"/>
          <p:nvPr/>
        </p:nvSpPr>
        <p:spPr>
          <a:xfrm>
            <a:off x="1536659" y="3708642"/>
            <a:ext cx="1013990" cy="936000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it-IT"/>
            </a:defPPr>
            <a:lvl1pPr>
              <a:defRPr sz="1200">
                <a:latin typeface="Calibri" panose="020F0502020204030204" pitchFamily="34" charset="0"/>
              </a:defRPr>
            </a:lvl1pPr>
          </a:lstStyle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</p:txBody>
      </p:sp>
      <p:sp>
        <p:nvSpPr>
          <p:cNvPr id="68" name="Rectangle 67"/>
          <p:cNvSpPr/>
          <p:nvPr/>
        </p:nvSpPr>
        <p:spPr>
          <a:xfrm>
            <a:off x="2744547" y="3708642"/>
            <a:ext cx="615930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I dati fiscali trasmessi al Sistema tessera sanitaria possono essere utilizzati solo dalle PA per il monitoraggio della spesa sanitaria pubblica e privata complessiva.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9" name="Freeform 373"/>
          <p:cNvSpPr>
            <a:spLocks noChangeAspect="1" noEditPoints="1"/>
          </p:cNvSpPr>
          <p:nvPr/>
        </p:nvSpPr>
        <p:spPr bwMode="auto">
          <a:xfrm>
            <a:off x="1773654" y="3900307"/>
            <a:ext cx="540000" cy="540000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52 w 512"/>
              <a:gd name="T11" fmla="*/ 256 h 512"/>
              <a:gd name="T12" fmla="*/ 362 w 512"/>
              <a:gd name="T13" fmla="*/ 245 h 512"/>
              <a:gd name="T14" fmla="*/ 373 w 512"/>
              <a:gd name="T15" fmla="*/ 256 h 512"/>
              <a:gd name="T16" fmla="*/ 373 w 512"/>
              <a:gd name="T17" fmla="*/ 320 h 512"/>
              <a:gd name="T18" fmla="*/ 362 w 512"/>
              <a:gd name="T19" fmla="*/ 330 h 512"/>
              <a:gd name="T20" fmla="*/ 352 w 512"/>
              <a:gd name="T21" fmla="*/ 320 h 512"/>
              <a:gd name="T22" fmla="*/ 352 w 512"/>
              <a:gd name="T23" fmla="*/ 256 h 512"/>
              <a:gd name="T24" fmla="*/ 309 w 512"/>
              <a:gd name="T25" fmla="*/ 170 h 512"/>
              <a:gd name="T26" fmla="*/ 320 w 512"/>
              <a:gd name="T27" fmla="*/ 160 h 512"/>
              <a:gd name="T28" fmla="*/ 330 w 512"/>
              <a:gd name="T29" fmla="*/ 170 h 512"/>
              <a:gd name="T30" fmla="*/ 330 w 512"/>
              <a:gd name="T31" fmla="*/ 320 h 512"/>
              <a:gd name="T32" fmla="*/ 320 w 512"/>
              <a:gd name="T33" fmla="*/ 330 h 512"/>
              <a:gd name="T34" fmla="*/ 309 w 512"/>
              <a:gd name="T35" fmla="*/ 320 h 512"/>
              <a:gd name="T36" fmla="*/ 309 w 512"/>
              <a:gd name="T37" fmla="*/ 170 h 512"/>
              <a:gd name="T38" fmla="*/ 266 w 512"/>
              <a:gd name="T39" fmla="*/ 202 h 512"/>
              <a:gd name="T40" fmla="*/ 277 w 512"/>
              <a:gd name="T41" fmla="*/ 192 h 512"/>
              <a:gd name="T42" fmla="*/ 288 w 512"/>
              <a:gd name="T43" fmla="*/ 202 h 512"/>
              <a:gd name="T44" fmla="*/ 288 w 512"/>
              <a:gd name="T45" fmla="*/ 320 h 512"/>
              <a:gd name="T46" fmla="*/ 277 w 512"/>
              <a:gd name="T47" fmla="*/ 330 h 512"/>
              <a:gd name="T48" fmla="*/ 266 w 512"/>
              <a:gd name="T49" fmla="*/ 320 h 512"/>
              <a:gd name="T50" fmla="*/ 266 w 512"/>
              <a:gd name="T51" fmla="*/ 202 h 512"/>
              <a:gd name="T52" fmla="*/ 224 w 512"/>
              <a:gd name="T53" fmla="*/ 149 h 512"/>
              <a:gd name="T54" fmla="*/ 234 w 512"/>
              <a:gd name="T55" fmla="*/ 138 h 512"/>
              <a:gd name="T56" fmla="*/ 245 w 512"/>
              <a:gd name="T57" fmla="*/ 149 h 512"/>
              <a:gd name="T58" fmla="*/ 245 w 512"/>
              <a:gd name="T59" fmla="*/ 320 h 512"/>
              <a:gd name="T60" fmla="*/ 234 w 512"/>
              <a:gd name="T61" fmla="*/ 330 h 512"/>
              <a:gd name="T62" fmla="*/ 224 w 512"/>
              <a:gd name="T63" fmla="*/ 320 h 512"/>
              <a:gd name="T64" fmla="*/ 224 w 512"/>
              <a:gd name="T65" fmla="*/ 149 h 512"/>
              <a:gd name="T66" fmla="*/ 181 w 512"/>
              <a:gd name="T67" fmla="*/ 245 h 512"/>
              <a:gd name="T68" fmla="*/ 192 w 512"/>
              <a:gd name="T69" fmla="*/ 234 h 512"/>
              <a:gd name="T70" fmla="*/ 202 w 512"/>
              <a:gd name="T71" fmla="*/ 245 h 512"/>
              <a:gd name="T72" fmla="*/ 202 w 512"/>
              <a:gd name="T73" fmla="*/ 320 h 512"/>
              <a:gd name="T74" fmla="*/ 192 w 512"/>
              <a:gd name="T75" fmla="*/ 330 h 512"/>
              <a:gd name="T76" fmla="*/ 181 w 512"/>
              <a:gd name="T77" fmla="*/ 320 h 512"/>
              <a:gd name="T78" fmla="*/ 181 w 512"/>
              <a:gd name="T79" fmla="*/ 245 h 512"/>
              <a:gd name="T80" fmla="*/ 138 w 512"/>
              <a:gd name="T81" fmla="*/ 277 h 512"/>
              <a:gd name="T82" fmla="*/ 149 w 512"/>
              <a:gd name="T83" fmla="*/ 266 h 512"/>
              <a:gd name="T84" fmla="*/ 160 w 512"/>
              <a:gd name="T85" fmla="*/ 277 h 512"/>
              <a:gd name="T86" fmla="*/ 160 w 512"/>
              <a:gd name="T87" fmla="*/ 320 h 512"/>
              <a:gd name="T88" fmla="*/ 149 w 512"/>
              <a:gd name="T89" fmla="*/ 330 h 512"/>
              <a:gd name="T90" fmla="*/ 138 w 512"/>
              <a:gd name="T91" fmla="*/ 320 h 512"/>
              <a:gd name="T92" fmla="*/ 138 w 512"/>
              <a:gd name="T93" fmla="*/ 277 h 512"/>
              <a:gd name="T94" fmla="*/ 405 w 512"/>
              <a:gd name="T95" fmla="*/ 373 h 512"/>
              <a:gd name="T96" fmla="*/ 106 w 512"/>
              <a:gd name="T97" fmla="*/ 373 h 512"/>
              <a:gd name="T98" fmla="*/ 96 w 512"/>
              <a:gd name="T99" fmla="*/ 362 h 512"/>
              <a:gd name="T100" fmla="*/ 96 w 512"/>
              <a:gd name="T101" fmla="*/ 149 h 512"/>
              <a:gd name="T102" fmla="*/ 106 w 512"/>
              <a:gd name="T103" fmla="*/ 138 h 512"/>
              <a:gd name="T104" fmla="*/ 117 w 512"/>
              <a:gd name="T105" fmla="*/ 149 h 512"/>
              <a:gd name="T106" fmla="*/ 117 w 512"/>
              <a:gd name="T107" fmla="*/ 352 h 512"/>
              <a:gd name="T108" fmla="*/ 405 w 512"/>
              <a:gd name="T109" fmla="*/ 352 h 512"/>
              <a:gd name="T110" fmla="*/ 416 w 512"/>
              <a:gd name="T111" fmla="*/ 362 h 512"/>
              <a:gd name="T112" fmla="*/ 405 w 512"/>
              <a:gd name="T113" fmla="*/ 37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52" y="256"/>
                </a:moveTo>
                <a:cubicBezTo>
                  <a:pt x="352" y="250"/>
                  <a:pt x="356" y="245"/>
                  <a:pt x="362" y="245"/>
                </a:cubicBezTo>
                <a:cubicBezTo>
                  <a:pt x="368" y="245"/>
                  <a:pt x="373" y="250"/>
                  <a:pt x="373" y="256"/>
                </a:cubicBezTo>
                <a:cubicBezTo>
                  <a:pt x="373" y="320"/>
                  <a:pt x="373" y="320"/>
                  <a:pt x="373" y="320"/>
                </a:cubicBezTo>
                <a:cubicBezTo>
                  <a:pt x="373" y="326"/>
                  <a:pt x="368" y="330"/>
                  <a:pt x="362" y="330"/>
                </a:cubicBezTo>
                <a:cubicBezTo>
                  <a:pt x="356" y="330"/>
                  <a:pt x="352" y="326"/>
                  <a:pt x="352" y="320"/>
                </a:cubicBezTo>
                <a:lnTo>
                  <a:pt x="352" y="256"/>
                </a:lnTo>
                <a:close/>
                <a:moveTo>
                  <a:pt x="309" y="170"/>
                </a:moveTo>
                <a:cubicBezTo>
                  <a:pt x="309" y="164"/>
                  <a:pt x="314" y="160"/>
                  <a:pt x="320" y="160"/>
                </a:cubicBezTo>
                <a:cubicBezTo>
                  <a:pt x="326" y="160"/>
                  <a:pt x="330" y="164"/>
                  <a:pt x="330" y="170"/>
                </a:cubicBezTo>
                <a:cubicBezTo>
                  <a:pt x="330" y="320"/>
                  <a:pt x="330" y="320"/>
                  <a:pt x="330" y="320"/>
                </a:cubicBezTo>
                <a:cubicBezTo>
                  <a:pt x="330" y="326"/>
                  <a:pt x="326" y="330"/>
                  <a:pt x="320" y="330"/>
                </a:cubicBezTo>
                <a:cubicBezTo>
                  <a:pt x="314" y="330"/>
                  <a:pt x="309" y="326"/>
                  <a:pt x="309" y="320"/>
                </a:cubicBezTo>
                <a:lnTo>
                  <a:pt x="309" y="170"/>
                </a:lnTo>
                <a:close/>
                <a:moveTo>
                  <a:pt x="266" y="202"/>
                </a:moveTo>
                <a:cubicBezTo>
                  <a:pt x="266" y="196"/>
                  <a:pt x="271" y="192"/>
                  <a:pt x="277" y="192"/>
                </a:cubicBezTo>
                <a:cubicBezTo>
                  <a:pt x="283" y="192"/>
                  <a:pt x="288" y="196"/>
                  <a:pt x="288" y="202"/>
                </a:cubicBezTo>
                <a:cubicBezTo>
                  <a:pt x="288" y="320"/>
                  <a:pt x="288" y="320"/>
                  <a:pt x="288" y="320"/>
                </a:cubicBezTo>
                <a:cubicBezTo>
                  <a:pt x="288" y="326"/>
                  <a:pt x="283" y="330"/>
                  <a:pt x="277" y="330"/>
                </a:cubicBezTo>
                <a:cubicBezTo>
                  <a:pt x="271" y="330"/>
                  <a:pt x="266" y="326"/>
                  <a:pt x="266" y="320"/>
                </a:cubicBezTo>
                <a:lnTo>
                  <a:pt x="266" y="202"/>
                </a:lnTo>
                <a:close/>
                <a:moveTo>
                  <a:pt x="224" y="149"/>
                </a:moveTo>
                <a:cubicBezTo>
                  <a:pt x="224" y="143"/>
                  <a:pt x="228" y="138"/>
                  <a:pt x="234" y="138"/>
                </a:cubicBezTo>
                <a:cubicBezTo>
                  <a:pt x="240" y="138"/>
                  <a:pt x="245" y="143"/>
                  <a:pt x="245" y="149"/>
                </a:cubicBezTo>
                <a:cubicBezTo>
                  <a:pt x="245" y="320"/>
                  <a:pt x="245" y="320"/>
                  <a:pt x="245" y="320"/>
                </a:cubicBezTo>
                <a:cubicBezTo>
                  <a:pt x="245" y="326"/>
                  <a:pt x="240" y="330"/>
                  <a:pt x="234" y="330"/>
                </a:cubicBezTo>
                <a:cubicBezTo>
                  <a:pt x="228" y="330"/>
                  <a:pt x="224" y="326"/>
                  <a:pt x="224" y="320"/>
                </a:cubicBezTo>
                <a:lnTo>
                  <a:pt x="224" y="149"/>
                </a:lnTo>
                <a:close/>
                <a:moveTo>
                  <a:pt x="181" y="245"/>
                </a:moveTo>
                <a:cubicBezTo>
                  <a:pt x="181" y="239"/>
                  <a:pt x="186" y="234"/>
                  <a:pt x="192" y="234"/>
                </a:cubicBezTo>
                <a:cubicBezTo>
                  <a:pt x="198" y="234"/>
                  <a:pt x="202" y="239"/>
                  <a:pt x="202" y="245"/>
                </a:cubicBezTo>
                <a:cubicBezTo>
                  <a:pt x="202" y="320"/>
                  <a:pt x="202" y="320"/>
                  <a:pt x="202" y="320"/>
                </a:cubicBezTo>
                <a:cubicBezTo>
                  <a:pt x="202" y="326"/>
                  <a:pt x="198" y="330"/>
                  <a:pt x="192" y="330"/>
                </a:cubicBezTo>
                <a:cubicBezTo>
                  <a:pt x="186" y="330"/>
                  <a:pt x="181" y="326"/>
                  <a:pt x="181" y="320"/>
                </a:cubicBezTo>
                <a:lnTo>
                  <a:pt x="181" y="245"/>
                </a:lnTo>
                <a:close/>
                <a:moveTo>
                  <a:pt x="138" y="277"/>
                </a:moveTo>
                <a:cubicBezTo>
                  <a:pt x="138" y="271"/>
                  <a:pt x="143" y="266"/>
                  <a:pt x="149" y="266"/>
                </a:cubicBezTo>
                <a:cubicBezTo>
                  <a:pt x="155" y="266"/>
                  <a:pt x="160" y="271"/>
                  <a:pt x="160" y="277"/>
                </a:cubicBezTo>
                <a:cubicBezTo>
                  <a:pt x="160" y="320"/>
                  <a:pt x="160" y="320"/>
                  <a:pt x="160" y="320"/>
                </a:cubicBezTo>
                <a:cubicBezTo>
                  <a:pt x="160" y="326"/>
                  <a:pt x="155" y="330"/>
                  <a:pt x="149" y="330"/>
                </a:cubicBezTo>
                <a:cubicBezTo>
                  <a:pt x="143" y="330"/>
                  <a:pt x="138" y="326"/>
                  <a:pt x="138" y="320"/>
                </a:cubicBezTo>
                <a:lnTo>
                  <a:pt x="138" y="277"/>
                </a:lnTo>
                <a:close/>
                <a:moveTo>
                  <a:pt x="405" y="373"/>
                </a:moveTo>
                <a:cubicBezTo>
                  <a:pt x="106" y="373"/>
                  <a:pt x="106" y="373"/>
                  <a:pt x="106" y="373"/>
                </a:cubicBezTo>
                <a:cubicBezTo>
                  <a:pt x="100" y="373"/>
                  <a:pt x="96" y="368"/>
                  <a:pt x="96" y="362"/>
                </a:cubicBezTo>
                <a:cubicBezTo>
                  <a:pt x="96" y="149"/>
                  <a:pt x="96" y="149"/>
                  <a:pt x="96" y="149"/>
                </a:cubicBezTo>
                <a:cubicBezTo>
                  <a:pt x="96" y="143"/>
                  <a:pt x="100" y="138"/>
                  <a:pt x="106" y="138"/>
                </a:cubicBezTo>
                <a:cubicBezTo>
                  <a:pt x="112" y="138"/>
                  <a:pt x="117" y="143"/>
                  <a:pt x="117" y="149"/>
                </a:cubicBezTo>
                <a:cubicBezTo>
                  <a:pt x="117" y="352"/>
                  <a:pt x="117" y="352"/>
                  <a:pt x="117" y="352"/>
                </a:cubicBezTo>
                <a:cubicBezTo>
                  <a:pt x="405" y="352"/>
                  <a:pt x="405" y="352"/>
                  <a:pt x="405" y="352"/>
                </a:cubicBezTo>
                <a:cubicBezTo>
                  <a:pt x="411" y="352"/>
                  <a:pt x="416" y="356"/>
                  <a:pt x="416" y="362"/>
                </a:cubicBezTo>
                <a:cubicBezTo>
                  <a:pt x="416" y="368"/>
                  <a:pt x="411" y="373"/>
                  <a:pt x="405" y="373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0" name="TextBox 69"/>
          <p:cNvSpPr txBox="1"/>
          <p:nvPr/>
        </p:nvSpPr>
        <p:spPr>
          <a:xfrm>
            <a:off x="1541278" y="4987875"/>
            <a:ext cx="1013990" cy="936000"/>
          </a:xfrm>
          <a:prstGeom prst="round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it-IT"/>
            </a:defPPr>
            <a:lvl1pPr>
              <a:defRPr sz="1200">
                <a:latin typeface="Calibri" panose="020F0502020204030204" pitchFamily="34" charset="0"/>
              </a:defRPr>
            </a:lvl1pPr>
          </a:lstStyle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</p:txBody>
      </p:sp>
      <p:sp>
        <p:nvSpPr>
          <p:cNvPr id="71" name="Rectangle 70"/>
          <p:cNvSpPr/>
          <p:nvPr/>
        </p:nvSpPr>
        <p:spPr>
          <a:xfrm>
            <a:off x="2749166" y="4987875"/>
            <a:ext cx="615930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In materia di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protezione GDPR,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sono stati definiti i termini e gli ambiti di utilizzo dei dati personali per tutelare i diritti e le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libertà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dell'interessato.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3" name="Freeform 627"/>
          <p:cNvSpPr>
            <a:spLocks noChangeAspect="1" noEditPoints="1"/>
          </p:cNvSpPr>
          <p:nvPr/>
        </p:nvSpPr>
        <p:spPr bwMode="auto">
          <a:xfrm>
            <a:off x="1773654" y="5179540"/>
            <a:ext cx="540000" cy="540000"/>
          </a:xfrm>
          <a:custGeom>
            <a:avLst/>
            <a:gdLst>
              <a:gd name="T0" fmla="*/ 330 w 512"/>
              <a:gd name="T1" fmla="*/ 245 h 512"/>
              <a:gd name="T2" fmla="*/ 181 w 512"/>
              <a:gd name="T3" fmla="*/ 245 h 512"/>
              <a:gd name="T4" fmla="*/ 181 w 512"/>
              <a:gd name="T5" fmla="*/ 192 h 512"/>
              <a:gd name="T6" fmla="*/ 256 w 512"/>
              <a:gd name="T7" fmla="*/ 117 h 512"/>
              <a:gd name="T8" fmla="*/ 330 w 512"/>
              <a:gd name="T9" fmla="*/ 192 h 512"/>
              <a:gd name="T10" fmla="*/ 330 w 512"/>
              <a:gd name="T11" fmla="*/ 245 h 512"/>
              <a:gd name="T12" fmla="*/ 160 w 512"/>
              <a:gd name="T13" fmla="*/ 394 h 512"/>
              <a:gd name="T14" fmla="*/ 352 w 512"/>
              <a:gd name="T15" fmla="*/ 394 h 512"/>
              <a:gd name="T16" fmla="*/ 352 w 512"/>
              <a:gd name="T17" fmla="*/ 266 h 512"/>
              <a:gd name="T18" fmla="*/ 160 w 512"/>
              <a:gd name="T19" fmla="*/ 266 h 512"/>
              <a:gd name="T20" fmla="*/ 160 w 512"/>
              <a:gd name="T21" fmla="*/ 394 h 512"/>
              <a:gd name="T22" fmla="*/ 512 w 512"/>
              <a:gd name="T23" fmla="*/ 256 h 512"/>
              <a:gd name="T24" fmla="*/ 256 w 512"/>
              <a:gd name="T25" fmla="*/ 512 h 512"/>
              <a:gd name="T26" fmla="*/ 0 w 512"/>
              <a:gd name="T27" fmla="*/ 256 h 512"/>
              <a:gd name="T28" fmla="*/ 256 w 512"/>
              <a:gd name="T29" fmla="*/ 0 h 512"/>
              <a:gd name="T30" fmla="*/ 512 w 512"/>
              <a:gd name="T31" fmla="*/ 256 h 512"/>
              <a:gd name="T32" fmla="*/ 373 w 512"/>
              <a:gd name="T33" fmla="*/ 256 h 512"/>
              <a:gd name="T34" fmla="*/ 362 w 512"/>
              <a:gd name="T35" fmla="*/ 245 h 512"/>
              <a:gd name="T36" fmla="*/ 352 w 512"/>
              <a:gd name="T37" fmla="*/ 245 h 512"/>
              <a:gd name="T38" fmla="*/ 352 w 512"/>
              <a:gd name="T39" fmla="*/ 192 h 512"/>
              <a:gd name="T40" fmla="*/ 256 w 512"/>
              <a:gd name="T41" fmla="*/ 96 h 512"/>
              <a:gd name="T42" fmla="*/ 160 w 512"/>
              <a:gd name="T43" fmla="*/ 192 h 512"/>
              <a:gd name="T44" fmla="*/ 160 w 512"/>
              <a:gd name="T45" fmla="*/ 245 h 512"/>
              <a:gd name="T46" fmla="*/ 149 w 512"/>
              <a:gd name="T47" fmla="*/ 245 h 512"/>
              <a:gd name="T48" fmla="*/ 138 w 512"/>
              <a:gd name="T49" fmla="*/ 256 h 512"/>
              <a:gd name="T50" fmla="*/ 138 w 512"/>
              <a:gd name="T51" fmla="*/ 405 h 512"/>
              <a:gd name="T52" fmla="*/ 149 w 512"/>
              <a:gd name="T53" fmla="*/ 416 h 512"/>
              <a:gd name="T54" fmla="*/ 362 w 512"/>
              <a:gd name="T55" fmla="*/ 416 h 512"/>
              <a:gd name="T56" fmla="*/ 373 w 512"/>
              <a:gd name="T57" fmla="*/ 405 h 512"/>
              <a:gd name="T58" fmla="*/ 373 w 512"/>
              <a:gd name="T59" fmla="*/ 25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12" h="512">
                <a:moveTo>
                  <a:pt x="330" y="245"/>
                </a:moveTo>
                <a:cubicBezTo>
                  <a:pt x="181" y="245"/>
                  <a:pt x="181" y="245"/>
                  <a:pt x="181" y="245"/>
                </a:cubicBezTo>
                <a:cubicBezTo>
                  <a:pt x="181" y="192"/>
                  <a:pt x="181" y="192"/>
                  <a:pt x="181" y="192"/>
                </a:cubicBezTo>
                <a:cubicBezTo>
                  <a:pt x="181" y="150"/>
                  <a:pt x="214" y="117"/>
                  <a:pt x="256" y="117"/>
                </a:cubicBezTo>
                <a:cubicBezTo>
                  <a:pt x="297" y="117"/>
                  <a:pt x="330" y="150"/>
                  <a:pt x="330" y="192"/>
                </a:cubicBezTo>
                <a:lnTo>
                  <a:pt x="330" y="245"/>
                </a:lnTo>
                <a:close/>
                <a:moveTo>
                  <a:pt x="160" y="394"/>
                </a:moveTo>
                <a:cubicBezTo>
                  <a:pt x="352" y="394"/>
                  <a:pt x="352" y="394"/>
                  <a:pt x="352" y="394"/>
                </a:cubicBezTo>
                <a:cubicBezTo>
                  <a:pt x="352" y="266"/>
                  <a:pt x="352" y="266"/>
                  <a:pt x="352" y="266"/>
                </a:cubicBezTo>
                <a:cubicBezTo>
                  <a:pt x="160" y="266"/>
                  <a:pt x="160" y="266"/>
                  <a:pt x="160" y="266"/>
                </a:cubicBezTo>
                <a:lnTo>
                  <a:pt x="160" y="394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256"/>
                </a:moveTo>
                <a:cubicBezTo>
                  <a:pt x="373" y="250"/>
                  <a:pt x="368" y="245"/>
                  <a:pt x="362" y="245"/>
                </a:cubicBezTo>
                <a:cubicBezTo>
                  <a:pt x="352" y="245"/>
                  <a:pt x="352" y="245"/>
                  <a:pt x="352" y="245"/>
                </a:cubicBezTo>
                <a:cubicBezTo>
                  <a:pt x="352" y="192"/>
                  <a:pt x="352" y="192"/>
                  <a:pt x="352" y="192"/>
                </a:cubicBezTo>
                <a:cubicBezTo>
                  <a:pt x="352" y="139"/>
                  <a:pt x="309" y="96"/>
                  <a:pt x="256" y="96"/>
                </a:cubicBezTo>
                <a:cubicBezTo>
                  <a:pt x="203" y="96"/>
                  <a:pt x="160" y="139"/>
                  <a:pt x="160" y="192"/>
                </a:cubicBezTo>
                <a:cubicBezTo>
                  <a:pt x="160" y="245"/>
                  <a:pt x="160" y="245"/>
                  <a:pt x="160" y="245"/>
                </a:cubicBezTo>
                <a:cubicBezTo>
                  <a:pt x="149" y="245"/>
                  <a:pt x="149" y="245"/>
                  <a:pt x="149" y="245"/>
                </a:cubicBezTo>
                <a:cubicBezTo>
                  <a:pt x="143" y="245"/>
                  <a:pt x="138" y="250"/>
                  <a:pt x="138" y="256"/>
                </a:cubicBezTo>
                <a:cubicBezTo>
                  <a:pt x="138" y="405"/>
                  <a:pt x="138" y="405"/>
                  <a:pt x="138" y="405"/>
                </a:cubicBezTo>
                <a:cubicBezTo>
                  <a:pt x="138" y="411"/>
                  <a:pt x="143" y="416"/>
                  <a:pt x="149" y="416"/>
                </a:cubicBezTo>
                <a:cubicBezTo>
                  <a:pt x="362" y="416"/>
                  <a:pt x="362" y="416"/>
                  <a:pt x="362" y="416"/>
                </a:cubicBezTo>
                <a:cubicBezTo>
                  <a:pt x="368" y="416"/>
                  <a:pt x="373" y="411"/>
                  <a:pt x="373" y="405"/>
                </a:cubicBezTo>
                <a:lnTo>
                  <a:pt x="373" y="256"/>
                </a:lnTo>
                <a:close/>
              </a:path>
            </a:pathLst>
          </a:custGeom>
          <a:solidFill>
            <a:srgbClr val="92D050"/>
          </a:solidFill>
          <a:ln>
            <a:solidFill>
              <a:schemeClr val="bg1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" name="TextBox 17"/>
          <p:cNvSpPr txBox="1"/>
          <p:nvPr/>
        </p:nvSpPr>
        <p:spPr>
          <a:xfrm>
            <a:off x="1502537" y="1001661"/>
            <a:ext cx="7578000" cy="1116000"/>
          </a:xfrm>
          <a:prstGeom prst="roundRect">
            <a:avLst>
              <a:gd name="adj" fmla="val 8638"/>
            </a:avLst>
          </a:prstGeom>
          <a:ln w="317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just"/>
            <a:endParaRPr lang="it-IT" sz="13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777887" y="1097996"/>
            <a:ext cx="73026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gge 145 del 30 Dicembre 2018 (Legge di Bilancio 2019) – art.1 comma 53</a:t>
            </a:r>
          </a:p>
          <a:p>
            <a:pPr algn="just"/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posizioni di semplificazione in tema di fatturazione elettronica per gli operatori sanitari.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1242062" y="1264096"/>
            <a:ext cx="540001" cy="540000"/>
            <a:chOff x="302680" y="2930287"/>
            <a:chExt cx="540001" cy="540000"/>
          </a:xfrm>
        </p:grpSpPr>
        <p:sp>
          <p:nvSpPr>
            <p:cNvPr id="21" name="Oval 20"/>
            <p:cNvSpPr/>
            <p:nvPr/>
          </p:nvSpPr>
          <p:spPr bwMode="auto">
            <a:xfrm>
              <a:off x="360218" y="2979053"/>
              <a:ext cx="420748" cy="44246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22" name="Freeform 976"/>
            <p:cNvSpPr>
              <a:spLocks noChangeAspect="1" noEditPoints="1"/>
            </p:cNvSpPr>
            <p:nvPr/>
          </p:nvSpPr>
          <p:spPr bwMode="auto">
            <a:xfrm>
              <a:off x="302680" y="2930287"/>
              <a:ext cx="540001" cy="54000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373 h 512"/>
                <a:gd name="T12" fmla="*/ 128 w 512"/>
                <a:gd name="T13" fmla="*/ 373 h 512"/>
                <a:gd name="T14" fmla="*/ 117 w 512"/>
                <a:gd name="T15" fmla="*/ 362 h 512"/>
                <a:gd name="T16" fmla="*/ 128 w 512"/>
                <a:gd name="T17" fmla="*/ 352 h 512"/>
                <a:gd name="T18" fmla="*/ 256 w 512"/>
                <a:gd name="T19" fmla="*/ 352 h 512"/>
                <a:gd name="T20" fmla="*/ 266 w 512"/>
                <a:gd name="T21" fmla="*/ 362 h 512"/>
                <a:gd name="T22" fmla="*/ 256 w 512"/>
                <a:gd name="T23" fmla="*/ 373 h 512"/>
                <a:gd name="T24" fmla="*/ 391 w 512"/>
                <a:gd name="T25" fmla="*/ 370 h 512"/>
                <a:gd name="T26" fmla="*/ 384 w 512"/>
                <a:gd name="T27" fmla="*/ 373 h 512"/>
                <a:gd name="T28" fmla="*/ 376 w 512"/>
                <a:gd name="T29" fmla="*/ 370 h 512"/>
                <a:gd name="T30" fmla="*/ 279 w 512"/>
                <a:gd name="T31" fmla="*/ 272 h 512"/>
                <a:gd name="T32" fmla="*/ 242 w 512"/>
                <a:gd name="T33" fmla="*/ 310 h 512"/>
                <a:gd name="T34" fmla="*/ 242 w 512"/>
                <a:gd name="T35" fmla="*/ 310 h 512"/>
                <a:gd name="T36" fmla="*/ 242 w 512"/>
                <a:gd name="T37" fmla="*/ 325 h 512"/>
                <a:gd name="T38" fmla="*/ 234 w 512"/>
                <a:gd name="T39" fmla="*/ 328 h 512"/>
                <a:gd name="T40" fmla="*/ 227 w 512"/>
                <a:gd name="T41" fmla="*/ 325 h 512"/>
                <a:gd name="T42" fmla="*/ 151 w 512"/>
                <a:gd name="T43" fmla="*/ 250 h 512"/>
                <a:gd name="T44" fmla="*/ 151 w 512"/>
                <a:gd name="T45" fmla="*/ 235 h 512"/>
                <a:gd name="T46" fmla="*/ 166 w 512"/>
                <a:gd name="T47" fmla="*/ 235 h 512"/>
                <a:gd name="T48" fmla="*/ 257 w 512"/>
                <a:gd name="T49" fmla="*/ 144 h 512"/>
                <a:gd name="T50" fmla="*/ 257 w 512"/>
                <a:gd name="T51" fmla="*/ 129 h 512"/>
                <a:gd name="T52" fmla="*/ 272 w 512"/>
                <a:gd name="T53" fmla="*/ 129 h 512"/>
                <a:gd name="T54" fmla="*/ 347 w 512"/>
                <a:gd name="T55" fmla="*/ 204 h 512"/>
                <a:gd name="T56" fmla="*/ 347 w 512"/>
                <a:gd name="T57" fmla="*/ 220 h 512"/>
                <a:gd name="T58" fmla="*/ 340 w 512"/>
                <a:gd name="T59" fmla="*/ 223 h 512"/>
                <a:gd name="T60" fmla="*/ 332 w 512"/>
                <a:gd name="T61" fmla="*/ 220 h 512"/>
                <a:gd name="T62" fmla="*/ 295 w 512"/>
                <a:gd name="T63" fmla="*/ 257 h 512"/>
                <a:gd name="T64" fmla="*/ 295 w 512"/>
                <a:gd name="T65" fmla="*/ 257 h 512"/>
                <a:gd name="T66" fmla="*/ 391 w 512"/>
                <a:gd name="T67" fmla="*/ 355 h 512"/>
                <a:gd name="T68" fmla="*/ 391 w 512"/>
                <a:gd name="T69" fmla="*/ 370 h 512"/>
                <a:gd name="T70" fmla="*/ 317 w 512"/>
                <a:gd name="T71" fmla="*/ 204 h 512"/>
                <a:gd name="T72" fmla="*/ 227 w 512"/>
                <a:gd name="T73" fmla="*/ 295 h 512"/>
                <a:gd name="T74" fmla="*/ 181 w 512"/>
                <a:gd name="T75" fmla="*/ 250 h 512"/>
                <a:gd name="T76" fmla="*/ 272 w 512"/>
                <a:gd name="T77" fmla="*/ 159 h 512"/>
                <a:gd name="T78" fmla="*/ 317 w 512"/>
                <a:gd name="T79" fmla="*/ 204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373"/>
                  </a:moveTo>
                  <a:cubicBezTo>
                    <a:pt x="128" y="373"/>
                    <a:pt x="128" y="373"/>
                    <a:pt x="128" y="373"/>
                  </a:cubicBezTo>
                  <a:cubicBezTo>
                    <a:pt x="122" y="373"/>
                    <a:pt x="117" y="368"/>
                    <a:pt x="117" y="362"/>
                  </a:cubicBezTo>
                  <a:cubicBezTo>
                    <a:pt x="117" y="356"/>
                    <a:pt x="122" y="352"/>
                    <a:pt x="128" y="352"/>
                  </a:cubicBezTo>
                  <a:cubicBezTo>
                    <a:pt x="256" y="352"/>
                    <a:pt x="256" y="352"/>
                    <a:pt x="256" y="352"/>
                  </a:cubicBezTo>
                  <a:cubicBezTo>
                    <a:pt x="262" y="352"/>
                    <a:pt x="266" y="356"/>
                    <a:pt x="266" y="362"/>
                  </a:cubicBezTo>
                  <a:cubicBezTo>
                    <a:pt x="266" y="368"/>
                    <a:pt x="262" y="373"/>
                    <a:pt x="256" y="373"/>
                  </a:cubicBezTo>
                  <a:close/>
                  <a:moveTo>
                    <a:pt x="391" y="370"/>
                  </a:moveTo>
                  <a:cubicBezTo>
                    <a:pt x="389" y="372"/>
                    <a:pt x="386" y="373"/>
                    <a:pt x="384" y="373"/>
                  </a:cubicBezTo>
                  <a:cubicBezTo>
                    <a:pt x="381" y="373"/>
                    <a:pt x="378" y="372"/>
                    <a:pt x="376" y="370"/>
                  </a:cubicBezTo>
                  <a:cubicBezTo>
                    <a:pt x="279" y="272"/>
                    <a:pt x="279" y="272"/>
                    <a:pt x="279" y="272"/>
                  </a:cubicBezTo>
                  <a:cubicBezTo>
                    <a:pt x="242" y="310"/>
                    <a:pt x="242" y="310"/>
                    <a:pt x="242" y="310"/>
                  </a:cubicBezTo>
                  <a:cubicBezTo>
                    <a:pt x="242" y="310"/>
                    <a:pt x="242" y="310"/>
                    <a:pt x="242" y="310"/>
                  </a:cubicBezTo>
                  <a:cubicBezTo>
                    <a:pt x="246" y="314"/>
                    <a:pt x="246" y="321"/>
                    <a:pt x="242" y="325"/>
                  </a:cubicBezTo>
                  <a:cubicBezTo>
                    <a:pt x="240" y="327"/>
                    <a:pt x="237" y="328"/>
                    <a:pt x="234" y="328"/>
                  </a:cubicBezTo>
                  <a:cubicBezTo>
                    <a:pt x="231" y="328"/>
                    <a:pt x="229" y="327"/>
                    <a:pt x="227" y="325"/>
                  </a:cubicBezTo>
                  <a:cubicBezTo>
                    <a:pt x="151" y="250"/>
                    <a:pt x="151" y="250"/>
                    <a:pt x="151" y="250"/>
                  </a:cubicBezTo>
                  <a:cubicBezTo>
                    <a:pt x="147" y="246"/>
                    <a:pt x="147" y="239"/>
                    <a:pt x="151" y="235"/>
                  </a:cubicBezTo>
                  <a:cubicBezTo>
                    <a:pt x="155" y="230"/>
                    <a:pt x="162" y="230"/>
                    <a:pt x="166" y="235"/>
                  </a:cubicBezTo>
                  <a:cubicBezTo>
                    <a:pt x="257" y="144"/>
                    <a:pt x="257" y="144"/>
                    <a:pt x="257" y="144"/>
                  </a:cubicBezTo>
                  <a:cubicBezTo>
                    <a:pt x="253" y="140"/>
                    <a:pt x="253" y="133"/>
                    <a:pt x="257" y="129"/>
                  </a:cubicBezTo>
                  <a:cubicBezTo>
                    <a:pt x="261" y="125"/>
                    <a:pt x="268" y="125"/>
                    <a:pt x="272" y="129"/>
                  </a:cubicBezTo>
                  <a:cubicBezTo>
                    <a:pt x="347" y="204"/>
                    <a:pt x="347" y="204"/>
                    <a:pt x="347" y="204"/>
                  </a:cubicBezTo>
                  <a:cubicBezTo>
                    <a:pt x="352" y="209"/>
                    <a:pt x="352" y="215"/>
                    <a:pt x="347" y="220"/>
                  </a:cubicBezTo>
                  <a:cubicBezTo>
                    <a:pt x="345" y="222"/>
                    <a:pt x="343" y="223"/>
                    <a:pt x="340" y="223"/>
                  </a:cubicBezTo>
                  <a:cubicBezTo>
                    <a:pt x="337" y="223"/>
                    <a:pt x="334" y="222"/>
                    <a:pt x="332" y="220"/>
                  </a:cubicBezTo>
                  <a:cubicBezTo>
                    <a:pt x="295" y="257"/>
                    <a:pt x="295" y="257"/>
                    <a:pt x="295" y="257"/>
                  </a:cubicBezTo>
                  <a:cubicBezTo>
                    <a:pt x="295" y="257"/>
                    <a:pt x="295" y="257"/>
                    <a:pt x="295" y="257"/>
                  </a:cubicBezTo>
                  <a:cubicBezTo>
                    <a:pt x="391" y="355"/>
                    <a:pt x="391" y="355"/>
                    <a:pt x="391" y="355"/>
                  </a:cubicBezTo>
                  <a:cubicBezTo>
                    <a:pt x="395" y="359"/>
                    <a:pt x="395" y="366"/>
                    <a:pt x="391" y="370"/>
                  </a:cubicBezTo>
                  <a:close/>
                  <a:moveTo>
                    <a:pt x="317" y="204"/>
                  </a:moveTo>
                  <a:cubicBezTo>
                    <a:pt x="227" y="295"/>
                    <a:pt x="227" y="295"/>
                    <a:pt x="227" y="295"/>
                  </a:cubicBezTo>
                  <a:cubicBezTo>
                    <a:pt x="181" y="250"/>
                    <a:pt x="181" y="250"/>
                    <a:pt x="181" y="250"/>
                  </a:cubicBezTo>
                  <a:cubicBezTo>
                    <a:pt x="272" y="159"/>
                    <a:pt x="272" y="159"/>
                    <a:pt x="272" y="159"/>
                  </a:cubicBezTo>
                  <a:lnTo>
                    <a:pt x="317" y="204"/>
                  </a:lnTo>
                  <a:close/>
                </a:path>
              </a:pathLst>
            </a:custGeom>
            <a:solidFill>
              <a:srgbClr val="0075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725184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35</a:t>
            </a:fld>
            <a:endParaRPr lang="it-IT" altLang="it-IT" dirty="0"/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1383676" y="129763"/>
            <a:ext cx="832561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it-IT" altLang="it-IT" sz="28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Esoneri da fatturazione elettronica (2/2)</a:t>
            </a:r>
            <a:endParaRPr lang="it-IT" altLang="it-IT" sz="2000" b="1" dirty="0">
              <a:solidFill>
                <a:srgbClr val="006600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173163" y="1062467"/>
            <a:ext cx="838834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Per le fatture dagli operatori sanitari al consumatore (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G2C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) soggette al modello 730 non è previsto il transito su </a:t>
            </a:r>
            <a:r>
              <a:rPr lang="it-IT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SdI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ma si fermano in conservazione Par-ER.</a:t>
            </a:r>
          </a:p>
          <a:p>
            <a:pPr algn="just"/>
            <a:endParaRPr lang="it-IT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it-IT" sz="1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</a:t>
            </a:r>
            <a:r>
              <a:rPr lang="it-IT" sz="1800" b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ESEMPIO metadati</a:t>
            </a:r>
            <a:endParaRPr lang="it-IT" sz="1800" b="1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gray">
          <a:xfrm>
            <a:off x="1325563" y="5167047"/>
            <a:ext cx="8392051" cy="928953"/>
          </a:xfrm>
          <a:prstGeom prst="rect">
            <a:avLst/>
          </a:prstGeom>
          <a:solidFill>
            <a:srgbClr val="E8F6CF"/>
          </a:solidFill>
          <a:ln w="19050" algn="ctr">
            <a:solidFill>
              <a:srgbClr val="007E00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just" fontAlgn="t">
              <a:lnSpc>
                <a:spcPct val="107000"/>
              </a:lnSpc>
              <a:spcAft>
                <a:spcPts val="600"/>
              </a:spcAft>
            </a:pP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E’ sufficiente modificare il valore dei metadati dove gli elementi </a:t>
            </a:r>
            <a:r>
              <a:rPr lang="it-IT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InvioSdi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e </a:t>
            </a:r>
            <a:r>
              <a:rPr lang="it-IT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InvioPeppol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devono essere valorizzati a 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FALSE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mentre l’elemento </a:t>
            </a:r>
            <a:r>
              <a:rPr lang="it-IT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InvioConservazione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deve essere impostato a 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RUE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it-IT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Oval 14"/>
          <p:cNvSpPr/>
          <p:nvPr/>
        </p:nvSpPr>
        <p:spPr bwMode="auto">
          <a:xfrm>
            <a:off x="1019175" y="4970348"/>
            <a:ext cx="476250" cy="33073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grpSp>
        <p:nvGrpSpPr>
          <p:cNvPr id="16" name="Group 925"/>
          <p:cNvGrpSpPr>
            <a:grpSpLocks noChangeAspect="1"/>
          </p:cNvGrpSpPr>
          <p:nvPr/>
        </p:nvGrpSpPr>
        <p:grpSpPr bwMode="auto">
          <a:xfrm>
            <a:off x="1069701" y="4971952"/>
            <a:ext cx="378373" cy="356628"/>
            <a:chOff x="1152" y="3440"/>
            <a:chExt cx="348" cy="328"/>
          </a:xfrm>
          <a:solidFill>
            <a:srgbClr val="007600"/>
          </a:solidFill>
        </p:grpSpPr>
        <p:sp>
          <p:nvSpPr>
            <p:cNvPr id="17" name="Freeform 926"/>
            <p:cNvSpPr>
              <a:spLocks/>
            </p:cNvSpPr>
            <p:nvPr/>
          </p:nvSpPr>
          <p:spPr bwMode="auto">
            <a:xfrm>
              <a:off x="1259" y="3539"/>
              <a:ext cx="71" cy="71"/>
            </a:xfrm>
            <a:custGeom>
              <a:avLst/>
              <a:gdLst>
                <a:gd name="T0" fmla="*/ 96 w 107"/>
                <a:gd name="T1" fmla="*/ 43 h 107"/>
                <a:gd name="T2" fmla="*/ 64 w 107"/>
                <a:gd name="T3" fmla="*/ 43 h 107"/>
                <a:gd name="T4" fmla="*/ 64 w 107"/>
                <a:gd name="T5" fmla="*/ 11 h 107"/>
                <a:gd name="T6" fmla="*/ 53 w 107"/>
                <a:gd name="T7" fmla="*/ 0 h 107"/>
                <a:gd name="T8" fmla="*/ 43 w 107"/>
                <a:gd name="T9" fmla="*/ 11 h 107"/>
                <a:gd name="T10" fmla="*/ 43 w 107"/>
                <a:gd name="T11" fmla="*/ 43 h 107"/>
                <a:gd name="T12" fmla="*/ 11 w 107"/>
                <a:gd name="T13" fmla="*/ 43 h 107"/>
                <a:gd name="T14" fmla="*/ 0 w 107"/>
                <a:gd name="T15" fmla="*/ 53 h 107"/>
                <a:gd name="T16" fmla="*/ 11 w 107"/>
                <a:gd name="T17" fmla="*/ 64 h 107"/>
                <a:gd name="T18" fmla="*/ 43 w 107"/>
                <a:gd name="T19" fmla="*/ 64 h 107"/>
                <a:gd name="T20" fmla="*/ 43 w 107"/>
                <a:gd name="T21" fmla="*/ 96 h 107"/>
                <a:gd name="T22" fmla="*/ 53 w 107"/>
                <a:gd name="T23" fmla="*/ 107 h 107"/>
                <a:gd name="T24" fmla="*/ 64 w 107"/>
                <a:gd name="T25" fmla="*/ 96 h 107"/>
                <a:gd name="T26" fmla="*/ 64 w 107"/>
                <a:gd name="T27" fmla="*/ 64 h 107"/>
                <a:gd name="T28" fmla="*/ 96 w 107"/>
                <a:gd name="T29" fmla="*/ 64 h 107"/>
                <a:gd name="T30" fmla="*/ 107 w 107"/>
                <a:gd name="T31" fmla="*/ 53 h 107"/>
                <a:gd name="T32" fmla="*/ 96 w 107"/>
                <a:gd name="T33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7" h="107">
                  <a:moveTo>
                    <a:pt x="96" y="43"/>
                  </a:moveTo>
                  <a:cubicBezTo>
                    <a:pt x="64" y="43"/>
                    <a:pt x="64" y="43"/>
                    <a:pt x="64" y="43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4" y="5"/>
                    <a:pt x="59" y="0"/>
                    <a:pt x="53" y="0"/>
                  </a:cubicBezTo>
                  <a:cubicBezTo>
                    <a:pt x="47" y="0"/>
                    <a:pt x="43" y="5"/>
                    <a:pt x="43" y="11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5" y="43"/>
                    <a:pt x="0" y="47"/>
                    <a:pt x="0" y="53"/>
                  </a:cubicBezTo>
                  <a:cubicBezTo>
                    <a:pt x="0" y="59"/>
                    <a:pt x="5" y="64"/>
                    <a:pt x="11" y="64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43" y="96"/>
                    <a:pt x="43" y="96"/>
                    <a:pt x="43" y="96"/>
                  </a:cubicBezTo>
                  <a:cubicBezTo>
                    <a:pt x="43" y="102"/>
                    <a:pt x="47" y="107"/>
                    <a:pt x="53" y="107"/>
                  </a:cubicBezTo>
                  <a:cubicBezTo>
                    <a:pt x="59" y="107"/>
                    <a:pt x="64" y="102"/>
                    <a:pt x="64" y="96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96" y="64"/>
                    <a:pt x="96" y="64"/>
                    <a:pt x="96" y="64"/>
                  </a:cubicBezTo>
                  <a:cubicBezTo>
                    <a:pt x="102" y="64"/>
                    <a:pt x="107" y="59"/>
                    <a:pt x="107" y="53"/>
                  </a:cubicBezTo>
                  <a:cubicBezTo>
                    <a:pt x="107" y="47"/>
                    <a:pt x="102" y="43"/>
                    <a:pt x="96" y="43"/>
                  </a:cubicBezTo>
                  <a:close/>
                </a:path>
              </a:pathLst>
            </a:custGeom>
            <a:grpFill/>
            <a:ln>
              <a:solidFill>
                <a:srgbClr val="007600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927"/>
            <p:cNvSpPr>
              <a:spLocks noEditPoints="1"/>
            </p:cNvSpPr>
            <p:nvPr/>
          </p:nvSpPr>
          <p:spPr bwMode="auto">
            <a:xfrm>
              <a:off x="1224" y="3504"/>
              <a:ext cx="192" cy="191"/>
            </a:xfrm>
            <a:custGeom>
              <a:avLst/>
              <a:gdLst>
                <a:gd name="T0" fmla="*/ 189 w 289"/>
                <a:gd name="T1" fmla="*/ 174 h 288"/>
                <a:gd name="T2" fmla="*/ 213 w 289"/>
                <a:gd name="T3" fmla="*/ 106 h 288"/>
                <a:gd name="T4" fmla="*/ 106 w 289"/>
                <a:gd name="T5" fmla="*/ 0 h 288"/>
                <a:gd name="T6" fmla="*/ 0 w 289"/>
                <a:gd name="T7" fmla="*/ 106 h 288"/>
                <a:gd name="T8" fmla="*/ 106 w 289"/>
                <a:gd name="T9" fmla="*/ 213 h 288"/>
                <a:gd name="T10" fmla="*/ 174 w 289"/>
                <a:gd name="T11" fmla="*/ 189 h 288"/>
                <a:gd name="T12" fmla="*/ 269 w 289"/>
                <a:gd name="T13" fmla="*/ 285 h 288"/>
                <a:gd name="T14" fmla="*/ 277 w 289"/>
                <a:gd name="T15" fmla="*/ 288 h 288"/>
                <a:gd name="T16" fmla="*/ 285 w 289"/>
                <a:gd name="T17" fmla="*/ 285 h 288"/>
                <a:gd name="T18" fmla="*/ 285 w 289"/>
                <a:gd name="T19" fmla="*/ 269 h 288"/>
                <a:gd name="T20" fmla="*/ 189 w 289"/>
                <a:gd name="T21" fmla="*/ 174 h 288"/>
                <a:gd name="T22" fmla="*/ 106 w 289"/>
                <a:gd name="T23" fmla="*/ 192 h 288"/>
                <a:gd name="T24" fmla="*/ 21 w 289"/>
                <a:gd name="T25" fmla="*/ 106 h 288"/>
                <a:gd name="T26" fmla="*/ 106 w 289"/>
                <a:gd name="T27" fmla="*/ 21 h 288"/>
                <a:gd name="T28" fmla="*/ 192 w 289"/>
                <a:gd name="T29" fmla="*/ 106 h 288"/>
                <a:gd name="T30" fmla="*/ 106 w 289"/>
                <a:gd name="T31" fmla="*/ 19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9" h="288">
                  <a:moveTo>
                    <a:pt x="189" y="174"/>
                  </a:moveTo>
                  <a:cubicBezTo>
                    <a:pt x="204" y="155"/>
                    <a:pt x="213" y="132"/>
                    <a:pt x="213" y="106"/>
                  </a:cubicBezTo>
                  <a:cubicBezTo>
                    <a:pt x="213" y="48"/>
                    <a:pt x="165" y="0"/>
                    <a:pt x="106" y="0"/>
                  </a:cubicBezTo>
                  <a:cubicBezTo>
                    <a:pt x="48" y="0"/>
                    <a:pt x="0" y="48"/>
                    <a:pt x="0" y="106"/>
                  </a:cubicBezTo>
                  <a:cubicBezTo>
                    <a:pt x="0" y="165"/>
                    <a:pt x="48" y="213"/>
                    <a:pt x="106" y="213"/>
                  </a:cubicBezTo>
                  <a:cubicBezTo>
                    <a:pt x="132" y="213"/>
                    <a:pt x="155" y="204"/>
                    <a:pt x="174" y="189"/>
                  </a:cubicBezTo>
                  <a:cubicBezTo>
                    <a:pt x="269" y="285"/>
                    <a:pt x="269" y="285"/>
                    <a:pt x="269" y="285"/>
                  </a:cubicBezTo>
                  <a:cubicBezTo>
                    <a:pt x="272" y="287"/>
                    <a:pt x="274" y="288"/>
                    <a:pt x="277" y="288"/>
                  </a:cubicBezTo>
                  <a:cubicBezTo>
                    <a:pt x="280" y="288"/>
                    <a:pt x="282" y="287"/>
                    <a:pt x="285" y="285"/>
                  </a:cubicBezTo>
                  <a:cubicBezTo>
                    <a:pt x="289" y="280"/>
                    <a:pt x="289" y="274"/>
                    <a:pt x="285" y="269"/>
                  </a:cubicBezTo>
                  <a:lnTo>
                    <a:pt x="189" y="174"/>
                  </a:lnTo>
                  <a:close/>
                  <a:moveTo>
                    <a:pt x="106" y="192"/>
                  </a:moveTo>
                  <a:cubicBezTo>
                    <a:pt x="59" y="192"/>
                    <a:pt x="21" y="153"/>
                    <a:pt x="21" y="106"/>
                  </a:cubicBezTo>
                  <a:cubicBezTo>
                    <a:pt x="21" y="59"/>
                    <a:pt x="59" y="21"/>
                    <a:pt x="106" y="21"/>
                  </a:cubicBezTo>
                  <a:cubicBezTo>
                    <a:pt x="153" y="21"/>
                    <a:pt x="192" y="59"/>
                    <a:pt x="192" y="106"/>
                  </a:cubicBezTo>
                  <a:cubicBezTo>
                    <a:pt x="192" y="153"/>
                    <a:pt x="153" y="192"/>
                    <a:pt x="106" y="192"/>
                  </a:cubicBezTo>
                  <a:close/>
                </a:path>
              </a:pathLst>
            </a:custGeom>
            <a:grpFill/>
            <a:ln>
              <a:solidFill>
                <a:srgbClr val="007600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928"/>
            <p:cNvSpPr>
              <a:spLocks noEditPoints="1"/>
            </p:cNvSpPr>
            <p:nvPr/>
          </p:nvSpPr>
          <p:spPr bwMode="auto">
            <a:xfrm>
              <a:off x="1152" y="3440"/>
              <a:ext cx="348" cy="328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solidFill>
                <a:srgbClr val="007600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0" name="Rectangle 19"/>
          <p:cNvSpPr/>
          <p:nvPr/>
        </p:nvSpPr>
        <p:spPr>
          <a:xfrm>
            <a:off x="2038350" y="2527035"/>
            <a:ext cx="7681913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&lt;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Configurazione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           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&lt;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InvioSdi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false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&lt;/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InvioSdi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          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&lt;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InvioPeppol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false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&lt;/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InvioPeppol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        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&lt;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InvioConservazione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true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&lt;/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InvioConservazione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         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&lt;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ApprovazioneAutomatica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true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&lt;/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ApprovazioneAutomatica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         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&lt;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AccettaChiaveDuplicata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false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&lt;/</a:t>
            </a:r>
            <a:r>
              <a:rPr 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AccettaChiaveDuplicata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&lt;/</a:t>
            </a:r>
            <a:r>
              <a:rPr 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Configurazione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1" name="Group 650"/>
          <p:cNvGrpSpPr>
            <a:grpSpLocks noChangeAspect="1"/>
          </p:cNvGrpSpPr>
          <p:nvPr/>
        </p:nvGrpSpPr>
        <p:grpSpPr bwMode="auto">
          <a:xfrm>
            <a:off x="1088074" y="2167035"/>
            <a:ext cx="360000" cy="360000"/>
            <a:chOff x="6224" y="2372"/>
            <a:chExt cx="340" cy="340"/>
          </a:xfrm>
          <a:solidFill>
            <a:srgbClr val="007600"/>
          </a:solidFill>
        </p:grpSpPr>
        <p:sp>
          <p:nvSpPr>
            <p:cNvPr id="22" name="Freeform 651"/>
            <p:cNvSpPr>
              <a:spLocks noEditPoints="1"/>
            </p:cNvSpPr>
            <p:nvPr/>
          </p:nvSpPr>
          <p:spPr bwMode="auto">
            <a:xfrm>
              <a:off x="6330" y="2450"/>
              <a:ext cx="128" cy="184"/>
            </a:xfrm>
            <a:custGeom>
              <a:avLst/>
              <a:gdLst>
                <a:gd name="T0" fmla="*/ 117 w 192"/>
                <a:gd name="T1" fmla="*/ 64 h 277"/>
                <a:gd name="T2" fmla="*/ 117 w 192"/>
                <a:gd name="T3" fmla="*/ 0 h 277"/>
                <a:gd name="T4" fmla="*/ 0 w 192"/>
                <a:gd name="T5" fmla="*/ 0 h 277"/>
                <a:gd name="T6" fmla="*/ 0 w 192"/>
                <a:gd name="T7" fmla="*/ 277 h 277"/>
                <a:gd name="T8" fmla="*/ 192 w 192"/>
                <a:gd name="T9" fmla="*/ 277 h 277"/>
                <a:gd name="T10" fmla="*/ 192 w 192"/>
                <a:gd name="T11" fmla="*/ 75 h 277"/>
                <a:gd name="T12" fmla="*/ 128 w 192"/>
                <a:gd name="T13" fmla="*/ 75 h 277"/>
                <a:gd name="T14" fmla="*/ 117 w 192"/>
                <a:gd name="T15" fmla="*/ 64 h 277"/>
                <a:gd name="T16" fmla="*/ 21 w 192"/>
                <a:gd name="T17" fmla="*/ 128 h 277"/>
                <a:gd name="T18" fmla="*/ 26 w 192"/>
                <a:gd name="T19" fmla="*/ 119 h 277"/>
                <a:gd name="T20" fmla="*/ 58 w 192"/>
                <a:gd name="T21" fmla="*/ 98 h 277"/>
                <a:gd name="T22" fmla="*/ 73 w 192"/>
                <a:gd name="T23" fmla="*/ 101 h 277"/>
                <a:gd name="T24" fmla="*/ 70 w 192"/>
                <a:gd name="T25" fmla="*/ 116 h 277"/>
                <a:gd name="T26" fmla="*/ 51 w 192"/>
                <a:gd name="T27" fmla="*/ 128 h 277"/>
                <a:gd name="T28" fmla="*/ 70 w 192"/>
                <a:gd name="T29" fmla="*/ 140 h 277"/>
                <a:gd name="T30" fmla="*/ 73 w 192"/>
                <a:gd name="T31" fmla="*/ 155 h 277"/>
                <a:gd name="T32" fmla="*/ 64 w 192"/>
                <a:gd name="T33" fmla="*/ 160 h 277"/>
                <a:gd name="T34" fmla="*/ 58 w 192"/>
                <a:gd name="T35" fmla="*/ 158 h 277"/>
                <a:gd name="T36" fmla="*/ 26 w 192"/>
                <a:gd name="T37" fmla="*/ 137 h 277"/>
                <a:gd name="T38" fmla="*/ 21 w 192"/>
                <a:gd name="T39" fmla="*/ 128 h 277"/>
                <a:gd name="T40" fmla="*/ 170 w 192"/>
                <a:gd name="T41" fmla="*/ 203 h 277"/>
                <a:gd name="T42" fmla="*/ 166 w 192"/>
                <a:gd name="T43" fmla="*/ 212 h 277"/>
                <a:gd name="T44" fmla="*/ 134 w 192"/>
                <a:gd name="T45" fmla="*/ 233 h 277"/>
                <a:gd name="T46" fmla="*/ 128 w 192"/>
                <a:gd name="T47" fmla="*/ 235 h 277"/>
                <a:gd name="T48" fmla="*/ 119 w 192"/>
                <a:gd name="T49" fmla="*/ 230 h 277"/>
                <a:gd name="T50" fmla="*/ 122 w 192"/>
                <a:gd name="T51" fmla="*/ 215 h 277"/>
                <a:gd name="T52" fmla="*/ 140 w 192"/>
                <a:gd name="T53" fmla="*/ 203 h 277"/>
                <a:gd name="T54" fmla="*/ 122 w 192"/>
                <a:gd name="T55" fmla="*/ 190 h 277"/>
                <a:gd name="T56" fmla="*/ 119 w 192"/>
                <a:gd name="T57" fmla="*/ 175 h 277"/>
                <a:gd name="T58" fmla="*/ 134 w 192"/>
                <a:gd name="T59" fmla="*/ 172 h 277"/>
                <a:gd name="T60" fmla="*/ 166 w 192"/>
                <a:gd name="T61" fmla="*/ 194 h 277"/>
                <a:gd name="T62" fmla="*/ 170 w 192"/>
                <a:gd name="T63" fmla="*/ 203 h 277"/>
                <a:gd name="T64" fmla="*/ 134 w 192"/>
                <a:gd name="T65" fmla="*/ 108 h 277"/>
                <a:gd name="T66" fmla="*/ 137 w 192"/>
                <a:gd name="T67" fmla="*/ 123 h 277"/>
                <a:gd name="T68" fmla="*/ 73 w 192"/>
                <a:gd name="T69" fmla="*/ 219 h 277"/>
                <a:gd name="T70" fmla="*/ 64 w 192"/>
                <a:gd name="T71" fmla="*/ 224 h 277"/>
                <a:gd name="T72" fmla="*/ 58 w 192"/>
                <a:gd name="T73" fmla="*/ 222 h 277"/>
                <a:gd name="T74" fmla="*/ 55 w 192"/>
                <a:gd name="T75" fmla="*/ 207 h 277"/>
                <a:gd name="T76" fmla="*/ 119 w 192"/>
                <a:gd name="T77" fmla="*/ 111 h 277"/>
                <a:gd name="T78" fmla="*/ 134 w 192"/>
                <a:gd name="T79" fmla="*/ 108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2" h="277">
                  <a:moveTo>
                    <a:pt x="117" y="64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192" y="277"/>
                    <a:pt x="192" y="277"/>
                    <a:pt x="192" y="277"/>
                  </a:cubicBezTo>
                  <a:cubicBezTo>
                    <a:pt x="192" y="75"/>
                    <a:pt x="192" y="75"/>
                    <a:pt x="192" y="75"/>
                  </a:cubicBezTo>
                  <a:cubicBezTo>
                    <a:pt x="128" y="75"/>
                    <a:pt x="128" y="75"/>
                    <a:pt x="128" y="75"/>
                  </a:cubicBezTo>
                  <a:cubicBezTo>
                    <a:pt x="122" y="75"/>
                    <a:pt x="117" y="70"/>
                    <a:pt x="117" y="64"/>
                  </a:cubicBezTo>
                  <a:close/>
                  <a:moveTo>
                    <a:pt x="21" y="128"/>
                  </a:moveTo>
                  <a:cubicBezTo>
                    <a:pt x="21" y="124"/>
                    <a:pt x="23" y="121"/>
                    <a:pt x="26" y="119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63" y="95"/>
                    <a:pt x="69" y="96"/>
                    <a:pt x="73" y="101"/>
                  </a:cubicBezTo>
                  <a:cubicBezTo>
                    <a:pt x="76" y="106"/>
                    <a:pt x="74" y="112"/>
                    <a:pt x="70" y="116"/>
                  </a:cubicBezTo>
                  <a:cubicBezTo>
                    <a:pt x="51" y="128"/>
                    <a:pt x="51" y="128"/>
                    <a:pt x="51" y="128"/>
                  </a:cubicBezTo>
                  <a:cubicBezTo>
                    <a:pt x="70" y="140"/>
                    <a:pt x="70" y="140"/>
                    <a:pt x="70" y="140"/>
                  </a:cubicBezTo>
                  <a:cubicBezTo>
                    <a:pt x="74" y="144"/>
                    <a:pt x="76" y="150"/>
                    <a:pt x="73" y="155"/>
                  </a:cubicBezTo>
                  <a:cubicBezTo>
                    <a:pt x="70" y="158"/>
                    <a:pt x="67" y="160"/>
                    <a:pt x="64" y="160"/>
                  </a:cubicBezTo>
                  <a:cubicBezTo>
                    <a:pt x="62" y="160"/>
                    <a:pt x="60" y="159"/>
                    <a:pt x="58" y="158"/>
                  </a:cubicBezTo>
                  <a:cubicBezTo>
                    <a:pt x="26" y="137"/>
                    <a:pt x="26" y="137"/>
                    <a:pt x="26" y="137"/>
                  </a:cubicBezTo>
                  <a:cubicBezTo>
                    <a:pt x="23" y="135"/>
                    <a:pt x="21" y="132"/>
                    <a:pt x="21" y="128"/>
                  </a:cubicBezTo>
                  <a:close/>
                  <a:moveTo>
                    <a:pt x="170" y="203"/>
                  </a:moveTo>
                  <a:cubicBezTo>
                    <a:pt x="170" y="206"/>
                    <a:pt x="169" y="210"/>
                    <a:pt x="166" y="212"/>
                  </a:cubicBezTo>
                  <a:cubicBezTo>
                    <a:pt x="134" y="233"/>
                    <a:pt x="134" y="233"/>
                    <a:pt x="134" y="233"/>
                  </a:cubicBezTo>
                  <a:cubicBezTo>
                    <a:pt x="132" y="234"/>
                    <a:pt x="130" y="235"/>
                    <a:pt x="128" y="235"/>
                  </a:cubicBezTo>
                  <a:cubicBezTo>
                    <a:pt x="124" y="235"/>
                    <a:pt x="121" y="233"/>
                    <a:pt x="119" y="230"/>
                  </a:cubicBezTo>
                  <a:cubicBezTo>
                    <a:pt x="116" y="225"/>
                    <a:pt x="117" y="218"/>
                    <a:pt x="122" y="21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17" y="187"/>
                    <a:pt x="116" y="180"/>
                    <a:pt x="119" y="175"/>
                  </a:cubicBezTo>
                  <a:cubicBezTo>
                    <a:pt x="122" y="171"/>
                    <a:pt x="129" y="169"/>
                    <a:pt x="134" y="172"/>
                  </a:cubicBezTo>
                  <a:cubicBezTo>
                    <a:pt x="166" y="194"/>
                    <a:pt x="166" y="194"/>
                    <a:pt x="166" y="194"/>
                  </a:cubicBezTo>
                  <a:cubicBezTo>
                    <a:pt x="169" y="196"/>
                    <a:pt x="170" y="199"/>
                    <a:pt x="170" y="203"/>
                  </a:cubicBezTo>
                  <a:close/>
                  <a:moveTo>
                    <a:pt x="134" y="108"/>
                  </a:moveTo>
                  <a:cubicBezTo>
                    <a:pt x="138" y="112"/>
                    <a:pt x="140" y="118"/>
                    <a:pt x="137" y="123"/>
                  </a:cubicBezTo>
                  <a:cubicBezTo>
                    <a:pt x="73" y="219"/>
                    <a:pt x="73" y="219"/>
                    <a:pt x="73" y="219"/>
                  </a:cubicBezTo>
                  <a:cubicBezTo>
                    <a:pt x="70" y="222"/>
                    <a:pt x="67" y="224"/>
                    <a:pt x="64" y="224"/>
                  </a:cubicBezTo>
                  <a:cubicBezTo>
                    <a:pt x="62" y="224"/>
                    <a:pt x="60" y="223"/>
                    <a:pt x="58" y="222"/>
                  </a:cubicBezTo>
                  <a:cubicBezTo>
                    <a:pt x="53" y="219"/>
                    <a:pt x="52" y="212"/>
                    <a:pt x="55" y="207"/>
                  </a:cubicBezTo>
                  <a:cubicBezTo>
                    <a:pt x="119" y="111"/>
                    <a:pt x="119" y="111"/>
                    <a:pt x="119" y="111"/>
                  </a:cubicBezTo>
                  <a:cubicBezTo>
                    <a:pt x="122" y="107"/>
                    <a:pt x="129" y="105"/>
                    <a:pt x="134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652"/>
            <p:cNvSpPr>
              <a:spLocks noEditPoints="1"/>
            </p:cNvSpPr>
            <p:nvPr/>
          </p:nvSpPr>
          <p:spPr bwMode="auto">
            <a:xfrm>
              <a:off x="6224" y="2372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73 w 512"/>
                <a:gd name="T11" fmla="*/ 181 h 512"/>
                <a:gd name="T12" fmla="*/ 373 w 512"/>
                <a:gd name="T13" fmla="*/ 405 h 512"/>
                <a:gd name="T14" fmla="*/ 362 w 512"/>
                <a:gd name="T15" fmla="*/ 416 h 512"/>
                <a:gd name="T16" fmla="*/ 149 w 512"/>
                <a:gd name="T17" fmla="*/ 416 h 512"/>
                <a:gd name="T18" fmla="*/ 138 w 512"/>
                <a:gd name="T19" fmla="*/ 405 h 512"/>
                <a:gd name="T20" fmla="*/ 138 w 512"/>
                <a:gd name="T21" fmla="*/ 106 h 512"/>
                <a:gd name="T22" fmla="*/ 149 w 512"/>
                <a:gd name="T23" fmla="*/ 96 h 512"/>
                <a:gd name="T24" fmla="*/ 288 w 512"/>
                <a:gd name="T25" fmla="*/ 96 h 512"/>
                <a:gd name="T26" fmla="*/ 295 w 512"/>
                <a:gd name="T27" fmla="*/ 98 h 512"/>
                <a:gd name="T28" fmla="*/ 295 w 512"/>
                <a:gd name="T29" fmla="*/ 98 h 512"/>
                <a:gd name="T30" fmla="*/ 295 w 512"/>
                <a:gd name="T31" fmla="*/ 98 h 512"/>
                <a:gd name="T32" fmla="*/ 295 w 512"/>
                <a:gd name="T33" fmla="*/ 99 h 512"/>
                <a:gd name="T34" fmla="*/ 370 w 512"/>
                <a:gd name="T35" fmla="*/ 173 h 512"/>
                <a:gd name="T36" fmla="*/ 372 w 512"/>
                <a:gd name="T37" fmla="*/ 177 h 512"/>
                <a:gd name="T38" fmla="*/ 373 w 512"/>
                <a:gd name="T39" fmla="*/ 181 h 512"/>
                <a:gd name="T40" fmla="*/ 373 w 512"/>
                <a:gd name="T41" fmla="*/ 18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73" y="181"/>
                  </a:moveTo>
                  <a:cubicBezTo>
                    <a:pt x="373" y="405"/>
                    <a:pt x="373" y="405"/>
                    <a:pt x="373" y="405"/>
                  </a:cubicBez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106"/>
                    <a:pt x="138" y="106"/>
                    <a:pt x="138" y="106"/>
                  </a:cubicBezTo>
                  <a:cubicBezTo>
                    <a:pt x="138" y="100"/>
                    <a:pt x="143" y="96"/>
                    <a:pt x="149" y="96"/>
                  </a:cubicBezTo>
                  <a:cubicBezTo>
                    <a:pt x="288" y="96"/>
                    <a:pt x="288" y="96"/>
                    <a:pt x="288" y="96"/>
                  </a:cubicBezTo>
                  <a:cubicBezTo>
                    <a:pt x="290" y="96"/>
                    <a:pt x="293" y="97"/>
                    <a:pt x="295" y="98"/>
                  </a:cubicBezTo>
                  <a:cubicBezTo>
                    <a:pt x="295" y="98"/>
                    <a:pt x="295" y="98"/>
                    <a:pt x="295" y="98"/>
                  </a:cubicBezTo>
                  <a:cubicBezTo>
                    <a:pt x="295" y="98"/>
                    <a:pt x="295" y="98"/>
                    <a:pt x="295" y="98"/>
                  </a:cubicBezTo>
                  <a:cubicBezTo>
                    <a:pt x="295" y="99"/>
                    <a:pt x="295" y="99"/>
                    <a:pt x="295" y="99"/>
                  </a:cubicBezTo>
                  <a:cubicBezTo>
                    <a:pt x="370" y="173"/>
                    <a:pt x="370" y="173"/>
                    <a:pt x="370" y="173"/>
                  </a:cubicBezTo>
                  <a:cubicBezTo>
                    <a:pt x="371" y="174"/>
                    <a:pt x="372" y="176"/>
                    <a:pt x="372" y="177"/>
                  </a:cubicBezTo>
                  <a:cubicBezTo>
                    <a:pt x="373" y="178"/>
                    <a:pt x="373" y="180"/>
                    <a:pt x="373" y="181"/>
                  </a:cubicBezTo>
                  <a:cubicBezTo>
                    <a:pt x="373" y="181"/>
                    <a:pt x="373" y="181"/>
                    <a:pt x="373" y="1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653"/>
            <p:cNvSpPr>
              <a:spLocks/>
            </p:cNvSpPr>
            <p:nvPr/>
          </p:nvSpPr>
          <p:spPr bwMode="auto">
            <a:xfrm>
              <a:off x="6422" y="2460"/>
              <a:ext cx="26" cy="25"/>
            </a:xfrm>
            <a:custGeom>
              <a:avLst/>
              <a:gdLst>
                <a:gd name="T0" fmla="*/ 0 w 26"/>
                <a:gd name="T1" fmla="*/ 0 h 25"/>
                <a:gd name="T2" fmla="*/ 0 w 26"/>
                <a:gd name="T3" fmla="*/ 25 h 25"/>
                <a:gd name="T4" fmla="*/ 26 w 26"/>
                <a:gd name="T5" fmla="*/ 25 h 25"/>
                <a:gd name="T6" fmla="*/ 0 w 26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5">
                  <a:moveTo>
                    <a:pt x="0" y="0"/>
                  </a:moveTo>
                  <a:lnTo>
                    <a:pt x="0" y="25"/>
                  </a:lnTo>
                  <a:lnTo>
                    <a:pt x="26" y="2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224141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36</a:t>
            </a:fld>
            <a:endParaRPr lang="it-IT" altLang="it-IT" dirty="0"/>
          </a:p>
        </p:txBody>
      </p:sp>
      <p:sp>
        <p:nvSpPr>
          <p:cNvPr id="84" name="Rectangle 4"/>
          <p:cNvSpPr>
            <a:spLocks noChangeArrowheads="1"/>
          </p:cNvSpPr>
          <p:nvPr/>
        </p:nvSpPr>
        <p:spPr bwMode="auto">
          <a:xfrm>
            <a:off x="1235895" y="129762"/>
            <a:ext cx="832561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it-IT" altLang="it-IT" sz="2800" b="1" dirty="0">
                <a:solidFill>
                  <a:schemeClr val="bg1"/>
                </a:solidFill>
                <a:latin typeface="Calibri" panose="020F0502020204030204" pitchFamily="34" charset="0"/>
              </a:rPr>
              <a:t>Nuovi obblighi normativi </a:t>
            </a:r>
            <a:endParaRPr lang="it-IT" altLang="it-IT" sz="1200" b="1" dirty="0">
              <a:solidFill>
                <a:srgbClr val="0066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2125473"/>
              </p:ext>
            </p:extLst>
          </p:nvPr>
        </p:nvGraphicFramePr>
        <p:xfrm>
          <a:off x="1173164" y="1015999"/>
          <a:ext cx="8280000" cy="526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0000">
                  <a:extLst>
                    <a:ext uri="{9D8B030D-6E8A-4147-A177-3AD203B41FA5}">
                      <a16:colId xmlns:a16="http://schemas.microsoft.com/office/drawing/2014/main" val="3477754421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745314478"/>
                    </a:ext>
                  </a:extLst>
                </a:gridCol>
                <a:gridCol w="3960000">
                  <a:extLst>
                    <a:ext uri="{9D8B030D-6E8A-4147-A177-3AD203B41FA5}">
                      <a16:colId xmlns:a16="http://schemas.microsoft.com/office/drawing/2014/main" val="362195987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it-IT" sz="1600" dirty="0">
                          <a:solidFill>
                            <a:schemeClr val="bg1"/>
                          </a:solidFill>
                        </a:rPr>
                        <a:t>Pubblica amministrazione</a:t>
                      </a:r>
                      <a:endParaRPr lang="en-US" sz="1600" dirty="0">
                        <a:solidFill>
                          <a:schemeClr val="bg1"/>
                        </a:solidFill>
                      </a:endParaRPr>
                    </a:p>
                  </a:txBody>
                  <a:tcPr marL="122400" marR="122400" marT="122400" marB="12240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bg1"/>
                        </a:solidFill>
                      </a:endParaRPr>
                    </a:p>
                  </a:txBody>
                  <a:tcPr marL="122400" marR="122400" marT="122400" marB="12240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dirty="0">
                          <a:solidFill>
                            <a:schemeClr val="bg1"/>
                          </a:solidFill>
                        </a:rPr>
                        <a:t>Privati</a:t>
                      </a:r>
                      <a:endParaRPr lang="en-US" sz="1600" dirty="0">
                        <a:solidFill>
                          <a:schemeClr val="bg1"/>
                        </a:solidFill>
                      </a:endParaRPr>
                    </a:p>
                  </a:txBody>
                  <a:tcPr marL="122400" marR="122400" marT="122400" marB="12240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D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6740364"/>
                  </a:ext>
                </a:extLst>
              </a:tr>
              <a:tr h="0">
                <a:tc gridSpan="3">
                  <a:txBody>
                    <a:bodyPr/>
                    <a:lstStyle/>
                    <a:p>
                      <a:pPr marL="180000" indent="-180000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Le </a:t>
                      </a:r>
                      <a:r>
                        <a:rPr lang="it-IT" sz="1400" b="1" dirty="0">
                          <a:solidFill>
                            <a:schemeClr val="tx1"/>
                          </a:solidFill>
                        </a:rPr>
                        <a:t>regole tecniche </a:t>
                      </a: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definite nel provvedimento </a:t>
                      </a:r>
                      <a:r>
                        <a:rPr lang="it-IT" sz="1400" b="1" dirty="0">
                          <a:solidFill>
                            <a:schemeClr val="tx1"/>
                          </a:solidFill>
                        </a:rPr>
                        <a:t>Agenzia delle Entrate del 30 aprile </a:t>
                      </a:r>
                      <a:r>
                        <a:rPr lang="it-IT" sz="1400" b="1" dirty="0" smtClean="0">
                          <a:solidFill>
                            <a:schemeClr val="tx1"/>
                          </a:solidFill>
                        </a:rPr>
                        <a:t>2018 </a:t>
                      </a: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sono valide solo per le FE tra privati </a:t>
                      </a:r>
                      <a:r>
                        <a:rPr lang="it-IT" sz="1400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it-IT" sz="1400" b="1" dirty="0" smtClean="0">
                          <a:solidFill>
                            <a:schemeClr val="tx1"/>
                          </a:solidFill>
                        </a:rPr>
                        <a:t>G2B, G2C</a:t>
                      </a: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marL="122400" marR="122400" marT="122400" marB="122400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6622211"/>
                  </a:ext>
                </a:extLst>
              </a:tr>
              <a:tr h="0">
                <a:tc gridSpan="3">
                  <a:txBody>
                    <a:bodyPr/>
                    <a:lstStyle/>
                    <a:p>
                      <a:pPr marL="180000" indent="-180000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Per le fatture elettroniche emesse nei confronti delle Pubbliche Amministrazioni (</a:t>
                      </a:r>
                      <a:r>
                        <a:rPr lang="it-IT" sz="1400" b="1" dirty="0" smtClean="0">
                          <a:solidFill>
                            <a:schemeClr val="tx1"/>
                          </a:solidFill>
                        </a:rPr>
                        <a:t>B2G, G2G</a:t>
                      </a:r>
                      <a:r>
                        <a:rPr lang="it-IT" sz="1400" dirty="0" smtClean="0">
                          <a:solidFill>
                            <a:schemeClr val="tx1"/>
                          </a:solidFill>
                        </a:rPr>
                        <a:t>) </a:t>
                      </a: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restano valide le </a:t>
                      </a:r>
                      <a:r>
                        <a:rPr lang="it-IT" sz="1400" b="1" dirty="0">
                          <a:solidFill>
                            <a:schemeClr val="tx1"/>
                          </a:solidFill>
                        </a:rPr>
                        <a:t>disposizioni</a:t>
                      </a: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 e le </a:t>
                      </a:r>
                      <a:r>
                        <a:rPr lang="it-IT" sz="1400" b="1" dirty="0">
                          <a:solidFill>
                            <a:schemeClr val="tx1"/>
                          </a:solidFill>
                        </a:rPr>
                        <a:t>regole</a:t>
                      </a: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 tecniche di cui al </a:t>
                      </a:r>
                      <a:r>
                        <a:rPr lang="it-IT" sz="1400" b="1" dirty="0">
                          <a:solidFill>
                            <a:schemeClr val="tx1"/>
                          </a:solidFill>
                        </a:rPr>
                        <a:t>DM 55/2013.</a:t>
                      </a:r>
                    </a:p>
                  </a:txBody>
                  <a:tcPr marL="122400" marR="122400" marT="122400" marB="122400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6374564"/>
                  </a:ext>
                </a:extLst>
              </a:tr>
              <a:tr h="2664000">
                <a:tc>
                  <a:txBody>
                    <a:bodyPr/>
                    <a:lstStyle/>
                    <a:p>
                      <a:pPr marL="0" indent="0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it-IT" sz="1400" b="1" dirty="0">
                          <a:solidFill>
                            <a:schemeClr val="tx1"/>
                          </a:solidFill>
                        </a:rPr>
                        <a:t>Caratteristiche</a:t>
                      </a:r>
                      <a:r>
                        <a:rPr lang="it-IT" sz="1400" b="1" baseline="0" dirty="0">
                          <a:solidFill>
                            <a:schemeClr val="tx1"/>
                          </a:solidFill>
                        </a:rPr>
                        <a:t> FE:</a:t>
                      </a:r>
                      <a:endParaRPr lang="it-IT" sz="1400" b="1" dirty="0">
                        <a:solidFill>
                          <a:schemeClr val="tx1"/>
                        </a:solidFill>
                      </a:endParaRPr>
                    </a:p>
                    <a:p>
                      <a:pPr marL="180000" indent="-18000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400" b="1" dirty="0">
                          <a:solidFill>
                            <a:schemeClr val="tx1"/>
                          </a:solidFill>
                        </a:rPr>
                        <a:t>Codice Destinatario </a:t>
                      </a: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valorizzato sempre con codice </a:t>
                      </a:r>
                      <a:r>
                        <a:rPr lang="it-IT" sz="1400" dirty="0" smtClean="0">
                          <a:solidFill>
                            <a:schemeClr val="tx1"/>
                          </a:solidFill>
                        </a:rPr>
                        <a:t>UFE/IPA </a:t>
                      </a: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(6 caratteri)</a:t>
                      </a:r>
                    </a:p>
                    <a:p>
                      <a:pPr marL="180000" indent="-18000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Obbligo di firma digitale della FE</a:t>
                      </a:r>
                    </a:p>
                    <a:p>
                      <a:pPr marL="180000" indent="-18000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400" b="1" dirty="0">
                          <a:solidFill>
                            <a:schemeClr val="tx1"/>
                          </a:solidFill>
                        </a:rPr>
                        <a:t>Possibilità</a:t>
                      </a: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 di gestire </a:t>
                      </a:r>
                      <a:r>
                        <a:rPr lang="it-IT" sz="1400" b="1" dirty="0">
                          <a:solidFill>
                            <a:schemeClr val="tx1"/>
                          </a:solidFill>
                        </a:rPr>
                        <a:t>"notifiche esito" via SdI </a:t>
                      </a: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(rifiuto/accettazione)</a:t>
                      </a:r>
                    </a:p>
                    <a:p>
                      <a:pPr marL="180000" indent="-18000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400" b="1" dirty="0">
                          <a:solidFill>
                            <a:schemeClr val="tx1"/>
                          </a:solidFill>
                        </a:rPr>
                        <a:t>Termine</a:t>
                      </a: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 di </a:t>
                      </a:r>
                      <a:r>
                        <a:rPr lang="it-IT" sz="1400" b="1" dirty="0">
                          <a:solidFill>
                            <a:schemeClr val="tx1"/>
                          </a:solidFill>
                        </a:rPr>
                        <a:t>15 giorni </a:t>
                      </a: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azione SdI in caso di mancato rifiuto/accettazione</a:t>
                      </a:r>
                    </a:p>
                    <a:p>
                      <a:pPr marL="180000" indent="-18000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400" b="1" dirty="0">
                          <a:solidFill>
                            <a:schemeClr val="tx1"/>
                          </a:solidFill>
                        </a:rPr>
                        <a:t>Attestazione di mancato recapito </a:t>
                      </a: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esauriti i tentativi di consegna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122400" marR="122400" marT="122400" marB="122400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000" indent="-18000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122400" marR="122400" marT="122400" marB="122400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it-IT" sz="1400" b="1" dirty="0">
                          <a:solidFill>
                            <a:schemeClr val="tx1"/>
                          </a:solidFill>
                        </a:rPr>
                        <a:t>Caratteristiche</a:t>
                      </a:r>
                      <a:r>
                        <a:rPr lang="it-IT" sz="1400" b="1" baseline="0" dirty="0">
                          <a:solidFill>
                            <a:schemeClr val="tx1"/>
                          </a:solidFill>
                        </a:rPr>
                        <a:t> FE:</a:t>
                      </a:r>
                      <a:endParaRPr lang="it-IT" sz="1400" b="1" dirty="0">
                        <a:solidFill>
                          <a:schemeClr val="tx1"/>
                        </a:solidFill>
                      </a:endParaRPr>
                    </a:p>
                    <a:p>
                      <a:pPr marL="180000" indent="-18000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400" b="1" dirty="0">
                          <a:solidFill>
                            <a:schemeClr val="tx1"/>
                          </a:solidFill>
                        </a:rPr>
                        <a:t>Codice Destinatario </a:t>
                      </a: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valorizzato sempre con codice di 7 caratteri (in assenza, inserire "</a:t>
                      </a:r>
                      <a:r>
                        <a:rPr lang="it-IT" sz="1400" dirty="0" smtClean="0">
                          <a:solidFill>
                            <a:schemeClr val="tx1"/>
                          </a:solidFill>
                        </a:rPr>
                        <a:t>0000000" e valorizzare il campo</a:t>
                      </a:r>
                      <a:r>
                        <a:rPr lang="it-IT" sz="1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it-IT" sz="1400" dirty="0" smtClean="0">
                          <a:solidFill>
                            <a:schemeClr val="tx1"/>
                          </a:solidFill>
                        </a:rPr>
                        <a:t>PEC)</a:t>
                      </a:r>
                      <a:endParaRPr lang="it-IT" sz="1400" dirty="0">
                        <a:solidFill>
                          <a:schemeClr val="tx1"/>
                        </a:solidFill>
                      </a:endParaRPr>
                    </a:p>
                    <a:p>
                      <a:pPr marL="180000" indent="-18000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400" b="1" dirty="0">
                          <a:solidFill>
                            <a:schemeClr val="tx1"/>
                          </a:solidFill>
                        </a:rPr>
                        <a:t>Impossibilità</a:t>
                      </a: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 di gestire "</a:t>
                      </a:r>
                      <a:r>
                        <a:rPr lang="it-IT" sz="1400" b="1" dirty="0">
                          <a:solidFill>
                            <a:schemeClr val="tx1"/>
                          </a:solidFill>
                        </a:rPr>
                        <a:t>notifiche esito" via SdI </a:t>
                      </a: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(rifiuto/accettazione)</a:t>
                      </a:r>
                    </a:p>
                    <a:p>
                      <a:pPr marL="180000" indent="-18000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"Messa a disposizione" in </a:t>
                      </a:r>
                      <a:r>
                        <a:rPr lang="it-IT" sz="1400" b="1" dirty="0">
                          <a:solidFill>
                            <a:schemeClr val="tx1"/>
                          </a:solidFill>
                        </a:rPr>
                        <a:t>area riservata </a:t>
                      </a: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("Fatture &amp; Corrispettivi") del sito di Agenzia delle Entrate in caso di mancato recapito</a:t>
                      </a:r>
                    </a:p>
                  </a:txBody>
                  <a:tcPr marL="122400" marR="122400" marT="122400" marB="122400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621078"/>
                  </a:ext>
                </a:extLst>
              </a:tr>
              <a:tr h="0">
                <a:tc gridSpan="3">
                  <a:txBody>
                    <a:bodyPr/>
                    <a:lstStyle/>
                    <a:p>
                      <a:pPr marL="180000" indent="-180000">
                        <a:buFont typeface="Arial" panose="020B0604020202020204" pitchFamily="34" charset="0"/>
                        <a:buChar char="•"/>
                      </a:pP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Tutte le FE (PA e privati) saranno consultabili nell’</a:t>
                      </a:r>
                      <a:r>
                        <a:rPr lang="it-IT" sz="1400" b="1" dirty="0">
                          <a:solidFill>
                            <a:schemeClr val="tx1"/>
                          </a:solidFill>
                        </a:rPr>
                        <a:t>area riservata </a:t>
                      </a: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e sarà possibile utilizzare il </a:t>
                      </a:r>
                      <a:r>
                        <a:rPr lang="it-IT" sz="1400" b="1" dirty="0">
                          <a:solidFill>
                            <a:schemeClr val="tx1"/>
                          </a:solidFill>
                        </a:rPr>
                        <a:t>servizio</a:t>
                      </a: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 di </a:t>
                      </a:r>
                      <a:r>
                        <a:rPr lang="it-IT" sz="1400" b="1" dirty="0">
                          <a:solidFill>
                            <a:schemeClr val="tx1"/>
                          </a:solidFill>
                        </a:rPr>
                        <a:t>conservazione</a:t>
                      </a:r>
                      <a:r>
                        <a:rPr lang="it-IT" sz="1400" dirty="0">
                          <a:solidFill>
                            <a:schemeClr val="tx1"/>
                          </a:solidFill>
                        </a:rPr>
                        <a:t> dell'Agenzia</a:t>
                      </a:r>
                      <a:r>
                        <a:rPr lang="it-IT" sz="1400" baseline="0" dirty="0">
                          <a:solidFill>
                            <a:schemeClr val="tx1"/>
                          </a:solidFill>
                        </a:rPr>
                        <a:t> delle entrate</a:t>
                      </a:r>
                      <a:endParaRPr lang="it-IT" sz="1400" dirty="0">
                        <a:solidFill>
                          <a:schemeClr val="tx1"/>
                        </a:solidFill>
                      </a:endParaRPr>
                    </a:p>
                  </a:txBody>
                  <a:tcPr marL="122400" marR="122400" marT="122400" marB="122400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43152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0992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A773F583-D743-4741-8C4F-AF4E4E43B3B2}"/>
              </a:ext>
            </a:extLst>
          </p:cNvPr>
          <p:cNvSpPr txBox="1"/>
          <p:nvPr/>
        </p:nvSpPr>
        <p:spPr>
          <a:xfrm>
            <a:off x="1156519" y="4381495"/>
            <a:ext cx="848436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8606" indent="-278606" algn="just">
              <a:buFont typeface="+mj-lt"/>
              <a:buAutoNum type="arabicPeriod"/>
            </a:pP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Operatore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economico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Corner 1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invia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il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documento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al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proprio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AP (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Corner 2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78606" indent="-278606" algn="just">
              <a:buFont typeface="+mj-lt"/>
              <a:buAutoNum type="arabicPeriod"/>
            </a:pP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AP 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Corner 2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utilizza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la dynamic discovery (lookup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su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SML e SMP) di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OpenPEPPOL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per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individuar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l’AP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Corner 3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) a cui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dovrà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essere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consegnato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il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documento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78606" indent="-278606" algn="just">
              <a:buFont typeface="+mj-lt"/>
              <a:buAutoNum type="arabicPeriod"/>
            </a:pP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AP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dell'Operator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Economico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Corner 2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invia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il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documento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all'AP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della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PA (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Corner 3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78606" indent="-278606" algn="just">
              <a:buFont typeface="+mj-lt"/>
              <a:buAutoNum type="arabicPeriod"/>
            </a:pP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AP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della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PA (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Corner 3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invia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il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documento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SdI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utilizzando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canali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tradizionali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278606" indent="-278606" algn="just">
              <a:buFont typeface="+mj-lt"/>
              <a:buAutoNum type="arabicPeriod"/>
            </a:pP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SdI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verifica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conformità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del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documento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e lo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consegna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alla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PA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utilizzando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canali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tradizionali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revisti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dal 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Sistema di </a:t>
            </a:r>
            <a:r>
              <a:rPr 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Interscambio</a:t>
            </a:r>
            <a:endParaRPr lang="it-IT" sz="18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Rectangle 4"/>
          <p:cNvSpPr>
            <a:spLocks noChangeArrowheads="1"/>
          </p:cNvSpPr>
          <p:nvPr/>
        </p:nvSpPr>
        <p:spPr bwMode="auto">
          <a:xfrm>
            <a:off x="1235895" y="129762"/>
            <a:ext cx="832561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it-IT" altLang="it-IT" sz="2800" b="1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EeISI</a:t>
            </a:r>
            <a:r>
              <a:rPr lang="it-IT" altLang="it-IT" sz="28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 – Processo e-Delivery</a:t>
            </a:r>
            <a:endParaRPr lang="it-IT" altLang="it-IT" sz="1200" b="1" dirty="0">
              <a:solidFill>
                <a:srgbClr val="006600"/>
              </a:solidFill>
              <a:latin typeface="Calibri" panose="020F0502020204030204" pitchFamily="34" charset="0"/>
            </a:endParaRPr>
          </a:p>
        </p:txBody>
      </p:sp>
      <p:sp>
        <p:nvSpPr>
          <p:cNvPr id="8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3935413" y="6511925"/>
            <a:ext cx="2060575" cy="250825"/>
          </a:xfrm>
        </p:spPr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37</a:t>
            </a:fld>
            <a:endParaRPr lang="it-IT" altLang="it-IT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4516" y="1678237"/>
            <a:ext cx="4794060" cy="286289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173163" y="1062467"/>
            <a:ext cx="83883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AgID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come PEPPOL Authority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detiene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il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registro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degli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 Access Point Provider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OpenPEPPOL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integrati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con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SdI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per la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ricezion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dell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fatture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4013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5175556" y="3779974"/>
            <a:ext cx="372569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just"/>
            <a:r>
              <a:rPr 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Scegliere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NoTI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-ER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su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IPA 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come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proprio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AP 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per 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la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ricezion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da rete PEPPOL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563435" y="3171512"/>
            <a:ext cx="435483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just">
              <a:spcAft>
                <a:spcPts val="488"/>
              </a:spcAft>
            </a:pP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Siglare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 un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accordo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con il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proprio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Access Point</a:t>
            </a:r>
            <a:endParaRPr lang="en-US" sz="1800" dirty="0">
              <a:solidFill>
                <a:srgbClr val="53565A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643305" y="2644015"/>
            <a:ext cx="389020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just">
              <a:spcAft>
                <a:spcPts val="488"/>
              </a:spcAft>
            </a:pPr>
            <a:r>
              <a:rPr 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Scegliere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il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proprio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Access Point</a:t>
            </a:r>
            <a:endParaRPr lang="en-US" sz="1800" b="1" dirty="0">
              <a:solidFill>
                <a:srgbClr val="53565A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916780" y="1989641"/>
            <a:ext cx="598447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just"/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Consultar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il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registro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 AgID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degli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 Access Point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OpenPEPPOL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integrati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 con SDI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per la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ricezion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dell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fatture</a:t>
            </a:r>
            <a:endParaRPr lang="en-US" sz="1800" dirty="0">
              <a:solidFill>
                <a:srgbClr val="53565A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2064842" y="2136793"/>
            <a:ext cx="574073" cy="297180"/>
            <a:chOff x="4953973" y="3370420"/>
            <a:chExt cx="706551" cy="365760"/>
          </a:xfrm>
        </p:grpSpPr>
        <p:sp>
          <p:nvSpPr>
            <p:cNvPr id="16" name="Right Arrow 1"/>
            <p:cNvSpPr/>
            <p:nvPr/>
          </p:nvSpPr>
          <p:spPr>
            <a:xfrm>
              <a:off x="4953973" y="3370420"/>
              <a:ext cx="706551" cy="365760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22750" h="2185987">
                  <a:moveTo>
                    <a:pt x="0" y="272177"/>
                  </a:moveTo>
                  <a:lnTo>
                    <a:pt x="3129757" y="272177"/>
                  </a:lnTo>
                  <a:lnTo>
                    <a:pt x="3129757" y="0"/>
                  </a:lnTo>
                  <a:lnTo>
                    <a:pt x="4222750" y="1092994"/>
                  </a:lnTo>
                  <a:lnTo>
                    <a:pt x="3129757" y="2185987"/>
                  </a:lnTo>
                  <a:lnTo>
                    <a:pt x="3137377" y="1067990"/>
                  </a:lnTo>
                  <a:lnTo>
                    <a:pt x="1219200" y="1067990"/>
                  </a:lnTo>
                  <a:lnTo>
                    <a:pt x="0" y="272177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5" tIns="74295" rIns="74295" bIns="74295" rtlCol="0" anchor="ctr">
              <a:noAutofit/>
            </a:bodyPr>
            <a:lstStyle/>
            <a:p>
              <a:pPr algn="ctr"/>
              <a:endParaRPr lang="en-US" sz="1138" err="1">
                <a:solidFill>
                  <a:schemeClr val="tx2"/>
                </a:solidFill>
              </a:endParaRPr>
            </a:p>
          </p:txBody>
        </p:sp>
        <p:sp>
          <p:nvSpPr>
            <p:cNvPr id="17" name="Right Arrow 1"/>
            <p:cNvSpPr/>
            <p:nvPr/>
          </p:nvSpPr>
          <p:spPr>
            <a:xfrm rot="10800000" flipH="1" flipV="1">
              <a:off x="5478145" y="3549116"/>
              <a:ext cx="181104" cy="187064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  <a:gd name="connsiteX0" fmla="*/ 0 w 3003550"/>
                <a:gd name="connsiteY0" fmla="*/ 1067990 h 2185987"/>
                <a:gd name="connsiteX1" fmla="*/ 1910557 w 3003550"/>
                <a:gd name="connsiteY1" fmla="*/ 272177 h 2185987"/>
                <a:gd name="connsiteX2" fmla="*/ 1910557 w 3003550"/>
                <a:gd name="connsiteY2" fmla="*/ 0 h 2185987"/>
                <a:gd name="connsiteX3" fmla="*/ 3003550 w 3003550"/>
                <a:gd name="connsiteY3" fmla="*/ 1092994 h 2185987"/>
                <a:gd name="connsiteX4" fmla="*/ 1910557 w 3003550"/>
                <a:gd name="connsiteY4" fmla="*/ 2185987 h 2185987"/>
                <a:gd name="connsiteX5" fmla="*/ 1918177 w 3003550"/>
                <a:gd name="connsiteY5" fmla="*/ 1067990 h 2185987"/>
                <a:gd name="connsiteX6" fmla="*/ 0 w 3003550"/>
                <a:gd name="connsiteY6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272177 h 2185987"/>
                <a:gd name="connsiteX2" fmla="*/ 0 w 1092993"/>
                <a:gd name="connsiteY2" fmla="*/ 0 h 2185987"/>
                <a:gd name="connsiteX3" fmla="*/ 1092993 w 1092993"/>
                <a:gd name="connsiteY3" fmla="*/ 1092994 h 2185987"/>
                <a:gd name="connsiteX4" fmla="*/ 0 w 1092993"/>
                <a:gd name="connsiteY4" fmla="*/ 2185987 h 2185987"/>
                <a:gd name="connsiteX5" fmla="*/ 7620 w 1092993"/>
                <a:gd name="connsiteY5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0 h 2185987"/>
                <a:gd name="connsiteX2" fmla="*/ 1092993 w 1092993"/>
                <a:gd name="connsiteY2" fmla="*/ 1092994 h 2185987"/>
                <a:gd name="connsiteX3" fmla="*/ 0 w 1092993"/>
                <a:gd name="connsiteY3" fmla="*/ 2185987 h 2185987"/>
                <a:gd name="connsiteX4" fmla="*/ 7620 w 1092993"/>
                <a:gd name="connsiteY4" fmla="*/ 1067990 h 2185987"/>
                <a:gd name="connsiteX0" fmla="*/ 7620 w 1092993"/>
                <a:gd name="connsiteY0" fmla="*/ 0 h 1117997"/>
                <a:gd name="connsiteX1" fmla="*/ 1092993 w 1092993"/>
                <a:gd name="connsiteY1" fmla="*/ 25004 h 1117997"/>
                <a:gd name="connsiteX2" fmla="*/ 0 w 1092993"/>
                <a:gd name="connsiteY2" fmla="*/ 1117997 h 1117997"/>
                <a:gd name="connsiteX3" fmla="*/ 7620 w 1092993"/>
                <a:gd name="connsiteY3" fmla="*/ 0 h 111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2993" h="1117997">
                  <a:moveTo>
                    <a:pt x="7620" y="0"/>
                  </a:moveTo>
                  <a:lnTo>
                    <a:pt x="1092993" y="25004"/>
                  </a:lnTo>
                  <a:lnTo>
                    <a:pt x="0" y="1117997"/>
                  </a:lnTo>
                  <a:lnTo>
                    <a:pt x="7620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5" tIns="74295" rIns="74295" bIns="74295" rtlCol="0" anchor="ctr">
              <a:noAutofit/>
            </a:bodyPr>
            <a:lstStyle/>
            <a:p>
              <a:pPr algn="ctr"/>
              <a:endParaRPr lang="en-US" sz="1138" err="1">
                <a:solidFill>
                  <a:schemeClr val="tx2"/>
                </a:soli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2829089" y="2706002"/>
            <a:ext cx="574073" cy="297180"/>
            <a:chOff x="4953973" y="3370420"/>
            <a:chExt cx="706551" cy="365760"/>
          </a:xfrm>
        </p:grpSpPr>
        <p:sp>
          <p:nvSpPr>
            <p:cNvPr id="23" name="Right Arrow 1"/>
            <p:cNvSpPr/>
            <p:nvPr/>
          </p:nvSpPr>
          <p:spPr>
            <a:xfrm>
              <a:off x="4953973" y="3370420"/>
              <a:ext cx="706551" cy="365760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22750" h="2185987">
                  <a:moveTo>
                    <a:pt x="0" y="272177"/>
                  </a:moveTo>
                  <a:lnTo>
                    <a:pt x="3129757" y="272177"/>
                  </a:lnTo>
                  <a:lnTo>
                    <a:pt x="3129757" y="0"/>
                  </a:lnTo>
                  <a:lnTo>
                    <a:pt x="4222750" y="1092994"/>
                  </a:lnTo>
                  <a:lnTo>
                    <a:pt x="3129757" y="2185987"/>
                  </a:lnTo>
                  <a:lnTo>
                    <a:pt x="3137377" y="1067990"/>
                  </a:lnTo>
                  <a:lnTo>
                    <a:pt x="1219200" y="1067990"/>
                  </a:lnTo>
                  <a:lnTo>
                    <a:pt x="0" y="272177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5" tIns="74295" rIns="74295" bIns="74295" rtlCol="0" anchor="ctr">
              <a:noAutofit/>
            </a:bodyPr>
            <a:lstStyle/>
            <a:p>
              <a:pPr algn="ctr"/>
              <a:endParaRPr lang="en-US" sz="1138" err="1">
                <a:solidFill>
                  <a:schemeClr val="tx2"/>
                </a:solidFill>
              </a:endParaRPr>
            </a:p>
          </p:txBody>
        </p:sp>
        <p:sp>
          <p:nvSpPr>
            <p:cNvPr id="24" name="Right Arrow 1"/>
            <p:cNvSpPr/>
            <p:nvPr/>
          </p:nvSpPr>
          <p:spPr>
            <a:xfrm rot="10800000" flipH="1" flipV="1">
              <a:off x="5478145" y="3549116"/>
              <a:ext cx="181104" cy="187064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  <a:gd name="connsiteX0" fmla="*/ 0 w 3003550"/>
                <a:gd name="connsiteY0" fmla="*/ 1067990 h 2185987"/>
                <a:gd name="connsiteX1" fmla="*/ 1910557 w 3003550"/>
                <a:gd name="connsiteY1" fmla="*/ 272177 h 2185987"/>
                <a:gd name="connsiteX2" fmla="*/ 1910557 w 3003550"/>
                <a:gd name="connsiteY2" fmla="*/ 0 h 2185987"/>
                <a:gd name="connsiteX3" fmla="*/ 3003550 w 3003550"/>
                <a:gd name="connsiteY3" fmla="*/ 1092994 h 2185987"/>
                <a:gd name="connsiteX4" fmla="*/ 1910557 w 3003550"/>
                <a:gd name="connsiteY4" fmla="*/ 2185987 h 2185987"/>
                <a:gd name="connsiteX5" fmla="*/ 1918177 w 3003550"/>
                <a:gd name="connsiteY5" fmla="*/ 1067990 h 2185987"/>
                <a:gd name="connsiteX6" fmla="*/ 0 w 3003550"/>
                <a:gd name="connsiteY6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272177 h 2185987"/>
                <a:gd name="connsiteX2" fmla="*/ 0 w 1092993"/>
                <a:gd name="connsiteY2" fmla="*/ 0 h 2185987"/>
                <a:gd name="connsiteX3" fmla="*/ 1092993 w 1092993"/>
                <a:gd name="connsiteY3" fmla="*/ 1092994 h 2185987"/>
                <a:gd name="connsiteX4" fmla="*/ 0 w 1092993"/>
                <a:gd name="connsiteY4" fmla="*/ 2185987 h 2185987"/>
                <a:gd name="connsiteX5" fmla="*/ 7620 w 1092993"/>
                <a:gd name="connsiteY5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0 h 2185987"/>
                <a:gd name="connsiteX2" fmla="*/ 1092993 w 1092993"/>
                <a:gd name="connsiteY2" fmla="*/ 1092994 h 2185987"/>
                <a:gd name="connsiteX3" fmla="*/ 0 w 1092993"/>
                <a:gd name="connsiteY3" fmla="*/ 2185987 h 2185987"/>
                <a:gd name="connsiteX4" fmla="*/ 7620 w 1092993"/>
                <a:gd name="connsiteY4" fmla="*/ 1067990 h 2185987"/>
                <a:gd name="connsiteX0" fmla="*/ 7620 w 1092993"/>
                <a:gd name="connsiteY0" fmla="*/ 0 h 1117997"/>
                <a:gd name="connsiteX1" fmla="*/ 1092993 w 1092993"/>
                <a:gd name="connsiteY1" fmla="*/ 25004 h 1117997"/>
                <a:gd name="connsiteX2" fmla="*/ 0 w 1092993"/>
                <a:gd name="connsiteY2" fmla="*/ 1117997 h 1117997"/>
                <a:gd name="connsiteX3" fmla="*/ 7620 w 1092993"/>
                <a:gd name="connsiteY3" fmla="*/ 0 h 111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2993" h="1117997">
                  <a:moveTo>
                    <a:pt x="7620" y="0"/>
                  </a:moveTo>
                  <a:lnTo>
                    <a:pt x="1092993" y="25004"/>
                  </a:lnTo>
                  <a:lnTo>
                    <a:pt x="0" y="1117997"/>
                  </a:lnTo>
                  <a:lnTo>
                    <a:pt x="7620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5" tIns="74295" rIns="74295" bIns="74295" rtlCol="0" anchor="ctr">
              <a:noAutofit/>
            </a:bodyPr>
            <a:lstStyle/>
            <a:p>
              <a:pPr algn="ctr"/>
              <a:endParaRPr lang="en-US" sz="1138" err="1">
                <a:solidFill>
                  <a:schemeClr val="tx2"/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3646706" y="3238568"/>
            <a:ext cx="574073" cy="297180"/>
            <a:chOff x="4953973" y="3370420"/>
            <a:chExt cx="706551" cy="365760"/>
          </a:xfrm>
        </p:grpSpPr>
        <p:sp>
          <p:nvSpPr>
            <p:cNvPr id="26" name="Right Arrow 1"/>
            <p:cNvSpPr/>
            <p:nvPr/>
          </p:nvSpPr>
          <p:spPr>
            <a:xfrm>
              <a:off x="4953973" y="3370420"/>
              <a:ext cx="706551" cy="365760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22750" h="2185987">
                  <a:moveTo>
                    <a:pt x="0" y="272177"/>
                  </a:moveTo>
                  <a:lnTo>
                    <a:pt x="3129757" y="272177"/>
                  </a:lnTo>
                  <a:lnTo>
                    <a:pt x="3129757" y="0"/>
                  </a:lnTo>
                  <a:lnTo>
                    <a:pt x="4222750" y="1092994"/>
                  </a:lnTo>
                  <a:lnTo>
                    <a:pt x="3129757" y="2185987"/>
                  </a:lnTo>
                  <a:lnTo>
                    <a:pt x="3137377" y="1067990"/>
                  </a:lnTo>
                  <a:lnTo>
                    <a:pt x="1219200" y="1067990"/>
                  </a:lnTo>
                  <a:lnTo>
                    <a:pt x="0" y="272177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5" tIns="74295" rIns="74295" bIns="74295" rtlCol="0" anchor="ctr">
              <a:noAutofit/>
            </a:bodyPr>
            <a:lstStyle/>
            <a:p>
              <a:pPr algn="ctr"/>
              <a:endParaRPr lang="en-US" sz="1138" err="1">
                <a:solidFill>
                  <a:schemeClr val="tx2"/>
                </a:solidFill>
              </a:endParaRPr>
            </a:p>
          </p:txBody>
        </p:sp>
        <p:sp>
          <p:nvSpPr>
            <p:cNvPr id="27" name="Right Arrow 1"/>
            <p:cNvSpPr/>
            <p:nvPr/>
          </p:nvSpPr>
          <p:spPr>
            <a:xfrm rot="10800000" flipH="1" flipV="1">
              <a:off x="5478145" y="3549116"/>
              <a:ext cx="181104" cy="187064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  <a:gd name="connsiteX0" fmla="*/ 0 w 3003550"/>
                <a:gd name="connsiteY0" fmla="*/ 1067990 h 2185987"/>
                <a:gd name="connsiteX1" fmla="*/ 1910557 w 3003550"/>
                <a:gd name="connsiteY1" fmla="*/ 272177 h 2185987"/>
                <a:gd name="connsiteX2" fmla="*/ 1910557 w 3003550"/>
                <a:gd name="connsiteY2" fmla="*/ 0 h 2185987"/>
                <a:gd name="connsiteX3" fmla="*/ 3003550 w 3003550"/>
                <a:gd name="connsiteY3" fmla="*/ 1092994 h 2185987"/>
                <a:gd name="connsiteX4" fmla="*/ 1910557 w 3003550"/>
                <a:gd name="connsiteY4" fmla="*/ 2185987 h 2185987"/>
                <a:gd name="connsiteX5" fmla="*/ 1918177 w 3003550"/>
                <a:gd name="connsiteY5" fmla="*/ 1067990 h 2185987"/>
                <a:gd name="connsiteX6" fmla="*/ 0 w 3003550"/>
                <a:gd name="connsiteY6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272177 h 2185987"/>
                <a:gd name="connsiteX2" fmla="*/ 0 w 1092993"/>
                <a:gd name="connsiteY2" fmla="*/ 0 h 2185987"/>
                <a:gd name="connsiteX3" fmla="*/ 1092993 w 1092993"/>
                <a:gd name="connsiteY3" fmla="*/ 1092994 h 2185987"/>
                <a:gd name="connsiteX4" fmla="*/ 0 w 1092993"/>
                <a:gd name="connsiteY4" fmla="*/ 2185987 h 2185987"/>
                <a:gd name="connsiteX5" fmla="*/ 7620 w 1092993"/>
                <a:gd name="connsiteY5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0 h 2185987"/>
                <a:gd name="connsiteX2" fmla="*/ 1092993 w 1092993"/>
                <a:gd name="connsiteY2" fmla="*/ 1092994 h 2185987"/>
                <a:gd name="connsiteX3" fmla="*/ 0 w 1092993"/>
                <a:gd name="connsiteY3" fmla="*/ 2185987 h 2185987"/>
                <a:gd name="connsiteX4" fmla="*/ 7620 w 1092993"/>
                <a:gd name="connsiteY4" fmla="*/ 1067990 h 2185987"/>
                <a:gd name="connsiteX0" fmla="*/ 7620 w 1092993"/>
                <a:gd name="connsiteY0" fmla="*/ 0 h 1117997"/>
                <a:gd name="connsiteX1" fmla="*/ 1092993 w 1092993"/>
                <a:gd name="connsiteY1" fmla="*/ 25004 h 1117997"/>
                <a:gd name="connsiteX2" fmla="*/ 0 w 1092993"/>
                <a:gd name="connsiteY2" fmla="*/ 1117997 h 1117997"/>
                <a:gd name="connsiteX3" fmla="*/ 7620 w 1092993"/>
                <a:gd name="connsiteY3" fmla="*/ 0 h 111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2993" h="1117997">
                  <a:moveTo>
                    <a:pt x="7620" y="0"/>
                  </a:moveTo>
                  <a:lnTo>
                    <a:pt x="1092993" y="25004"/>
                  </a:lnTo>
                  <a:lnTo>
                    <a:pt x="0" y="1117997"/>
                  </a:lnTo>
                  <a:lnTo>
                    <a:pt x="7620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5" tIns="74295" rIns="74295" bIns="74295" rtlCol="0" anchor="ctr">
              <a:noAutofit/>
            </a:bodyPr>
            <a:lstStyle/>
            <a:p>
              <a:pPr algn="ctr"/>
              <a:endParaRPr lang="en-US" sz="1138" err="1">
                <a:solidFill>
                  <a:schemeClr val="tx2"/>
                </a:solidFill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4474836" y="3753707"/>
            <a:ext cx="574073" cy="297180"/>
            <a:chOff x="4953973" y="3370420"/>
            <a:chExt cx="706551" cy="365760"/>
          </a:xfrm>
        </p:grpSpPr>
        <p:sp>
          <p:nvSpPr>
            <p:cNvPr id="29" name="Right Arrow 1"/>
            <p:cNvSpPr/>
            <p:nvPr/>
          </p:nvSpPr>
          <p:spPr>
            <a:xfrm>
              <a:off x="4953973" y="3370420"/>
              <a:ext cx="706551" cy="365760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22750" h="2185987">
                  <a:moveTo>
                    <a:pt x="0" y="272177"/>
                  </a:moveTo>
                  <a:lnTo>
                    <a:pt x="3129757" y="272177"/>
                  </a:lnTo>
                  <a:lnTo>
                    <a:pt x="3129757" y="0"/>
                  </a:lnTo>
                  <a:lnTo>
                    <a:pt x="4222750" y="1092994"/>
                  </a:lnTo>
                  <a:lnTo>
                    <a:pt x="3129757" y="2185987"/>
                  </a:lnTo>
                  <a:lnTo>
                    <a:pt x="3137377" y="1067990"/>
                  </a:lnTo>
                  <a:lnTo>
                    <a:pt x="1219200" y="1067990"/>
                  </a:lnTo>
                  <a:lnTo>
                    <a:pt x="0" y="272177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5" tIns="74295" rIns="74295" bIns="74295" rtlCol="0" anchor="ctr">
              <a:noAutofit/>
            </a:bodyPr>
            <a:lstStyle/>
            <a:p>
              <a:pPr algn="ctr"/>
              <a:endParaRPr lang="en-US" sz="1138" err="1">
                <a:solidFill>
                  <a:schemeClr val="tx2"/>
                </a:solidFill>
              </a:endParaRPr>
            </a:p>
          </p:txBody>
        </p:sp>
        <p:sp>
          <p:nvSpPr>
            <p:cNvPr id="30" name="Right Arrow 1"/>
            <p:cNvSpPr/>
            <p:nvPr/>
          </p:nvSpPr>
          <p:spPr>
            <a:xfrm rot="10800000" flipH="1" flipV="1">
              <a:off x="5478145" y="3549116"/>
              <a:ext cx="181104" cy="187064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  <a:gd name="connsiteX0" fmla="*/ 0 w 3003550"/>
                <a:gd name="connsiteY0" fmla="*/ 1067990 h 2185987"/>
                <a:gd name="connsiteX1" fmla="*/ 1910557 w 3003550"/>
                <a:gd name="connsiteY1" fmla="*/ 272177 h 2185987"/>
                <a:gd name="connsiteX2" fmla="*/ 1910557 w 3003550"/>
                <a:gd name="connsiteY2" fmla="*/ 0 h 2185987"/>
                <a:gd name="connsiteX3" fmla="*/ 3003550 w 3003550"/>
                <a:gd name="connsiteY3" fmla="*/ 1092994 h 2185987"/>
                <a:gd name="connsiteX4" fmla="*/ 1910557 w 3003550"/>
                <a:gd name="connsiteY4" fmla="*/ 2185987 h 2185987"/>
                <a:gd name="connsiteX5" fmla="*/ 1918177 w 3003550"/>
                <a:gd name="connsiteY5" fmla="*/ 1067990 h 2185987"/>
                <a:gd name="connsiteX6" fmla="*/ 0 w 3003550"/>
                <a:gd name="connsiteY6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272177 h 2185987"/>
                <a:gd name="connsiteX2" fmla="*/ 0 w 1092993"/>
                <a:gd name="connsiteY2" fmla="*/ 0 h 2185987"/>
                <a:gd name="connsiteX3" fmla="*/ 1092993 w 1092993"/>
                <a:gd name="connsiteY3" fmla="*/ 1092994 h 2185987"/>
                <a:gd name="connsiteX4" fmla="*/ 0 w 1092993"/>
                <a:gd name="connsiteY4" fmla="*/ 2185987 h 2185987"/>
                <a:gd name="connsiteX5" fmla="*/ 7620 w 1092993"/>
                <a:gd name="connsiteY5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0 h 2185987"/>
                <a:gd name="connsiteX2" fmla="*/ 1092993 w 1092993"/>
                <a:gd name="connsiteY2" fmla="*/ 1092994 h 2185987"/>
                <a:gd name="connsiteX3" fmla="*/ 0 w 1092993"/>
                <a:gd name="connsiteY3" fmla="*/ 2185987 h 2185987"/>
                <a:gd name="connsiteX4" fmla="*/ 7620 w 1092993"/>
                <a:gd name="connsiteY4" fmla="*/ 1067990 h 2185987"/>
                <a:gd name="connsiteX0" fmla="*/ 7620 w 1092993"/>
                <a:gd name="connsiteY0" fmla="*/ 0 h 1117997"/>
                <a:gd name="connsiteX1" fmla="*/ 1092993 w 1092993"/>
                <a:gd name="connsiteY1" fmla="*/ 25004 h 1117997"/>
                <a:gd name="connsiteX2" fmla="*/ 0 w 1092993"/>
                <a:gd name="connsiteY2" fmla="*/ 1117997 h 1117997"/>
                <a:gd name="connsiteX3" fmla="*/ 7620 w 1092993"/>
                <a:gd name="connsiteY3" fmla="*/ 0 h 111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2993" h="1117997">
                  <a:moveTo>
                    <a:pt x="7620" y="0"/>
                  </a:moveTo>
                  <a:lnTo>
                    <a:pt x="1092993" y="25004"/>
                  </a:lnTo>
                  <a:lnTo>
                    <a:pt x="0" y="1117997"/>
                  </a:lnTo>
                  <a:lnTo>
                    <a:pt x="7620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5" tIns="74295" rIns="74295" bIns="74295" rtlCol="0" anchor="ctr">
              <a:noAutofit/>
            </a:bodyPr>
            <a:lstStyle/>
            <a:p>
              <a:pPr algn="ctr"/>
              <a:endParaRPr lang="en-US" sz="1138" err="1">
                <a:solidFill>
                  <a:schemeClr val="tx2"/>
                </a:solidFill>
              </a:endParaRPr>
            </a:p>
          </p:txBody>
        </p:sp>
      </p:grpSp>
      <p:grpSp>
        <p:nvGrpSpPr>
          <p:cNvPr id="2" name="Gruppo 1">
            <a:extLst>
              <a:ext uri="{FF2B5EF4-FFF2-40B4-BE49-F238E27FC236}">
                <a16:creationId xmlns:a16="http://schemas.microsoft.com/office/drawing/2014/main" id="{1D97FABD-28B0-7045-9827-E3FC5F079EC7}"/>
              </a:ext>
            </a:extLst>
          </p:cNvPr>
          <p:cNvGrpSpPr/>
          <p:nvPr/>
        </p:nvGrpSpPr>
        <p:grpSpPr>
          <a:xfrm flipH="1">
            <a:off x="1469555" y="1928218"/>
            <a:ext cx="3500486" cy="3562929"/>
            <a:chOff x="359376" y="790987"/>
            <a:chExt cx="3963989" cy="4385142"/>
          </a:xfrm>
        </p:grpSpPr>
        <p:sp>
          <p:nvSpPr>
            <p:cNvPr id="4" name="Freeform 3"/>
            <p:cNvSpPr/>
            <p:nvPr/>
          </p:nvSpPr>
          <p:spPr>
            <a:xfrm>
              <a:off x="3187985" y="1428041"/>
              <a:ext cx="1135380" cy="1874520"/>
            </a:xfrm>
            <a:custGeom>
              <a:avLst/>
              <a:gdLst>
                <a:gd name="connsiteX0" fmla="*/ 403860 w 1135380"/>
                <a:gd name="connsiteY0" fmla="*/ 0 h 1790700"/>
                <a:gd name="connsiteX1" fmla="*/ 403860 w 1135380"/>
                <a:gd name="connsiteY1" fmla="*/ 0 h 1790700"/>
                <a:gd name="connsiteX2" fmla="*/ 0 w 1135380"/>
                <a:gd name="connsiteY2" fmla="*/ 1744980 h 1790700"/>
                <a:gd name="connsiteX3" fmla="*/ 777240 w 1135380"/>
                <a:gd name="connsiteY3" fmla="*/ 1790700 h 1790700"/>
                <a:gd name="connsiteX4" fmla="*/ 1135380 w 1135380"/>
                <a:gd name="connsiteY4" fmla="*/ 15240 h 1790700"/>
                <a:gd name="connsiteX5" fmla="*/ 403860 w 1135380"/>
                <a:gd name="connsiteY5" fmla="*/ 0 h 1790700"/>
                <a:gd name="connsiteX0" fmla="*/ 403860 w 1135380"/>
                <a:gd name="connsiteY0" fmla="*/ 0 h 1874520"/>
                <a:gd name="connsiteX1" fmla="*/ 403860 w 1135380"/>
                <a:gd name="connsiteY1" fmla="*/ 0 h 1874520"/>
                <a:gd name="connsiteX2" fmla="*/ 0 w 1135380"/>
                <a:gd name="connsiteY2" fmla="*/ 1744980 h 1874520"/>
                <a:gd name="connsiteX3" fmla="*/ 670560 w 1135380"/>
                <a:gd name="connsiteY3" fmla="*/ 1874520 h 1874520"/>
                <a:gd name="connsiteX4" fmla="*/ 1135380 w 1135380"/>
                <a:gd name="connsiteY4" fmla="*/ 15240 h 1874520"/>
                <a:gd name="connsiteX5" fmla="*/ 403860 w 1135380"/>
                <a:gd name="connsiteY5" fmla="*/ 0 h 18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5380" h="1874520">
                  <a:moveTo>
                    <a:pt x="403860" y="0"/>
                  </a:moveTo>
                  <a:lnTo>
                    <a:pt x="403860" y="0"/>
                  </a:lnTo>
                  <a:lnTo>
                    <a:pt x="0" y="1744980"/>
                  </a:lnTo>
                  <a:lnTo>
                    <a:pt x="670560" y="1874520"/>
                  </a:lnTo>
                  <a:lnTo>
                    <a:pt x="1135380" y="15240"/>
                  </a:lnTo>
                  <a:lnTo>
                    <a:pt x="403860" y="0"/>
                  </a:lnTo>
                  <a:close/>
                </a:path>
              </a:pathLst>
            </a:custGeom>
            <a:solidFill>
              <a:srgbClr val="006D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5" tIns="74295" rIns="74295" bIns="74295" rtlCol="0" anchor="ctr">
              <a:noAutofit/>
            </a:bodyPr>
            <a:lstStyle/>
            <a:p>
              <a:pPr algn="ctr"/>
              <a:endParaRPr lang="en-US" sz="1138" dirty="0">
                <a:solidFill>
                  <a:schemeClr val="tx2"/>
                </a:solidFill>
              </a:endParaRPr>
            </a:p>
          </p:txBody>
        </p:sp>
        <p:sp>
          <p:nvSpPr>
            <p:cNvPr id="5" name="Freeform 4"/>
            <p:cNvSpPr/>
            <p:nvPr/>
          </p:nvSpPr>
          <p:spPr>
            <a:xfrm>
              <a:off x="3078763" y="2094791"/>
              <a:ext cx="782003" cy="1212532"/>
            </a:xfrm>
            <a:custGeom>
              <a:avLst/>
              <a:gdLst>
                <a:gd name="connsiteX0" fmla="*/ 266700 w 731520"/>
                <a:gd name="connsiteY0" fmla="*/ 0 h 1196340"/>
                <a:gd name="connsiteX1" fmla="*/ 731520 w 731520"/>
                <a:gd name="connsiteY1" fmla="*/ 1196340 h 1196340"/>
                <a:gd name="connsiteX2" fmla="*/ 0 w 731520"/>
                <a:gd name="connsiteY2" fmla="*/ 1196340 h 1196340"/>
                <a:gd name="connsiteX3" fmla="*/ 266700 w 731520"/>
                <a:gd name="connsiteY3" fmla="*/ 0 h 1196340"/>
                <a:gd name="connsiteX0" fmla="*/ 266700 w 739140"/>
                <a:gd name="connsiteY0" fmla="*/ 0 h 1226820"/>
                <a:gd name="connsiteX1" fmla="*/ 739140 w 739140"/>
                <a:gd name="connsiteY1" fmla="*/ 1226820 h 1226820"/>
                <a:gd name="connsiteX2" fmla="*/ 0 w 739140"/>
                <a:gd name="connsiteY2" fmla="*/ 1196340 h 1226820"/>
                <a:gd name="connsiteX3" fmla="*/ 266700 w 739140"/>
                <a:gd name="connsiteY3" fmla="*/ 0 h 1226820"/>
                <a:gd name="connsiteX0" fmla="*/ 266700 w 753428"/>
                <a:gd name="connsiteY0" fmla="*/ 0 h 1241107"/>
                <a:gd name="connsiteX1" fmla="*/ 753428 w 753428"/>
                <a:gd name="connsiteY1" fmla="*/ 1241107 h 1241107"/>
                <a:gd name="connsiteX2" fmla="*/ 0 w 753428"/>
                <a:gd name="connsiteY2" fmla="*/ 1196340 h 1241107"/>
                <a:gd name="connsiteX3" fmla="*/ 266700 w 753428"/>
                <a:gd name="connsiteY3" fmla="*/ 0 h 1241107"/>
                <a:gd name="connsiteX0" fmla="*/ 266700 w 758190"/>
                <a:gd name="connsiteY0" fmla="*/ 0 h 1226819"/>
                <a:gd name="connsiteX1" fmla="*/ 758190 w 758190"/>
                <a:gd name="connsiteY1" fmla="*/ 1226819 h 1226819"/>
                <a:gd name="connsiteX2" fmla="*/ 0 w 758190"/>
                <a:gd name="connsiteY2" fmla="*/ 1196340 h 1226819"/>
                <a:gd name="connsiteX3" fmla="*/ 266700 w 758190"/>
                <a:gd name="connsiteY3" fmla="*/ 0 h 1226819"/>
                <a:gd name="connsiteX0" fmla="*/ 278607 w 758190"/>
                <a:gd name="connsiteY0" fmla="*/ 0 h 1212532"/>
                <a:gd name="connsiteX1" fmla="*/ 758190 w 758190"/>
                <a:gd name="connsiteY1" fmla="*/ 1212532 h 1212532"/>
                <a:gd name="connsiteX2" fmla="*/ 0 w 758190"/>
                <a:gd name="connsiteY2" fmla="*/ 1182053 h 1212532"/>
                <a:gd name="connsiteX3" fmla="*/ 278607 w 758190"/>
                <a:gd name="connsiteY3" fmla="*/ 0 h 1212532"/>
                <a:gd name="connsiteX0" fmla="*/ 302420 w 782003"/>
                <a:gd name="connsiteY0" fmla="*/ 0 h 1212532"/>
                <a:gd name="connsiteX1" fmla="*/ 782003 w 782003"/>
                <a:gd name="connsiteY1" fmla="*/ 1212532 h 1212532"/>
                <a:gd name="connsiteX2" fmla="*/ 0 w 782003"/>
                <a:gd name="connsiteY2" fmla="*/ 1184434 h 1212532"/>
                <a:gd name="connsiteX3" fmla="*/ 302420 w 782003"/>
                <a:gd name="connsiteY3" fmla="*/ 0 h 1212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003" h="1212532">
                  <a:moveTo>
                    <a:pt x="302420" y="0"/>
                  </a:moveTo>
                  <a:lnTo>
                    <a:pt x="782003" y="1212532"/>
                  </a:lnTo>
                  <a:lnTo>
                    <a:pt x="0" y="1184434"/>
                  </a:lnTo>
                  <a:lnTo>
                    <a:pt x="30242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tint val="66000"/>
                    <a:satMod val="160000"/>
                  </a:schemeClr>
                </a:gs>
                <a:gs pos="50000">
                  <a:schemeClr val="accent4">
                    <a:tint val="44500"/>
                    <a:satMod val="160000"/>
                  </a:schemeClr>
                </a:gs>
                <a:gs pos="100000">
                  <a:schemeClr val="accent4">
                    <a:tint val="23500"/>
                    <a:satMod val="160000"/>
                  </a:schemeClr>
                </a:gs>
              </a:gsLst>
              <a:lin ang="2700000" scaled="1"/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5" tIns="74295" rIns="74295" bIns="74295" rtlCol="0" anchor="ctr">
              <a:noAutofit/>
            </a:bodyPr>
            <a:lstStyle/>
            <a:p>
              <a:pPr algn="ctr"/>
              <a:endParaRPr lang="en-US" sz="1138" err="1">
                <a:solidFill>
                  <a:schemeClr val="tx2"/>
                </a:solidFill>
              </a:endParaRPr>
            </a:p>
          </p:txBody>
        </p:sp>
        <p:sp>
          <p:nvSpPr>
            <p:cNvPr id="6" name="Freeform 5"/>
            <p:cNvSpPr/>
            <p:nvPr/>
          </p:nvSpPr>
          <p:spPr>
            <a:xfrm>
              <a:off x="2245963" y="2081931"/>
              <a:ext cx="1135380" cy="1874520"/>
            </a:xfrm>
            <a:custGeom>
              <a:avLst/>
              <a:gdLst>
                <a:gd name="connsiteX0" fmla="*/ 403860 w 1135380"/>
                <a:gd name="connsiteY0" fmla="*/ 0 h 1790700"/>
                <a:gd name="connsiteX1" fmla="*/ 403860 w 1135380"/>
                <a:gd name="connsiteY1" fmla="*/ 0 h 1790700"/>
                <a:gd name="connsiteX2" fmla="*/ 0 w 1135380"/>
                <a:gd name="connsiteY2" fmla="*/ 1744980 h 1790700"/>
                <a:gd name="connsiteX3" fmla="*/ 777240 w 1135380"/>
                <a:gd name="connsiteY3" fmla="*/ 1790700 h 1790700"/>
                <a:gd name="connsiteX4" fmla="*/ 1135380 w 1135380"/>
                <a:gd name="connsiteY4" fmla="*/ 15240 h 1790700"/>
                <a:gd name="connsiteX5" fmla="*/ 403860 w 1135380"/>
                <a:gd name="connsiteY5" fmla="*/ 0 h 1790700"/>
                <a:gd name="connsiteX0" fmla="*/ 403860 w 1135380"/>
                <a:gd name="connsiteY0" fmla="*/ 0 h 1874520"/>
                <a:gd name="connsiteX1" fmla="*/ 403860 w 1135380"/>
                <a:gd name="connsiteY1" fmla="*/ 0 h 1874520"/>
                <a:gd name="connsiteX2" fmla="*/ 0 w 1135380"/>
                <a:gd name="connsiteY2" fmla="*/ 1744980 h 1874520"/>
                <a:gd name="connsiteX3" fmla="*/ 670560 w 1135380"/>
                <a:gd name="connsiteY3" fmla="*/ 1874520 h 1874520"/>
                <a:gd name="connsiteX4" fmla="*/ 1135380 w 1135380"/>
                <a:gd name="connsiteY4" fmla="*/ 15240 h 1874520"/>
                <a:gd name="connsiteX5" fmla="*/ 403860 w 1135380"/>
                <a:gd name="connsiteY5" fmla="*/ 0 h 18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5380" h="1874520">
                  <a:moveTo>
                    <a:pt x="403860" y="0"/>
                  </a:moveTo>
                  <a:lnTo>
                    <a:pt x="403860" y="0"/>
                  </a:lnTo>
                  <a:lnTo>
                    <a:pt x="0" y="1744980"/>
                  </a:lnTo>
                  <a:lnTo>
                    <a:pt x="670560" y="1874520"/>
                  </a:lnTo>
                  <a:lnTo>
                    <a:pt x="1135380" y="15240"/>
                  </a:lnTo>
                  <a:lnTo>
                    <a:pt x="403860" y="0"/>
                  </a:lnTo>
                  <a:close/>
                </a:path>
              </a:pathLst>
            </a:custGeom>
            <a:solidFill>
              <a:srgbClr val="006D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5" tIns="74295" rIns="74295" bIns="74295" rtlCol="0" anchor="ctr">
              <a:noAutofit/>
            </a:bodyPr>
            <a:lstStyle/>
            <a:p>
              <a:pPr algn="ctr"/>
              <a:endParaRPr lang="en-US" sz="1138" err="1">
                <a:solidFill>
                  <a:schemeClr val="tx2"/>
                </a:solidFill>
              </a:endParaRPr>
            </a:p>
          </p:txBody>
        </p:sp>
        <p:sp>
          <p:nvSpPr>
            <p:cNvPr id="7" name="Freeform 6"/>
            <p:cNvSpPr/>
            <p:nvPr/>
          </p:nvSpPr>
          <p:spPr>
            <a:xfrm>
              <a:off x="2133883" y="2745351"/>
              <a:ext cx="782003" cy="1212532"/>
            </a:xfrm>
            <a:custGeom>
              <a:avLst/>
              <a:gdLst>
                <a:gd name="connsiteX0" fmla="*/ 266700 w 731520"/>
                <a:gd name="connsiteY0" fmla="*/ 0 h 1196340"/>
                <a:gd name="connsiteX1" fmla="*/ 731520 w 731520"/>
                <a:gd name="connsiteY1" fmla="*/ 1196340 h 1196340"/>
                <a:gd name="connsiteX2" fmla="*/ 0 w 731520"/>
                <a:gd name="connsiteY2" fmla="*/ 1196340 h 1196340"/>
                <a:gd name="connsiteX3" fmla="*/ 266700 w 731520"/>
                <a:gd name="connsiteY3" fmla="*/ 0 h 1196340"/>
                <a:gd name="connsiteX0" fmla="*/ 266700 w 739140"/>
                <a:gd name="connsiteY0" fmla="*/ 0 h 1226820"/>
                <a:gd name="connsiteX1" fmla="*/ 739140 w 739140"/>
                <a:gd name="connsiteY1" fmla="*/ 1226820 h 1226820"/>
                <a:gd name="connsiteX2" fmla="*/ 0 w 739140"/>
                <a:gd name="connsiteY2" fmla="*/ 1196340 h 1226820"/>
                <a:gd name="connsiteX3" fmla="*/ 266700 w 739140"/>
                <a:gd name="connsiteY3" fmla="*/ 0 h 1226820"/>
                <a:gd name="connsiteX0" fmla="*/ 266700 w 753428"/>
                <a:gd name="connsiteY0" fmla="*/ 0 h 1241107"/>
                <a:gd name="connsiteX1" fmla="*/ 753428 w 753428"/>
                <a:gd name="connsiteY1" fmla="*/ 1241107 h 1241107"/>
                <a:gd name="connsiteX2" fmla="*/ 0 w 753428"/>
                <a:gd name="connsiteY2" fmla="*/ 1196340 h 1241107"/>
                <a:gd name="connsiteX3" fmla="*/ 266700 w 753428"/>
                <a:gd name="connsiteY3" fmla="*/ 0 h 1241107"/>
                <a:gd name="connsiteX0" fmla="*/ 266700 w 758190"/>
                <a:gd name="connsiteY0" fmla="*/ 0 h 1226819"/>
                <a:gd name="connsiteX1" fmla="*/ 758190 w 758190"/>
                <a:gd name="connsiteY1" fmla="*/ 1226819 h 1226819"/>
                <a:gd name="connsiteX2" fmla="*/ 0 w 758190"/>
                <a:gd name="connsiteY2" fmla="*/ 1196340 h 1226819"/>
                <a:gd name="connsiteX3" fmla="*/ 266700 w 758190"/>
                <a:gd name="connsiteY3" fmla="*/ 0 h 1226819"/>
                <a:gd name="connsiteX0" fmla="*/ 278607 w 758190"/>
                <a:gd name="connsiteY0" fmla="*/ 0 h 1212532"/>
                <a:gd name="connsiteX1" fmla="*/ 758190 w 758190"/>
                <a:gd name="connsiteY1" fmla="*/ 1212532 h 1212532"/>
                <a:gd name="connsiteX2" fmla="*/ 0 w 758190"/>
                <a:gd name="connsiteY2" fmla="*/ 1182053 h 1212532"/>
                <a:gd name="connsiteX3" fmla="*/ 278607 w 758190"/>
                <a:gd name="connsiteY3" fmla="*/ 0 h 1212532"/>
                <a:gd name="connsiteX0" fmla="*/ 302420 w 782003"/>
                <a:gd name="connsiteY0" fmla="*/ 0 h 1212532"/>
                <a:gd name="connsiteX1" fmla="*/ 782003 w 782003"/>
                <a:gd name="connsiteY1" fmla="*/ 1212532 h 1212532"/>
                <a:gd name="connsiteX2" fmla="*/ 0 w 782003"/>
                <a:gd name="connsiteY2" fmla="*/ 1184434 h 1212532"/>
                <a:gd name="connsiteX3" fmla="*/ 302420 w 782003"/>
                <a:gd name="connsiteY3" fmla="*/ 0 h 1212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003" h="1212532">
                  <a:moveTo>
                    <a:pt x="302420" y="0"/>
                  </a:moveTo>
                  <a:lnTo>
                    <a:pt x="782003" y="1212532"/>
                  </a:lnTo>
                  <a:lnTo>
                    <a:pt x="0" y="1184434"/>
                  </a:lnTo>
                  <a:lnTo>
                    <a:pt x="30242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6600">
                    <a:tint val="66000"/>
                    <a:satMod val="160000"/>
                  </a:srgbClr>
                </a:gs>
                <a:gs pos="50000">
                  <a:srgbClr val="006600">
                    <a:tint val="44500"/>
                    <a:satMod val="160000"/>
                  </a:srgbClr>
                </a:gs>
                <a:gs pos="100000">
                  <a:srgbClr val="00660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5" tIns="74295" rIns="74295" bIns="74295" rtlCol="0" anchor="ctr">
              <a:noAutofit/>
            </a:bodyPr>
            <a:lstStyle/>
            <a:p>
              <a:pPr algn="ctr"/>
              <a:endParaRPr lang="en-US" sz="1138" err="1">
                <a:solidFill>
                  <a:schemeClr val="tx2"/>
                </a:solidFill>
              </a:endParaRPr>
            </a:p>
          </p:txBody>
        </p:sp>
        <p:sp>
          <p:nvSpPr>
            <p:cNvPr id="8" name="Freeform 7"/>
            <p:cNvSpPr/>
            <p:nvPr/>
          </p:nvSpPr>
          <p:spPr>
            <a:xfrm>
              <a:off x="1294097" y="2731063"/>
              <a:ext cx="1135380" cy="1874520"/>
            </a:xfrm>
            <a:custGeom>
              <a:avLst/>
              <a:gdLst>
                <a:gd name="connsiteX0" fmla="*/ 403860 w 1135380"/>
                <a:gd name="connsiteY0" fmla="*/ 0 h 1790700"/>
                <a:gd name="connsiteX1" fmla="*/ 403860 w 1135380"/>
                <a:gd name="connsiteY1" fmla="*/ 0 h 1790700"/>
                <a:gd name="connsiteX2" fmla="*/ 0 w 1135380"/>
                <a:gd name="connsiteY2" fmla="*/ 1744980 h 1790700"/>
                <a:gd name="connsiteX3" fmla="*/ 777240 w 1135380"/>
                <a:gd name="connsiteY3" fmla="*/ 1790700 h 1790700"/>
                <a:gd name="connsiteX4" fmla="*/ 1135380 w 1135380"/>
                <a:gd name="connsiteY4" fmla="*/ 15240 h 1790700"/>
                <a:gd name="connsiteX5" fmla="*/ 403860 w 1135380"/>
                <a:gd name="connsiteY5" fmla="*/ 0 h 1790700"/>
                <a:gd name="connsiteX0" fmla="*/ 403860 w 1135380"/>
                <a:gd name="connsiteY0" fmla="*/ 0 h 1874520"/>
                <a:gd name="connsiteX1" fmla="*/ 403860 w 1135380"/>
                <a:gd name="connsiteY1" fmla="*/ 0 h 1874520"/>
                <a:gd name="connsiteX2" fmla="*/ 0 w 1135380"/>
                <a:gd name="connsiteY2" fmla="*/ 1744980 h 1874520"/>
                <a:gd name="connsiteX3" fmla="*/ 670560 w 1135380"/>
                <a:gd name="connsiteY3" fmla="*/ 1874520 h 1874520"/>
                <a:gd name="connsiteX4" fmla="*/ 1135380 w 1135380"/>
                <a:gd name="connsiteY4" fmla="*/ 15240 h 1874520"/>
                <a:gd name="connsiteX5" fmla="*/ 403860 w 1135380"/>
                <a:gd name="connsiteY5" fmla="*/ 0 h 187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5380" h="1874520">
                  <a:moveTo>
                    <a:pt x="403860" y="0"/>
                  </a:moveTo>
                  <a:lnTo>
                    <a:pt x="403860" y="0"/>
                  </a:lnTo>
                  <a:lnTo>
                    <a:pt x="0" y="1744980"/>
                  </a:lnTo>
                  <a:lnTo>
                    <a:pt x="670560" y="1874520"/>
                  </a:lnTo>
                  <a:lnTo>
                    <a:pt x="1135380" y="15240"/>
                  </a:lnTo>
                  <a:lnTo>
                    <a:pt x="403860" y="0"/>
                  </a:lnTo>
                  <a:close/>
                </a:path>
              </a:pathLst>
            </a:custGeom>
            <a:solidFill>
              <a:srgbClr val="006600"/>
            </a:solidFill>
            <a:ln w="12700">
              <a:solidFill>
                <a:srgbClr val="8C8C8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5" tIns="74295" rIns="74295" bIns="74295" rtlCol="0" anchor="ctr">
              <a:noAutofit/>
            </a:bodyPr>
            <a:lstStyle/>
            <a:p>
              <a:pPr algn="ctr"/>
              <a:endParaRPr lang="en-US" sz="1138" err="1">
                <a:solidFill>
                  <a:schemeClr val="tx2"/>
                </a:solidFill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>
              <a:off x="1189954" y="3400194"/>
              <a:ext cx="782003" cy="1212532"/>
            </a:xfrm>
            <a:custGeom>
              <a:avLst/>
              <a:gdLst>
                <a:gd name="connsiteX0" fmla="*/ 266700 w 731520"/>
                <a:gd name="connsiteY0" fmla="*/ 0 h 1196340"/>
                <a:gd name="connsiteX1" fmla="*/ 731520 w 731520"/>
                <a:gd name="connsiteY1" fmla="*/ 1196340 h 1196340"/>
                <a:gd name="connsiteX2" fmla="*/ 0 w 731520"/>
                <a:gd name="connsiteY2" fmla="*/ 1196340 h 1196340"/>
                <a:gd name="connsiteX3" fmla="*/ 266700 w 731520"/>
                <a:gd name="connsiteY3" fmla="*/ 0 h 1196340"/>
                <a:gd name="connsiteX0" fmla="*/ 266700 w 739140"/>
                <a:gd name="connsiteY0" fmla="*/ 0 h 1226820"/>
                <a:gd name="connsiteX1" fmla="*/ 739140 w 739140"/>
                <a:gd name="connsiteY1" fmla="*/ 1226820 h 1226820"/>
                <a:gd name="connsiteX2" fmla="*/ 0 w 739140"/>
                <a:gd name="connsiteY2" fmla="*/ 1196340 h 1226820"/>
                <a:gd name="connsiteX3" fmla="*/ 266700 w 739140"/>
                <a:gd name="connsiteY3" fmla="*/ 0 h 1226820"/>
                <a:gd name="connsiteX0" fmla="*/ 266700 w 753428"/>
                <a:gd name="connsiteY0" fmla="*/ 0 h 1241107"/>
                <a:gd name="connsiteX1" fmla="*/ 753428 w 753428"/>
                <a:gd name="connsiteY1" fmla="*/ 1241107 h 1241107"/>
                <a:gd name="connsiteX2" fmla="*/ 0 w 753428"/>
                <a:gd name="connsiteY2" fmla="*/ 1196340 h 1241107"/>
                <a:gd name="connsiteX3" fmla="*/ 266700 w 753428"/>
                <a:gd name="connsiteY3" fmla="*/ 0 h 1241107"/>
                <a:gd name="connsiteX0" fmla="*/ 266700 w 758190"/>
                <a:gd name="connsiteY0" fmla="*/ 0 h 1226819"/>
                <a:gd name="connsiteX1" fmla="*/ 758190 w 758190"/>
                <a:gd name="connsiteY1" fmla="*/ 1226819 h 1226819"/>
                <a:gd name="connsiteX2" fmla="*/ 0 w 758190"/>
                <a:gd name="connsiteY2" fmla="*/ 1196340 h 1226819"/>
                <a:gd name="connsiteX3" fmla="*/ 266700 w 758190"/>
                <a:gd name="connsiteY3" fmla="*/ 0 h 1226819"/>
                <a:gd name="connsiteX0" fmla="*/ 278607 w 758190"/>
                <a:gd name="connsiteY0" fmla="*/ 0 h 1212532"/>
                <a:gd name="connsiteX1" fmla="*/ 758190 w 758190"/>
                <a:gd name="connsiteY1" fmla="*/ 1212532 h 1212532"/>
                <a:gd name="connsiteX2" fmla="*/ 0 w 758190"/>
                <a:gd name="connsiteY2" fmla="*/ 1182053 h 1212532"/>
                <a:gd name="connsiteX3" fmla="*/ 278607 w 758190"/>
                <a:gd name="connsiteY3" fmla="*/ 0 h 1212532"/>
                <a:gd name="connsiteX0" fmla="*/ 302420 w 782003"/>
                <a:gd name="connsiteY0" fmla="*/ 0 h 1212532"/>
                <a:gd name="connsiteX1" fmla="*/ 782003 w 782003"/>
                <a:gd name="connsiteY1" fmla="*/ 1212532 h 1212532"/>
                <a:gd name="connsiteX2" fmla="*/ 0 w 782003"/>
                <a:gd name="connsiteY2" fmla="*/ 1184434 h 1212532"/>
                <a:gd name="connsiteX3" fmla="*/ 302420 w 782003"/>
                <a:gd name="connsiteY3" fmla="*/ 0 h 1212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2003" h="1212532">
                  <a:moveTo>
                    <a:pt x="302420" y="0"/>
                  </a:moveTo>
                  <a:lnTo>
                    <a:pt x="782003" y="1212532"/>
                  </a:lnTo>
                  <a:lnTo>
                    <a:pt x="0" y="1184434"/>
                  </a:lnTo>
                  <a:lnTo>
                    <a:pt x="30242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tint val="66000"/>
                    <a:satMod val="160000"/>
                  </a:srgbClr>
                </a:gs>
                <a:gs pos="50000">
                  <a:srgbClr val="C00000">
                    <a:tint val="44500"/>
                    <a:satMod val="160000"/>
                  </a:srgbClr>
                </a:gs>
                <a:gs pos="100000">
                  <a:srgbClr val="C0000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5" tIns="74295" rIns="74295" bIns="74295" rtlCol="0" anchor="ctr">
              <a:noAutofit/>
            </a:bodyPr>
            <a:lstStyle/>
            <a:p>
              <a:pPr algn="ctr"/>
              <a:endParaRPr lang="en-US" sz="1138" err="1">
                <a:solidFill>
                  <a:schemeClr val="tx2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>
              <a:off x="359376" y="3385429"/>
              <a:ext cx="1135380" cy="1790700"/>
            </a:xfrm>
            <a:custGeom>
              <a:avLst/>
              <a:gdLst>
                <a:gd name="connsiteX0" fmla="*/ 403860 w 1135380"/>
                <a:gd name="connsiteY0" fmla="*/ 0 h 1790700"/>
                <a:gd name="connsiteX1" fmla="*/ 403860 w 1135380"/>
                <a:gd name="connsiteY1" fmla="*/ 0 h 1790700"/>
                <a:gd name="connsiteX2" fmla="*/ 0 w 1135380"/>
                <a:gd name="connsiteY2" fmla="*/ 1744980 h 1790700"/>
                <a:gd name="connsiteX3" fmla="*/ 777240 w 1135380"/>
                <a:gd name="connsiteY3" fmla="*/ 1790700 h 1790700"/>
                <a:gd name="connsiteX4" fmla="*/ 1135380 w 1135380"/>
                <a:gd name="connsiteY4" fmla="*/ 15240 h 1790700"/>
                <a:gd name="connsiteX5" fmla="*/ 403860 w 1135380"/>
                <a:gd name="connsiteY5" fmla="*/ 0 h 1790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5380" h="1790700">
                  <a:moveTo>
                    <a:pt x="403860" y="0"/>
                  </a:moveTo>
                  <a:lnTo>
                    <a:pt x="403860" y="0"/>
                  </a:lnTo>
                  <a:lnTo>
                    <a:pt x="0" y="1744980"/>
                  </a:lnTo>
                  <a:lnTo>
                    <a:pt x="777240" y="1790700"/>
                  </a:lnTo>
                  <a:lnTo>
                    <a:pt x="1135380" y="15240"/>
                  </a:lnTo>
                  <a:lnTo>
                    <a:pt x="403860" y="0"/>
                  </a:lnTo>
                  <a:close/>
                </a:path>
              </a:pathLst>
            </a:custGeom>
            <a:solidFill>
              <a:srgbClr val="C000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5" tIns="74295" rIns="74295" bIns="74295" rtlCol="0" anchor="ctr">
              <a:noAutofit/>
            </a:bodyPr>
            <a:lstStyle/>
            <a:p>
              <a:pPr algn="ctr"/>
              <a:endParaRPr lang="en-US" sz="1138" err="1">
                <a:solidFill>
                  <a:schemeClr val="tx2"/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784751" y="2738945"/>
              <a:ext cx="691028" cy="811367"/>
            </a:xfrm>
            <a:prstGeom prst="rect">
              <a:avLst/>
            </a:prstGeom>
            <a:noFill/>
          </p:spPr>
          <p:txBody>
            <a:bodyPr wrap="square" lIns="29250" tIns="29250" rIns="29250" bIns="29250" rtlCol="0">
              <a:spAutoFit/>
            </a:bodyPr>
            <a:lstStyle/>
            <a:p>
              <a:pPr algn="ctr"/>
              <a:r>
                <a:rPr lang="it-IT" sz="3900" b="1" dirty="0">
                  <a:solidFill>
                    <a:srgbClr val="C00000"/>
                  </a:solidFill>
                </a:rPr>
                <a:t>4</a:t>
              </a:r>
              <a:endParaRPr lang="en-US" sz="3900" b="1" dirty="0">
                <a:solidFill>
                  <a:srgbClr val="C00000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745581" y="2091580"/>
              <a:ext cx="691028" cy="811367"/>
            </a:xfrm>
            <a:prstGeom prst="rect">
              <a:avLst/>
            </a:prstGeom>
            <a:noFill/>
          </p:spPr>
          <p:txBody>
            <a:bodyPr wrap="square" lIns="29250" tIns="29250" rIns="29250" bIns="29250" rtlCol="0">
              <a:spAutoFit/>
            </a:bodyPr>
            <a:lstStyle/>
            <a:p>
              <a:pPr algn="ctr"/>
              <a:r>
                <a:rPr lang="it-IT" sz="3900" b="1" dirty="0">
                  <a:solidFill>
                    <a:srgbClr val="006600"/>
                  </a:solidFill>
                </a:rPr>
                <a:t>3</a:t>
              </a:r>
              <a:endParaRPr lang="en-US" sz="3900" b="1" dirty="0">
                <a:solidFill>
                  <a:srgbClr val="006600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684514" y="1442689"/>
              <a:ext cx="691028" cy="811367"/>
            </a:xfrm>
            <a:prstGeom prst="rect">
              <a:avLst/>
            </a:prstGeom>
            <a:noFill/>
          </p:spPr>
          <p:txBody>
            <a:bodyPr wrap="square" lIns="29250" tIns="29250" rIns="29250" bIns="29250" rtlCol="0">
              <a:spAutoFit/>
            </a:bodyPr>
            <a:lstStyle/>
            <a:p>
              <a:pPr algn="ctr"/>
              <a:r>
                <a:rPr lang="it-IT" sz="3900" b="1" dirty="0">
                  <a:solidFill>
                    <a:srgbClr val="006D00"/>
                  </a:solidFill>
                </a:rPr>
                <a:t>2</a:t>
              </a:r>
              <a:endParaRPr lang="en-US" sz="3900" b="1" dirty="0">
                <a:solidFill>
                  <a:srgbClr val="006D00"/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3595507" y="790987"/>
              <a:ext cx="691028" cy="811367"/>
            </a:xfrm>
            <a:prstGeom prst="rect">
              <a:avLst/>
            </a:prstGeom>
            <a:noFill/>
          </p:spPr>
          <p:txBody>
            <a:bodyPr wrap="square" lIns="29250" tIns="29250" rIns="29250" bIns="29250" rtlCol="0">
              <a:spAutoFit/>
            </a:bodyPr>
            <a:lstStyle/>
            <a:p>
              <a:pPr algn="ctr"/>
              <a:r>
                <a:rPr lang="it-IT" sz="3900" b="1" dirty="0">
                  <a:solidFill>
                    <a:srgbClr val="006D00"/>
                  </a:solidFill>
                </a:rPr>
                <a:t>1</a:t>
              </a:r>
              <a:endParaRPr lang="en-US" sz="3900" b="1" dirty="0">
                <a:solidFill>
                  <a:srgbClr val="006D00"/>
                </a:solidFill>
              </a:endParaRPr>
            </a:p>
          </p:txBody>
        </p:sp>
        <p:sp>
          <p:nvSpPr>
            <p:cNvPr id="31" name="Freeform 26"/>
            <p:cNvSpPr>
              <a:spLocks noEditPoints="1"/>
            </p:cNvSpPr>
            <p:nvPr/>
          </p:nvSpPr>
          <p:spPr bwMode="auto">
            <a:xfrm>
              <a:off x="3620659" y="1820789"/>
              <a:ext cx="368300" cy="371475"/>
            </a:xfrm>
            <a:custGeom>
              <a:avLst/>
              <a:gdLst>
                <a:gd name="T0" fmla="*/ 94 w 137"/>
                <a:gd name="T1" fmla="*/ 95 h 138"/>
                <a:gd name="T2" fmla="*/ 98 w 137"/>
                <a:gd name="T3" fmla="*/ 83 h 138"/>
                <a:gd name="T4" fmla="*/ 101 w 137"/>
                <a:gd name="T5" fmla="*/ 95 h 138"/>
                <a:gd name="T6" fmla="*/ 106 w 137"/>
                <a:gd name="T7" fmla="*/ 43 h 138"/>
                <a:gd name="T8" fmla="*/ 88 w 137"/>
                <a:gd name="T9" fmla="*/ 95 h 138"/>
                <a:gd name="T10" fmla="*/ 100 w 137"/>
                <a:gd name="T11" fmla="*/ 52 h 138"/>
                <a:gd name="T12" fmla="*/ 94 w 137"/>
                <a:gd name="T13" fmla="*/ 52 h 138"/>
                <a:gd name="T14" fmla="*/ 97 w 137"/>
                <a:gd name="T15" fmla="*/ 60 h 138"/>
                <a:gd name="T16" fmla="*/ 97 w 137"/>
                <a:gd name="T17" fmla="*/ 66 h 138"/>
                <a:gd name="T18" fmla="*/ 97 w 137"/>
                <a:gd name="T19" fmla="*/ 60 h 138"/>
                <a:gd name="T20" fmla="*/ 100 w 137"/>
                <a:gd name="T21" fmla="*/ 75 h 138"/>
                <a:gd name="T22" fmla="*/ 94 w 137"/>
                <a:gd name="T23" fmla="*/ 75 h 138"/>
                <a:gd name="T24" fmla="*/ 68 w 137"/>
                <a:gd name="T25" fmla="*/ 0 h 138"/>
                <a:gd name="T26" fmla="*/ 68 w 137"/>
                <a:gd name="T27" fmla="*/ 138 h 138"/>
                <a:gd name="T28" fmla="*/ 68 w 137"/>
                <a:gd name="T29" fmla="*/ 0 h 138"/>
                <a:gd name="T30" fmla="*/ 108 w 137"/>
                <a:gd name="T31" fmla="*/ 102 h 138"/>
                <a:gd name="T32" fmla="*/ 25 w 137"/>
                <a:gd name="T33" fmla="*/ 98 h 138"/>
                <a:gd name="T34" fmla="*/ 28 w 137"/>
                <a:gd name="T35" fmla="*/ 36 h 138"/>
                <a:gd name="T36" fmla="*/ 49 w 137"/>
                <a:gd name="T37" fmla="*/ 29 h 138"/>
                <a:gd name="T38" fmla="*/ 86 w 137"/>
                <a:gd name="T39" fmla="*/ 26 h 138"/>
                <a:gd name="T40" fmla="*/ 88 w 137"/>
                <a:gd name="T41" fmla="*/ 36 h 138"/>
                <a:gd name="T42" fmla="*/ 112 w 137"/>
                <a:gd name="T43" fmla="*/ 40 h 138"/>
                <a:gd name="T44" fmla="*/ 54 w 137"/>
                <a:gd name="T45" fmla="*/ 95 h 138"/>
                <a:gd name="T46" fmla="*/ 60 w 137"/>
                <a:gd name="T47" fmla="*/ 86 h 138"/>
                <a:gd name="T48" fmla="*/ 65 w 137"/>
                <a:gd name="T49" fmla="*/ 86 h 138"/>
                <a:gd name="T50" fmla="*/ 82 w 137"/>
                <a:gd name="T51" fmla="*/ 95 h 138"/>
                <a:gd name="T52" fmla="*/ 54 w 137"/>
                <a:gd name="T53" fmla="*/ 31 h 138"/>
                <a:gd name="T54" fmla="*/ 74 w 137"/>
                <a:gd name="T55" fmla="*/ 38 h 138"/>
                <a:gd name="T56" fmla="*/ 74 w 137"/>
                <a:gd name="T57" fmla="*/ 43 h 138"/>
                <a:gd name="T58" fmla="*/ 74 w 137"/>
                <a:gd name="T59" fmla="*/ 38 h 138"/>
                <a:gd name="T60" fmla="*/ 77 w 137"/>
                <a:gd name="T61" fmla="*/ 52 h 138"/>
                <a:gd name="T62" fmla="*/ 71 w 137"/>
                <a:gd name="T63" fmla="*/ 52 h 138"/>
                <a:gd name="T64" fmla="*/ 74 w 137"/>
                <a:gd name="T65" fmla="*/ 60 h 138"/>
                <a:gd name="T66" fmla="*/ 74 w 137"/>
                <a:gd name="T67" fmla="*/ 66 h 138"/>
                <a:gd name="T68" fmla="*/ 74 w 137"/>
                <a:gd name="T69" fmla="*/ 60 h 138"/>
                <a:gd name="T70" fmla="*/ 77 w 137"/>
                <a:gd name="T71" fmla="*/ 75 h 138"/>
                <a:gd name="T72" fmla="*/ 71 w 137"/>
                <a:gd name="T73" fmla="*/ 75 h 138"/>
                <a:gd name="T74" fmla="*/ 63 w 137"/>
                <a:gd name="T75" fmla="*/ 38 h 138"/>
                <a:gd name="T76" fmla="*/ 63 w 137"/>
                <a:gd name="T77" fmla="*/ 43 h 138"/>
                <a:gd name="T78" fmla="*/ 63 w 137"/>
                <a:gd name="T79" fmla="*/ 38 h 138"/>
                <a:gd name="T80" fmla="*/ 65 w 137"/>
                <a:gd name="T81" fmla="*/ 52 h 138"/>
                <a:gd name="T82" fmla="*/ 60 w 137"/>
                <a:gd name="T83" fmla="*/ 52 h 138"/>
                <a:gd name="T84" fmla="*/ 63 w 137"/>
                <a:gd name="T85" fmla="*/ 60 h 138"/>
                <a:gd name="T86" fmla="*/ 63 w 137"/>
                <a:gd name="T87" fmla="*/ 66 h 138"/>
                <a:gd name="T88" fmla="*/ 63 w 137"/>
                <a:gd name="T89" fmla="*/ 60 h 138"/>
                <a:gd name="T90" fmla="*/ 65 w 137"/>
                <a:gd name="T91" fmla="*/ 75 h 138"/>
                <a:gd name="T92" fmla="*/ 60 w 137"/>
                <a:gd name="T93" fmla="*/ 75 h 138"/>
                <a:gd name="T94" fmla="*/ 30 w 137"/>
                <a:gd name="T95" fmla="*/ 95 h 138"/>
                <a:gd name="T96" fmla="*/ 36 w 137"/>
                <a:gd name="T97" fmla="*/ 86 h 138"/>
                <a:gd name="T98" fmla="*/ 42 w 137"/>
                <a:gd name="T99" fmla="*/ 86 h 138"/>
                <a:gd name="T100" fmla="*/ 49 w 137"/>
                <a:gd name="T101" fmla="*/ 95 h 138"/>
                <a:gd name="T102" fmla="*/ 30 w 137"/>
                <a:gd name="T103" fmla="*/ 43 h 138"/>
                <a:gd name="T104" fmla="*/ 40 w 137"/>
                <a:gd name="T105" fmla="*/ 49 h 138"/>
                <a:gd name="T106" fmla="*/ 40 w 137"/>
                <a:gd name="T107" fmla="*/ 55 h 138"/>
                <a:gd name="T108" fmla="*/ 40 w 137"/>
                <a:gd name="T109" fmla="*/ 49 h 138"/>
                <a:gd name="T110" fmla="*/ 43 w 137"/>
                <a:gd name="T111" fmla="*/ 63 h 138"/>
                <a:gd name="T112" fmla="*/ 37 w 137"/>
                <a:gd name="T113" fmla="*/ 63 h 138"/>
                <a:gd name="T114" fmla="*/ 40 w 137"/>
                <a:gd name="T115" fmla="*/ 72 h 138"/>
                <a:gd name="T116" fmla="*/ 40 w 137"/>
                <a:gd name="T117" fmla="*/ 78 h 138"/>
                <a:gd name="T118" fmla="*/ 40 w 137"/>
                <a:gd name="T119" fmla="*/ 72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7" h="138">
                  <a:moveTo>
                    <a:pt x="88" y="95"/>
                  </a:moveTo>
                  <a:cubicBezTo>
                    <a:pt x="94" y="95"/>
                    <a:pt x="94" y="95"/>
                    <a:pt x="94" y="95"/>
                  </a:cubicBezTo>
                  <a:cubicBezTo>
                    <a:pt x="94" y="86"/>
                    <a:pt x="94" y="86"/>
                    <a:pt x="94" y="86"/>
                  </a:cubicBezTo>
                  <a:cubicBezTo>
                    <a:pt x="94" y="85"/>
                    <a:pt x="96" y="83"/>
                    <a:pt x="98" y="83"/>
                  </a:cubicBezTo>
                  <a:cubicBezTo>
                    <a:pt x="99" y="83"/>
                    <a:pt x="101" y="85"/>
                    <a:pt x="101" y="86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106" y="95"/>
                    <a:pt x="106" y="95"/>
                    <a:pt x="106" y="95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88" y="43"/>
                    <a:pt x="88" y="43"/>
                    <a:pt x="88" y="43"/>
                  </a:cubicBezTo>
                  <a:lnTo>
                    <a:pt x="88" y="95"/>
                  </a:lnTo>
                  <a:close/>
                  <a:moveTo>
                    <a:pt x="97" y="49"/>
                  </a:moveTo>
                  <a:cubicBezTo>
                    <a:pt x="99" y="49"/>
                    <a:pt x="100" y="50"/>
                    <a:pt x="100" y="52"/>
                  </a:cubicBezTo>
                  <a:cubicBezTo>
                    <a:pt x="100" y="53"/>
                    <a:pt x="99" y="55"/>
                    <a:pt x="97" y="55"/>
                  </a:cubicBezTo>
                  <a:cubicBezTo>
                    <a:pt x="95" y="55"/>
                    <a:pt x="94" y="53"/>
                    <a:pt x="94" y="52"/>
                  </a:cubicBezTo>
                  <a:cubicBezTo>
                    <a:pt x="94" y="50"/>
                    <a:pt x="95" y="49"/>
                    <a:pt x="97" y="49"/>
                  </a:cubicBezTo>
                  <a:close/>
                  <a:moveTo>
                    <a:pt x="97" y="60"/>
                  </a:moveTo>
                  <a:cubicBezTo>
                    <a:pt x="99" y="60"/>
                    <a:pt x="100" y="62"/>
                    <a:pt x="100" y="63"/>
                  </a:cubicBezTo>
                  <a:cubicBezTo>
                    <a:pt x="100" y="65"/>
                    <a:pt x="99" y="66"/>
                    <a:pt x="97" y="66"/>
                  </a:cubicBezTo>
                  <a:cubicBezTo>
                    <a:pt x="95" y="66"/>
                    <a:pt x="94" y="65"/>
                    <a:pt x="94" y="63"/>
                  </a:cubicBezTo>
                  <a:cubicBezTo>
                    <a:pt x="94" y="62"/>
                    <a:pt x="95" y="60"/>
                    <a:pt x="97" y="60"/>
                  </a:cubicBezTo>
                  <a:close/>
                  <a:moveTo>
                    <a:pt x="97" y="72"/>
                  </a:moveTo>
                  <a:cubicBezTo>
                    <a:pt x="99" y="72"/>
                    <a:pt x="100" y="73"/>
                    <a:pt x="100" y="75"/>
                  </a:cubicBezTo>
                  <a:cubicBezTo>
                    <a:pt x="100" y="76"/>
                    <a:pt x="99" y="78"/>
                    <a:pt x="97" y="78"/>
                  </a:cubicBezTo>
                  <a:cubicBezTo>
                    <a:pt x="95" y="78"/>
                    <a:pt x="94" y="76"/>
                    <a:pt x="94" y="75"/>
                  </a:cubicBezTo>
                  <a:cubicBezTo>
                    <a:pt x="94" y="73"/>
                    <a:pt x="95" y="72"/>
                    <a:pt x="97" y="72"/>
                  </a:cubicBezTo>
                  <a:close/>
                  <a:moveTo>
                    <a:pt x="68" y="0"/>
                  </a:moveTo>
                  <a:cubicBezTo>
                    <a:pt x="30" y="0"/>
                    <a:pt x="0" y="31"/>
                    <a:pt x="0" y="69"/>
                  </a:cubicBezTo>
                  <a:cubicBezTo>
                    <a:pt x="0" y="107"/>
                    <a:pt x="30" y="138"/>
                    <a:pt x="68" y="138"/>
                  </a:cubicBezTo>
                  <a:cubicBezTo>
                    <a:pt x="106" y="138"/>
                    <a:pt x="137" y="107"/>
                    <a:pt x="137" y="69"/>
                  </a:cubicBezTo>
                  <a:cubicBezTo>
                    <a:pt x="137" y="31"/>
                    <a:pt x="106" y="0"/>
                    <a:pt x="68" y="0"/>
                  </a:cubicBezTo>
                  <a:close/>
                  <a:moveTo>
                    <a:pt x="112" y="98"/>
                  </a:moveTo>
                  <a:cubicBezTo>
                    <a:pt x="112" y="99"/>
                    <a:pt x="110" y="102"/>
                    <a:pt x="108" y="102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27" y="102"/>
                    <a:pt x="25" y="99"/>
                    <a:pt x="25" y="98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5" y="39"/>
                    <a:pt x="27" y="36"/>
                    <a:pt x="28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7"/>
                    <a:pt x="50" y="26"/>
                    <a:pt x="51" y="26"/>
                  </a:cubicBezTo>
                  <a:cubicBezTo>
                    <a:pt x="86" y="26"/>
                    <a:pt x="86" y="26"/>
                    <a:pt x="86" y="26"/>
                  </a:cubicBezTo>
                  <a:cubicBezTo>
                    <a:pt x="87" y="26"/>
                    <a:pt x="88" y="27"/>
                    <a:pt x="88" y="29"/>
                  </a:cubicBezTo>
                  <a:cubicBezTo>
                    <a:pt x="88" y="36"/>
                    <a:pt x="88" y="36"/>
                    <a:pt x="88" y="36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10" y="36"/>
                    <a:pt x="112" y="39"/>
                    <a:pt x="112" y="40"/>
                  </a:cubicBezTo>
                  <a:lnTo>
                    <a:pt x="112" y="98"/>
                  </a:lnTo>
                  <a:close/>
                  <a:moveTo>
                    <a:pt x="54" y="95"/>
                  </a:moveTo>
                  <a:cubicBezTo>
                    <a:pt x="60" y="95"/>
                    <a:pt x="60" y="95"/>
                    <a:pt x="60" y="95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0" y="85"/>
                    <a:pt x="61" y="83"/>
                    <a:pt x="62" y="83"/>
                  </a:cubicBezTo>
                  <a:cubicBezTo>
                    <a:pt x="64" y="83"/>
                    <a:pt x="65" y="85"/>
                    <a:pt x="65" y="86"/>
                  </a:cubicBezTo>
                  <a:cubicBezTo>
                    <a:pt x="65" y="95"/>
                    <a:pt x="65" y="95"/>
                    <a:pt x="65" y="95"/>
                  </a:cubicBezTo>
                  <a:cubicBezTo>
                    <a:pt x="82" y="95"/>
                    <a:pt x="82" y="95"/>
                    <a:pt x="82" y="95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54" y="31"/>
                    <a:pt x="54" y="31"/>
                    <a:pt x="54" y="31"/>
                  </a:cubicBezTo>
                  <a:lnTo>
                    <a:pt x="54" y="95"/>
                  </a:lnTo>
                  <a:close/>
                  <a:moveTo>
                    <a:pt x="74" y="38"/>
                  </a:moveTo>
                  <a:cubicBezTo>
                    <a:pt x="76" y="38"/>
                    <a:pt x="77" y="39"/>
                    <a:pt x="77" y="40"/>
                  </a:cubicBezTo>
                  <a:cubicBezTo>
                    <a:pt x="77" y="42"/>
                    <a:pt x="76" y="43"/>
                    <a:pt x="74" y="43"/>
                  </a:cubicBezTo>
                  <a:cubicBezTo>
                    <a:pt x="72" y="43"/>
                    <a:pt x="71" y="42"/>
                    <a:pt x="71" y="40"/>
                  </a:cubicBezTo>
                  <a:cubicBezTo>
                    <a:pt x="71" y="39"/>
                    <a:pt x="72" y="38"/>
                    <a:pt x="74" y="38"/>
                  </a:cubicBezTo>
                  <a:close/>
                  <a:moveTo>
                    <a:pt x="74" y="49"/>
                  </a:moveTo>
                  <a:cubicBezTo>
                    <a:pt x="76" y="49"/>
                    <a:pt x="77" y="50"/>
                    <a:pt x="77" y="52"/>
                  </a:cubicBezTo>
                  <a:cubicBezTo>
                    <a:pt x="77" y="53"/>
                    <a:pt x="76" y="55"/>
                    <a:pt x="74" y="55"/>
                  </a:cubicBezTo>
                  <a:cubicBezTo>
                    <a:pt x="72" y="55"/>
                    <a:pt x="71" y="53"/>
                    <a:pt x="71" y="52"/>
                  </a:cubicBezTo>
                  <a:cubicBezTo>
                    <a:pt x="71" y="50"/>
                    <a:pt x="72" y="49"/>
                    <a:pt x="74" y="49"/>
                  </a:cubicBezTo>
                  <a:close/>
                  <a:moveTo>
                    <a:pt x="74" y="60"/>
                  </a:moveTo>
                  <a:cubicBezTo>
                    <a:pt x="76" y="60"/>
                    <a:pt x="77" y="62"/>
                    <a:pt x="77" y="63"/>
                  </a:cubicBezTo>
                  <a:cubicBezTo>
                    <a:pt x="77" y="65"/>
                    <a:pt x="76" y="66"/>
                    <a:pt x="74" y="66"/>
                  </a:cubicBezTo>
                  <a:cubicBezTo>
                    <a:pt x="72" y="66"/>
                    <a:pt x="71" y="65"/>
                    <a:pt x="71" y="63"/>
                  </a:cubicBezTo>
                  <a:cubicBezTo>
                    <a:pt x="71" y="62"/>
                    <a:pt x="72" y="60"/>
                    <a:pt x="74" y="60"/>
                  </a:cubicBezTo>
                  <a:close/>
                  <a:moveTo>
                    <a:pt x="74" y="72"/>
                  </a:moveTo>
                  <a:cubicBezTo>
                    <a:pt x="76" y="72"/>
                    <a:pt x="77" y="73"/>
                    <a:pt x="77" y="75"/>
                  </a:cubicBezTo>
                  <a:cubicBezTo>
                    <a:pt x="77" y="76"/>
                    <a:pt x="76" y="78"/>
                    <a:pt x="74" y="78"/>
                  </a:cubicBezTo>
                  <a:cubicBezTo>
                    <a:pt x="72" y="78"/>
                    <a:pt x="71" y="76"/>
                    <a:pt x="71" y="75"/>
                  </a:cubicBezTo>
                  <a:cubicBezTo>
                    <a:pt x="71" y="73"/>
                    <a:pt x="72" y="72"/>
                    <a:pt x="74" y="72"/>
                  </a:cubicBezTo>
                  <a:close/>
                  <a:moveTo>
                    <a:pt x="63" y="38"/>
                  </a:moveTo>
                  <a:cubicBezTo>
                    <a:pt x="64" y="38"/>
                    <a:pt x="65" y="39"/>
                    <a:pt x="65" y="40"/>
                  </a:cubicBezTo>
                  <a:cubicBezTo>
                    <a:pt x="65" y="42"/>
                    <a:pt x="64" y="43"/>
                    <a:pt x="63" y="43"/>
                  </a:cubicBezTo>
                  <a:cubicBezTo>
                    <a:pt x="61" y="43"/>
                    <a:pt x="60" y="42"/>
                    <a:pt x="60" y="40"/>
                  </a:cubicBezTo>
                  <a:cubicBezTo>
                    <a:pt x="60" y="39"/>
                    <a:pt x="61" y="38"/>
                    <a:pt x="63" y="38"/>
                  </a:cubicBezTo>
                  <a:close/>
                  <a:moveTo>
                    <a:pt x="63" y="49"/>
                  </a:moveTo>
                  <a:cubicBezTo>
                    <a:pt x="64" y="49"/>
                    <a:pt x="65" y="50"/>
                    <a:pt x="65" y="52"/>
                  </a:cubicBezTo>
                  <a:cubicBezTo>
                    <a:pt x="65" y="53"/>
                    <a:pt x="64" y="55"/>
                    <a:pt x="63" y="55"/>
                  </a:cubicBezTo>
                  <a:cubicBezTo>
                    <a:pt x="61" y="55"/>
                    <a:pt x="60" y="53"/>
                    <a:pt x="60" y="52"/>
                  </a:cubicBezTo>
                  <a:cubicBezTo>
                    <a:pt x="60" y="50"/>
                    <a:pt x="61" y="49"/>
                    <a:pt x="63" y="49"/>
                  </a:cubicBezTo>
                  <a:close/>
                  <a:moveTo>
                    <a:pt x="63" y="60"/>
                  </a:moveTo>
                  <a:cubicBezTo>
                    <a:pt x="64" y="60"/>
                    <a:pt x="65" y="62"/>
                    <a:pt x="65" y="63"/>
                  </a:cubicBezTo>
                  <a:cubicBezTo>
                    <a:pt x="65" y="65"/>
                    <a:pt x="64" y="66"/>
                    <a:pt x="63" y="66"/>
                  </a:cubicBezTo>
                  <a:cubicBezTo>
                    <a:pt x="61" y="66"/>
                    <a:pt x="60" y="65"/>
                    <a:pt x="60" y="63"/>
                  </a:cubicBezTo>
                  <a:cubicBezTo>
                    <a:pt x="60" y="62"/>
                    <a:pt x="61" y="60"/>
                    <a:pt x="63" y="60"/>
                  </a:cubicBezTo>
                  <a:close/>
                  <a:moveTo>
                    <a:pt x="63" y="72"/>
                  </a:moveTo>
                  <a:cubicBezTo>
                    <a:pt x="64" y="72"/>
                    <a:pt x="65" y="73"/>
                    <a:pt x="65" y="75"/>
                  </a:cubicBezTo>
                  <a:cubicBezTo>
                    <a:pt x="65" y="76"/>
                    <a:pt x="64" y="78"/>
                    <a:pt x="63" y="78"/>
                  </a:cubicBezTo>
                  <a:cubicBezTo>
                    <a:pt x="61" y="78"/>
                    <a:pt x="60" y="76"/>
                    <a:pt x="60" y="75"/>
                  </a:cubicBezTo>
                  <a:cubicBezTo>
                    <a:pt x="60" y="73"/>
                    <a:pt x="61" y="72"/>
                    <a:pt x="63" y="72"/>
                  </a:cubicBezTo>
                  <a:close/>
                  <a:moveTo>
                    <a:pt x="30" y="95"/>
                  </a:moveTo>
                  <a:cubicBezTo>
                    <a:pt x="36" y="95"/>
                    <a:pt x="36" y="95"/>
                    <a:pt x="36" y="95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36" y="85"/>
                    <a:pt x="37" y="83"/>
                    <a:pt x="39" y="83"/>
                  </a:cubicBezTo>
                  <a:cubicBezTo>
                    <a:pt x="41" y="83"/>
                    <a:pt x="42" y="85"/>
                    <a:pt x="42" y="86"/>
                  </a:cubicBezTo>
                  <a:cubicBezTo>
                    <a:pt x="42" y="95"/>
                    <a:pt x="42" y="95"/>
                    <a:pt x="42" y="95"/>
                  </a:cubicBezTo>
                  <a:cubicBezTo>
                    <a:pt x="49" y="95"/>
                    <a:pt x="49" y="95"/>
                    <a:pt x="49" y="95"/>
                  </a:cubicBezTo>
                  <a:cubicBezTo>
                    <a:pt x="49" y="43"/>
                    <a:pt x="49" y="43"/>
                    <a:pt x="49" y="43"/>
                  </a:cubicBezTo>
                  <a:cubicBezTo>
                    <a:pt x="30" y="43"/>
                    <a:pt x="30" y="43"/>
                    <a:pt x="30" y="43"/>
                  </a:cubicBezTo>
                  <a:lnTo>
                    <a:pt x="30" y="95"/>
                  </a:lnTo>
                  <a:close/>
                  <a:moveTo>
                    <a:pt x="40" y="49"/>
                  </a:moveTo>
                  <a:cubicBezTo>
                    <a:pt x="41" y="49"/>
                    <a:pt x="43" y="50"/>
                    <a:pt x="43" y="52"/>
                  </a:cubicBezTo>
                  <a:cubicBezTo>
                    <a:pt x="43" y="53"/>
                    <a:pt x="41" y="55"/>
                    <a:pt x="40" y="55"/>
                  </a:cubicBezTo>
                  <a:cubicBezTo>
                    <a:pt x="38" y="55"/>
                    <a:pt x="37" y="53"/>
                    <a:pt x="37" y="52"/>
                  </a:cubicBezTo>
                  <a:cubicBezTo>
                    <a:pt x="37" y="50"/>
                    <a:pt x="38" y="49"/>
                    <a:pt x="40" y="49"/>
                  </a:cubicBezTo>
                  <a:close/>
                  <a:moveTo>
                    <a:pt x="40" y="60"/>
                  </a:moveTo>
                  <a:cubicBezTo>
                    <a:pt x="41" y="60"/>
                    <a:pt x="43" y="62"/>
                    <a:pt x="43" y="63"/>
                  </a:cubicBezTo>
                  <a:cubicBezTo>
                    <a:pt x="43" y="65"/>
                    <a:pt x="41" y="66"/>
                    <a:pt x="40" y="66"/>
                  </a:cubicBezTo>
                  <a:cubicBezTo>
                    <a:pt x="38" y="66"/>
                    <a:pt x="37" y="65"/>
                    <a:pt x="37" y="63"/>
                  </a:cubicBezTo>
                  <a:cubicBezTo>
                    <a:pt x="37" y="62"/>
                    <a:pt x="38" y="60"/>
                    <a:pt x="40" y="60"/>
                  </a:cubicBezTo>
                  <a:close/>
                  <a:moveTo>
                    <a:pt x="40" y="72"/>
                  </a:moveTo>
                  <a:cubicBezTo>
                    <a:pt x="41" y="72"/>
                    <a:pt x="43" y="73"/>
                    <a:pt x="43" y="75"/>
                  </a:cubicBezTo>
                  <a:cubicBezTo>
                    <a:pt x="43" y="76"/>
                    <a:pt x="41" y="78"/>
                    <a:pt x="40" y="78"/>
                  </a:cubicBezTo>
                  <a:cubicBezTo>
                    <a:pt x="38" y="78"/>
                    <a:pt x="37" y="76"/>
                    <a:pt x="37" y="75"/>
                  </a:cubicBezTo>
                  <a:cubicBezTo>
                    <a:pt x="37" y="73"/>
                    <a:pt x="38" y="72"/>
                    <a:pt x="40" y="7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GB" sz="813"/>
            </a:p>
          </p:txBody>
        </p:sp>
        <p:sp>
          <p:nvSpPr>
            <p:cNvPr id="32" name="Freeform 23"/>
            <p:cNvSpPr>
              <a:spLocks noChangeAspect="1" noEditPoints="1"/>
            </p:cNvSpPr>
            <p:nvPr/>
          </p:nvSpPr>
          <p:spPr bwMode="auto">
            <a:xfrm>
              <a:off x="2716334" y="2495593"/>
              <a:ext cx="370106" cy="369021"/>
            </a:xfrm>
            <a:custGeom>
              <a:avLst/>
              <a:gdLst>
                <a:gd name="T0" fmla="*/ 192 w 512"/>
                <a:gd name="T1" fmla="*/ 352 h 512"/>
                <a:gd name="T2" fmla="*/ 266 w 512"/>
                <a:gd name="T3" fmla="*/ 117 h 512"/>
                <a:gd name="T4" fmla="*/ 227 w 512"/>
                <a:gd name="T5" fmla="*/ 141 h 512"/>
                <a:gd name="T6" fmla="*/ 245 w 512"/>
                <a:gd name="T7" fmla="*/ 149 h 512"/>
                <a:gd name="T8" fmla="*/ 234 w 512"/>
                <a:gd name="T9" fmla="*/ 160 h 512"/>
                <a:gd name="T10" fmla="*/ 225 w 512"/>
                <a:gd name="T11" fmla="*/ 188 h 512"/>
                <a:gd name="T12" fmla="*/ 244 w 512"/>
                <a:gd name="T13" fmla="*/ 188 h 512"/>
                <a:gd name="T14" fmla="*/ 234 w 512"/>
                <a:gd name="T15" fmla="*/ 202 h 512"/>
                <a:gd name="T16" fmla="*/ 225 w 512"/>
                <a:gd name="T17" fmla="*/ 188 h 512"/>
                <a:gd name="T18" fmla="*/ 238 w 512"/>
                <a:gd name="T19" fmla="*/ 225 h 512"/>
                <a:gd name="T20" fmla="*/ 242 w 512"/>
                <a:gd name="T21" fmla="*/ 242 h 512"/>
                <a:gd name="T22" fmla="*/ 227 w 512"/>
                <a:gd name="T23" fmla="*/ 242 h 512"/>
                <a:gd name="T24" fmla="*/ 225 w 512"/>
                <a:gd name="T25" fmla="*/ 273 h 512"/>
                <a:gd name="T26" fmla="*/ 245 w 512"/>
                <a:gd name="T27" fmla="*/ 277 h 512"/>
                <a:gd name="T28" fmla="*/ 230 w 512"/>
                <a:gd name="T29" fmla="*/ 287 h 512"/>
                <a:gd name="T30" fmla="*/ 227 w 512"/>
                <a:gd name="T31" fmla="*/ 312 h 512"/>
                <a:gd name="T32" fmla="*/ 242 w 512"/>
                <a:gd name="T33" fmla="*/ 312 h 512"/>
                <a:gd name="T34" fmla="*/ 238 w 512"/>
                <a:gd name="T35" fmla="*/ 329 h 512"/>
                <a:gd name="T36" fmla="*/ 224 w 512"/>
                <a:gd name="T37" fmla="*/ 320 h 512"/>
                <a:gd name="T38" fmla="*/ 230 w 512"/>
                <a:gd name="T39" fmla="*/ 353 h 512"/>
                <a:gd name="T40" fmla="*/ 244 w 512"/>
                <a:gd name="T41" fmla="*/ 366 h 512"/>
                <a:gd name="T42" fmla="*/ 230 w 512"/>
                <a:gd name="T43" fmla="*/ 372 h 512"/>
                <a:gd name="T44" fmla="*/ 225 w 512"/>
                <a:gd name="T45" fmla="*/ 358 h 512"/>
                <a:gd name="T46" fmla="*/ 201 w 512"/>
                <a:gd name="T47" fmla="*/ 145 h 512"/>
                <a:gd name="T48" fmla="*/ 188 w 512"/>
                <a:gd name="T49" fmla="*/ 159 h 512"/>
                <a:gd name="T50" fmla="*/ 182 w 512"/>
                <a:gd name="T51" fmla="*/ 188 h 512"/>
                <a:gd name="T52" fmla="*/ 190 w 512"/>
                <a:gd name="T53" fmla="*/ 181 h 512"/>
                <a:gd name="T54" fmla="*/ 202 w 512"/>
                <a:gd name="T55" fmla="*/ 192 h 512"/>
                <a:gd name="T56" fmla="*/ 184 w 512"/>
                <a:gd name="T57" fmla="*/ 199 h 512"/>
                <a:gd name="T58" fmla="*/ 186 w 512"/>
                <a:gd name="T59" fmla="*/ 225 h 512"/>
                <a:gd name="T60" fmla="*/ 196 w 512"/>
                <a:gd name="T61" fmla="*/ 225 h 512"/>
                <a:gd name="T62" fmla="*/ 201 w 512"/>
                <a:gd name="T63" fmla="*/ 238 h 512"/>
                <a:gd name="T64" fmla="*/ 188 w 512"/>
                <a:gd name="T65" fmla="*/ 244 h 512"/>
                <a:gd name="T66" fmla="*/ 182 w 512"/>
                <a:gd name="T67" fmla="*/ 273 h 512"/>
                <a:gd name="T68" fmla="*/ 199 w 512"/>
                <a:gd name="T69" fmla="*/ 269 h 512"/>
                <a:gd name="T70" fmla="*/ 199 w 512"/>
                <a:gd name="T71" fmla="*/ 285 h 512"/>
                <a:gd name="T72" fmla="*/ 182 w 512"/>
                <a:gd name="T73" fmla="*/ 273 h 512"/>
                <a:gd name="T74" fmla="*/ 202 w 512"/>
                <a:gd name="T75" fmla="*/ 320 h 512"/>
                <a:gd name="T76" fmla="*/ 192 w 512"/>
                <a:gd name="T77" fmla="*/ 330 h 512"/>
                <a:gd name="T78" fmla="*/ 184 w 512"/>
                <a:gd name="T79" fmla="*/ 312 h 512"/>
                <a:gd name="T80" fmla="*/ 320 w 512"/>
                <a:gd name="T81" fmla="*/ 352 h 512"/>
                <a:gd name="T82" fmla="*/ 352 w 512"/>
                <a:gd name="T83" fmla="*/ 202 h 512"/>
                <a:gd name="T84" fmla="*/ 314 w 512"/>
                <a:gd name="T85" fmla="*/ 225 h 512"/>
                <a:gd name="T86" fmla="*/ 330 w 512"/>
                <a:gd name="T87" fmla="*/ 234 h 512"/>
                <a:gd name="T88" fmla="*/ 320 w 512"/>
                <a:gd name="T89" fmla="*/ 245 h 512"/>
                <a:gd name="T90" fmla="*/ 309 w 512"/>
                <a:gd name="T91" fmla="*/ 234 h 512"/>
                <a:gd name="T92" fmla="*/ 316 w 512"/>
                <a:gd name="T93" fmla="*/ 267 h 512"/>
                <a:gd name="T94" fmla="*/ 330 w 512"/>
                <a:gd name="T95" fmla="*/ 277 h 512"/>
                <a:gd name="T96" fmla="*/ 320 w 512"/>
                <a:gd name="T97" fmla="*/ 288 h 512"/>
                <a:gd name="T98" fmla="*/ 309 w 512"/>
                <a:gd name="T99" fmla="*/ 277 h 512"/>
                <a:gd name="T100" fmla="*/ 314 w 512"/>
                <a:gd name="T101" fmla="*/ 311 h 512"/>
                <a:gd name="T102" fmla="*/ 324 w 512"/>
                <a:gd name="T103" fmla="*/ 310 h 512"/>
                <a:gd name="T104" fmla="*/ 330 w 512"/>
                <a:gd name="T105" fmla="*/ 320 h 512"/>
                <a:gd name="T106" fmla="*/ 312 w 512"/>
                <a:gd name="T107" fmla="*/ 327 h 512"/>
                <a:gd name="T108" fmla="*/ 256 w 512"/>
                <a:gd name="T109" fmla="*/ 0 h 512"/>
                <a:gd name="T110" fmla="*/ 256 w 512"/>
                <a:gd name="T111" fmla="*/ 0 h 512"/>
                <a:gd name="T112" fmla="*/ 138 w 512"/>
                <a:gd name="T113" fmla="*/ 405 h 512"/>
                <a:gd name="T114" fmla="*/ 288 w 512"/>
                <a:gd name="T115" fmla="*/ 106 h 512"/>
                <a:gd name="T116" fmla="*/ 373 w 512"/>
                <a:gd name="T117" fmla="*/ 405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12" h="512">
                  <a:moveTo>
                    <a:pt x="160" y="394"/>
                  </a:moveTo>
                  <a:cubicBezTo>
                    <a:pt x="181" y="394"/>
                    <a:pt x="181" y="394"/>
                    <a:pt x="181" y="394"/>
                  </a:cubicBezTo>
                  <a:cubicBezTo>
                    <a:pt x="181" y="362"/>
                    <a:pt x="181" y="362"/>
                    <a:pt x="181" y="362"/>
                  </a:cubicBezTo>
                  <a:cubicBezTo>
                    <a:pt x="181" y="356"/>
                    <a:pt x="186" y="352"/>
                    <a:pt x="192" y="352"/>
                  </a:cubicBezTo>
                  <a:cubicBezTo>
                    <a:pt x="198" y="352"/>
                    <a:pt x="202" y="356"/>
                    <a:pt x="202" y="362"/>
                  </a:cubicBezTo>
                  <a:cubicBezTo>
                    <a:pt x="202" y="394"/>
                    <a:pt x="202" y="394"/>
                    <a:pt x="202" y="394"/>
                  </a:cubicBezTo>
                  <a:cubicBezTo>
                    <a:pt x="266" y="394"/>
                    <a:pt x="266" y="394"/>
                    <a:pt x="266" y="394"/>
                  </a:cubicBezTo>
                  <a:cubicBezTo>
                    <a:pt x="266" y="117"/>
                    <a:pt x="266" y="117"/>
                    <a:pt x="266" y="117"/>
                  </a:cubicBezTo>
                  <a:cubicBezTo>
                    <a:pt x="160" y="117"/>
                    <a:pt x="160" y="117"/>
                    <a:pt x="160" y="117"/>
                  </a:cubicBezTo>
                  <a:lnTo>
                    <a:pt x="160" y="394"/>
                  </a:lnTo>
                  <a:close/>
                  <a:moveTo>
                    <a:pt x="225" y="145"/>
                  </a:moveTo>
                  <a:cubicBezTo>
                    <a:pt x="225" y="144"/>
                    <a:pt x="226" y="142"/>
                    <a:pt x="227" y="141"/>
                  </a:cubicBezTo>
                  <a:cubicBezTo>
                    <a:pt x="230" y="138"/>
                    <a:pt x="235" y="137"/>
                    <a:pt x="238" y="139"/>
                  </a:cubicBezTo>
                  <a:cubicBezTo>
                    <a:pt x="240" y="140"/>
                    <a:pt x="241" y="140"/>
                    <a:pt x="242" y="141"/>
                  </a:cubicBezTo>
                  <a:cubicBezTo>
                    <a:pt x="243" y="142"/>
                    <a:pt x="244" y="144"/>
                    <a:pt x="244" y="145"/>
                  </a:cubicBezTo>
                  <a:cubicBezTo>
                    <a:pt x="245" y="146"/>
                    <a:pt x="245" y="148"/>
                    <a:pt x="245" y="149"/>
                  </a:cubicBezTo>
                  <a:cubicBezTo>
                    <a:pt x="245" y="150"/>
                    <a:pt x="245" y="152"/>
                    <a:pt x="244" y="153"/>
                  </a:cubicBezTo>
                  <a:cubicBezTo>
                    <a:pt x="244" y="154"/>
                    <a:pt x="243" y="155"/>
                    <a:pt x="242" y="157"/>
                  </a:cubicBezTo>
                  <a:cubicBezTo>
                    <a:pt x="241" y="158"/>
                    <a:pt x="240" y="158"/>
                    <a:pt x="238" y="159"/>
                  </a:cubicBezTo>
                  <a:cubicBezTo>
                    <a:pt x="237" y="159"/>
                    <a:pt x="236" y="160"/>
                    <a:pt x="234" y="160"/>
                  </a:cubicBezTo>
                  <a:cubicBezTo>
                    <a:pt x="231" y="160"/>
                    <a:pt x="229" y="159"/>
                    <a:pt x="227" y="157"/>
                  </a:cubicBezTo>
                  <a:cubicBezTo>
                    <a:pt x="225" y="155"/>
                    <a:pt x="224" y="152"/>
                    <a:pt x="224" y="149"/>
                  </a:cubicBezTo>
                  <a:cubicBezTo>
                    <a:pt x="224" y="148"/>
                    <a:pt x="224" y="146"/>
                    <a:pt x="225" y="145"/>
                  </a:cubicBezTo>
                  <a:close/>
                  <a:moveTo>
                    <a:pt x="225" y="188"/>
                  </a:moveTo>
                  <a:cubicBezTo>
                    <a:pt x="225" y="186"/>
                    <a:pt x="226" y="185"/>
                    <a:pt x="227" y="184"/>
                  </a:cubicBezTo>
                  <a:cubicBezTo>
                    <a:pt x="228" y="183"/>
                    <a:pt x="229" y="182"/>
                    <a:pt x="230" y="182"/>
                  </a:cubicBezTo>
                  <a:cubicBezTo>
                    <a:pt x="234" y="180"/>
                    <a:pt x="239" y="181"/>
                    <a:pt x="242" y="184"/>
                  </a:cubicBezTo>
                  <a:cubicBezTo>
                    <a:pt x="243" y="185"/>
                    <a:pt x="244" y="186"/>
                    <a:pt x="244" y="188"/>
                  </a:cubicBezTo>
                  <a:cubicBezTo>
                    <a:pt x="245" y="189"/>
                    <a:pt x="245" y="190"/>
                    <a:pt x="245" y="192"/>
                  </a:cubicBezTo>
                  <a:cubicBezTo>
                    <a:pt x="245" y="195"/>
                    <a:pt x="244" y="197"/>
                    <a:pt x="242" y="199"/>
                  </a:cubicBezTo>
                  <a:cubicBezTo>
                    <a:pt x="241" y="200"/>
                    <a:pt x="240" y="201"/>
                    <a:pt x="238" y="201"/>
                  </a:cubicBezTo>
                  <a:cubicBezTo>
                    <a:pt x="237" y="202"/>
                    <a:pt x="236" y="202"/>
                    <a:pt x="234" y="202"/>
                  </a:cubicBezTo>
                  <a:cubicBezTo>
                    <a:pt x="233" y="202"/>
                    <a:pt x="232" y="202"/>
                    <a:pt x="230" y="201"/>
                  </a:cubicBezTo>
                  <a:cubicBezTo>
                    <a:pt x="229" y="201"/>
                    <a:pt x="228" y="200"/>
                    <a:pt x="227" y="199"/>
                  </a:cubicBezTo>
                  <a:cubicBezTo>
                    <a:pt x="225" y="197"/>
                    <a:pt x="224" y="195"/>
                    <a:pt x="224" y="192"/>
                  </a:cubicBezTo>
                  <a:cubicBezTo>
                    <a:pt x="224" y="190"/>
                    <a:pt x="224" y="189"/>
                    <a:pt x="225" y="188"/>
                  </a:cubicBezTo>
                  <a:close/>
                  <a:moveTo>
                    <a:pt x="227" y="227"/>
                  </a:moveTo>
                  <a:cubicBezTo>
                    <a:pt x="228" y="226"/>
                    <a:pt x="229" y="225"/>
                    <a:pt x="230" y="225"/>
                  </a:cubicBezTo>
                  <a:cubicBezTo>
                    <a:pt x="232" y="224"/>
                    <a:pt x="234" y="223"/>
                    <a:pt x="236" y="224"/>
                  </a:cubicBezTo>
                  <a:cubicBezTo>
                    <a:pt x="237" y="224"/>
                    <a:pt x="238" y="224"/>
                    <a:pt x="238" y="225"/>
                  </a:cubicBezTo>
                  <a:cubicBezTo>
                    <a:pt x="239" y="225"/>
                    <a:pt x="240" y="225"/>
                    <a:pt x="240" y="225"/>
                  </a:cubicBezTo>
                  <a:cubicBezTo>
                    <a:pt x="241" y="226"/>
                    <a:pt x="241" y="226"/>
                    <a:pt x="242" y="227"/>
                  </a:cubicBezTo>
                  <a:cubicBezTo>
                    <a:pt x="244" y="229"/>
                    <a:pt x="245" y="232"/>
                    <a:pt x="245" y="234"/>
                  </a:cubicBezTo>
                  <a:cubicBezTo>
                    <a:pt x="245" y="237"/>
                    <a:pt x="244" y="240"/>
                    <a:pt x="242" y="242"/>
                  </a:cubicBezTo>
                  <a:cubicBezTo>
                    <a:pt x="241" y="243"/>
                    <a:pt x="240" y="244"/>
                    <a:pt x="238" y="244"/>
                  </a:cubicBezTo>
                  <a:cubicBezTo>
                    <a:pt x="237" y="245"/>
                    <a:pt x="236" y="245"/>
                    <a:pt x="234" y="245"/>
                  </a:cubicBezTo>
                  <a:cubicBezTo>
                    <a:pt x="233" y="245"/>
                    <a:pt x="232" y="245"/>
                    <a:pt x="230" y="244"/>
                  </a:cubicBezTo>
                  <a:cubicBezTo>
                    <a:pt x="229" y="244"/>
                    <a:pt x="228" y="243"/>
                    <a:pt x="227" y="242"/>
                  </a:cubicBezTo>
                  <a:cubicBezTo>
                    <a:pt x="226" y="241"/>
                    <a:pt x="225" y="240"/>
                    <a:pt x="225" y="238"/>
                  </a:cubicBezTo>
                  <a:cubicBezTo>
                    <a:pt x="224" y="237"/>
                    <a:pt x="224" y="236"/>
                    <a:pt x="224" y="234"/>
                  </a:cubicBezTo>
                  <a:cubicBezTo>
                    <a:pt x="224" y="232"/>
                    <a:pt x="225" y="229"/>
                    <a:pt x="227" y="227"/>
                  </a:cubicBezTo>
                  <a:close/>
                  <a:moveTo>
                    <a:pt x="225" y="273"/>
                  </a:moveTo>
                  <a:cubicBezTo>
                    <a:pt x="225" y="272"/>
                    <a:pt x="226" y="270"/>
                    <a:pt x="227" y="269"/>
                  </a:cubicBezTo>
                  <a:cubicBezTo>
                    <a:pt x="231" y="265"/>
                    <a:pt x="238" y="265"/>
                    <a:pt x="242" y="269"/>
                  </a:cubicBezTo>
                  <a:cubicBezTo>
                    <a:pt x="243" y="270"/>
                    <a:pt x="244" y="272"/>
                    <a:pt x="244" y="273"/>
                  </a:cubicBezTo>
                  <a:cubicBezTo>
                    <a:pt x="245" y="274"/>
                    <a:pt x="245" y="276"/>
                    <a:pt x="245" y="277"/>
                  </a:cubicBezTo>
                  <a:cubicBezTo>
                    <a:pt x="245" y="278"/>
                    <a:pt x="245" y="280"/>
                    <a:pt x="244" y="281"/>
                  </a:cubicBezTo>
                  <a:cubicBezTo>
                    <a:pt x="244" y="282"/>
                    <a:pt x="243" y="284"/>
                    <a:pt x="242" y="285"/>
                  </a:cubicBezTo>
                  <a:cubicBezTo>
                    <a:pt x="240" y="287"/>
                    <a:pt x="237" y="288"/>
                    <a:pt x="234" y="288"/>
                  </a:cubicBezTo>
                  <a:cubicBezTo>
                    <a:pt x="233" y="288"/>
                    <a:pt x="232" y="287"/>
                    <a:pt x="230" y="287"/>
                  </a:cubicBezTo>
                  <a:cubicBezTo>
                    <a:pt x="229" y="286"/>
                    <a:pt x="228" y="286"/>
                    <a:pt x="227" y="285"/>
                  </a:cubicBezTo>
                  <a:cubicBezTo>
                    <a:pt x="225" y="283"/>
                    <a:pt x="224" y="280"/>
                    <a:pt x="224" y="277"/>
                  </a:cubicBezTo>
                  <a:cubicBezTo>
                    <a:pt x="224" y="276"/>
                    <a:pt x="224" y="274"/>
                    <a:pt x="225" y="273"/>
                  </a:cubicBezTo>
                  <a:close/>
                  <a:moveTo>
                    <a:pt x="227" y="312"/>
                  </a:moveTo>
                  <a:cubicBezTo>
                    <a:pt x="227" y="312"/>
                    <a:pt x="228" y="311"/>
                    <a:pt x="228" y="311"/>
                  </a:cubicBezTo>
                  <a:cubicBezTo>
                    <a:pt x="229" y="310"/>
                    <a:pt x="230" y="310"/>
                    <a:pt x="230" y="310"/>
                  </a:cubicBezTo>
                  <a:cubicBezTo>
                    <a:pt x="231" y="310"/>
                    <a:pt x="232" y="309"/>
                    <a:pt x="232" y="309"/>
                  </a:cubicBezTo>
                  <a:cubicBezTo>
                    <a:pt x="236" y="308"/>
                    <a:pt x="239" y="310"/>
                    <a:pt x="242" y="312"/>
                  </a:cubicBezTo>
                  <a:cubicBezTo>
                    <a:pt x="244" y="314"/>
                    <a:pt x="245" y="317"/>
                    <a:pt x="245" y="320"/>
                  </a:cubicBezTo>
                  <a:cubicBezTo>
                    <a:pt x="245" y="321"/>
                    <a:pt x="245" y="322"/>
                    <a:pt x="244" y="324"/>
                  </a:cubicBezTo>
                  <a:cubicBezTo>
                    <a:pt x="244" y="325"/>
                    <a:pt x="243" y="326"/>
                    <a:pt x="242" y="327"/>
                  </a:cubicBezTo>
                  <a:cubicBezTo>
                    <a:pt x="241" y="328"/>
                    <a:pt x="240" y="329"/>
                    <a:pt x="238" y="329"/>
                  </a:cubicBezTo>
                  <a:cubicBezTo>
                    <a:pt x="237" y="330"/>
                    <a:pt x="236" y="330"/>
                    <a:pt x="234" y="330"/>
                  </a:cubicBezTo>
                  <a:cubicBezTo>
                    <a:pt x="231" y="330"/>
                    <a:pt x="229" y="329"/>
                    <a:pt x="227" y="327"/>
                  </a:cubicBezTo>
                  <a:cubicBezTo>
                    <a:pt x="226" y="326"/>
                    <a:pt x="225" y="325"/>
                    <a:pt x="225" y="324"/>
                  </a:cubicBezTo>
                  <a:cubicBezTo>
                    <a:pt x="224" y="322"/>
                    <a:pt x="224" y="321"/>
                    <a:pt x="224" y="320"/>
                  </a:cubicBezTo>
                  <a:cubicBezTo>
                    <a:pt x="224" y="317"/>
                    <a:pt x="225" y="314"/>
                    <a:pt x="227" y="312"/>
                  </a:cubicBezTo>
                  <a:close/>
                  <a:moveTo>
                    <a:pt x="225" y="358"/>
                  </a:moveTo>
                  <a:cubicBezTo>
                    <a:pt x="225" y="357"/>
                    <a:pt x="226" y="356"/>
                    <a:pt x="227" y="355"/>
                  </a:cubicBezTo>
                  <a:cubicBezTo>
                    <a:pt x="228" y="354"/>
                    <a:pt x="229" y="353"/>
                    <a:pt x="230" y="353"/>
                  </a:cubicBezTo>
                  <a:cubicBezTo>
                    <a:pt x="234" y="351"/>
                    <a:pt x="239" y="352"/>
                    <a:pt x="242" y="355"/>
                  </a:cubicBezTo>
                  <a:cubicBezTo>
                    <a:pt x="243" y="356"/>
                    <a:pt x="244" y="357"/>
                    <a:pt x="244" y="358"/>
                  </a:cubicBezTo>
                  <a:cubicBezTo>
                    <a:pt x="245" y="360"/>
                    <a:pt x="245" y="361"/>
                    <a:pt x="245" y="362"/>
                  </a:cubicBezTo>
                  <a:cubicBezTo>
                    <a:pt x="245" y="364"/>
                    <a:pt x="245" y="365"/>
                    <a:pt x="244" y="366"/>
                  </a:cubicBezTo>
                  <a:cubicBezTo>
                    <a:pt x="244" y="368"/>
                    <a:pt x="243" y="369"/>
                    <a:pt x="242" y="370"/>
                  </a:cubicBezTo>
                  <a:cubicBezTo>
                    <a:pt x="241" y="371"/>
                    <a:pt x="240" y="372"/>
                    <a:pt x="238" y="372"/>
                  </a:cubicBezTo>
                  <a:cubicBezTo>
                    <a:pt x="237" y="373"/>
                    <a:pt x="236" y="373"/>
                    <a:pt x="234" y="373"/>
                  </a:cubicBezTo>
                  <a:cubicBezTo>
                    <a:pt x="233" y="373"/>
                    <a:pt x="232" y="373"/>
                    <a:pt x="230" y="372"/>
                  </a:cubicBezTo>
                  <a:cubicBezTo>
                    <a:pt x="229" y="372"/>
                    <a:pt x="228" y="371"/>
                    <a:pt x="227" y="370"/>
                  </a:cubicBezTo>
                  <a:cubicBezTo>
                    <a:pt x="226" y="369"/>
                    <a:pt x="225" y="368"/>
                    <a:pt x="225" y="366"/>
                  </a:cubicBezTo>
                  <a:cubicBezTo>
                    <a:pt x="224" y="365"/>
                    <a:pt x="224" y="364"/>
                    <a:pt x="224" y="362"/>
                  </a:cubicBezTo>
                  <a:cubicBezTo>
                    <a:pt x="224" y="361"/>
                    <a:pt x="224" y="360"/>
                    <a:pt x="225" y="358"/>
                  </a:cubicBezTo>
                  <a:close/>
                  <a:moveTo>
                    <a:pt x="182" y="145"/>
                  </a:moveTo>
                  <a:cubicBezTo>
                    <a:pt x="182" y="144"/>
                    <a:pt x="183" y="142"/>
                    <a:pt x="184" y="141"/>
                  </a:cubicBezTo>
                  <a:cubicBezTo>
                    <a:pt x="188" y="137"/>
                    <a:pt x="195" y="137"/>
                    <a:pt x="199" y="141"/>
                  </a:cubicBezTo>
                  <a:cubicBezTo>
                    <a:pt x="200" y="142"/>
                    <a:pt x="201" y="144"/>
                    <a:pt x="201" y="145"/>
                  </a:cubicBezTo>
                  <a:cubicBezTo>
                    <a:pt x="202" y="146"/>
                    <a:pt x="202" y="148"/>
                    <a:pt x="202" y="149"/>
                  </a:cubicBezTo>
                  <a:cubicBezTo>
                    <a:pt x="202" y="152"/>
                    <a:pt x="201" y="155"/>
                    <a:pt x="199" y="157"/>
                  </a:cubicBezTo>
                  <a:cubicBezTo>
                    <a:pt x="197" y="159"/>
                    <a:pt x="195" y="160"/>
                    <a:pt x="192" y="160"/>
                  </a:cubicBezTo>
                  <a:cubicBezTo>
                    <a:pt x="190" y="160"/>
                    <a:pt x="189" y="159"/>
                    <a:pt x="188" y="159"/>
                  </a:cubicBezTo>
                  <a:cubicBezTo>
                    <a:pt x="186" y="158"/>
                    <a:pt x="185" y="158"/>
                    <a:pt x="184" y="157"/>
                  </a:cubicBezTo>
                  <a:cubicBezTo>
                    <a:pt x="182" y="155"/>
                    <a:pt x="181" y="152"/>
                    <a:pt x="181" y="149"/>
                  </a:cubicBezTo>
                  <a:cubicBezTo>
                    <a:pt x="181" y="148"/>
                    <a:pt x="181" y="146"/>
                    <a:pt x="182" y="145"/>
                  </a:cubicBezTo>
                  <a:close/>
                  <a:moveTo>
                    <a:pt x="182" y="188"/>
                  </a:moveTo>
                  <a:cubicBezTo>
                    <a:pt x="182" y="186"/>
                    <a:pt x="183" y="185"/>
                    <a:pt x="184" y="184"/>
                  </a:cubicBezTo>
                  <a:cubicBezTo>
                    <a:pt x="185" y="184"/>
                    <a:pt x="185" y="183"/>
                    <a:pt x="186" y="183"/>
                  </a:cubicBezTo>
                  <a:cubicBezTo>
                    <a:pt x="186" y="182"/>
                    <a:pt x="187" y="182"/>
                    <a:pt x="188" y="182"/>
                  </a:cubicBezTo>
                  <a:cubicBezTo>
                    <a:pt x="188" y="182"/>
                    <a:pt x="189" y="181"/>
                    <a:pt x="190" y="181"/>
                  </a:cubicBezTo>
                  <a:cubicBezTo>
                    <a:pt x="192" y="181"/>
                    <a:pt x="194" y="181"/>
                    <a:pt x="196" y="182"/>
                  </a:cubicBezTo>
                  <a:cubicBezTo>
                    <a:pt x="197" y="182"/>
                    <a:pt x="198" y="183"/>
                    <a:pt x="199" y="184"/>
                  </a:cubicBezTo>
                  <a:cubicBezTo>
                    <a:pt x="200" y="185"/>
                    <a:pt x="201" y="186"/>
                    <a:pt x="201" y="188"/>
                  </a:cubicBezTo>
                  <a:cubicBezTo>
                    <a:pt x="202" y="189"/>
                    <a:pt x="202" y="190"/>
                    <a:pt x="202" y="192"/>
                  </a:cubicBezTo>
                  <a:cubicBezTo>
                    <a:pt x="202" y="195"/>
                    <a:pt x="201" y="197"/>
                    <a:pt x="199" y="199"/>
                  </a:cubicBezTo>
                  <a:cubicBezTo>
                    <a:pt x="197" y="201"/>
                    <a:pt x="195" y="202"/>
                    <a:pt x="192" y="202"/>
                  </a:cubicBezTo>
                  <a:cubicBezTo>
                    <a:pt x="190" y="202"/>
                    <a:pt x="189" y="202"/>
                    <a:pt x="188" y="201"/>
                  </a:cubicBezTo>
                  <a:cubicBezTo>
                    <a:pt x="186" y="201"/>
                    <a:pt x="185" y="200"/>
                    <a:pt x="184" y="199"/>
                  </a:cubicBezTo>
                  <a:cubicBezTo>
                    <a:pt x="182" y="197"/>
                    <a:pt x="181" y="195"/>
                    <a:pt x="181" y="192"/>
                  </a:cubicBezTo>
                  <a:cubicBezTo>
                    <a:pt x="181" y="190"/>
                    <a:pt x="181" y="189"/>
                    <a:pt x="182" y="188"/>
                  </a:cubicBezTo>
                  <a:close/>
                  <a:moveTo>
                    <a:pt x="184" y="227"/>
                  </a:moveTo>
                  <a:cubicBezTo>
                    <a:pt x="185" y="226"/>
                    <a:pt x="185" y="226"/>
                    <a:pt x="186" y="225"/>
                  </a:cubicBezTo>
                  <a:cubicBezTo>
                    <a:pt x="186" y="225"/>
                    <a:pt x="187" y="225"/>
                    <a:pt x="188" y="225"/>
                  </a:cubicBezTo>
                  <a:cubicBezTo>
                    <a:pt x="188" y="224"/>
                    <a:pt x="189" y="224"/>
                    <a:pt x="190" y="224"/>
                  </a:cubicBezTo>
                  <a:cubicBezTo>
                    <a:pt x="191" y="224"/>
                    <a:pt x="192" y="224"/>
                    <a:pt x="194" y="224"/>
                  </a:cubicBezTo>
                  <a:cubicBezTo>
                    <a:pt x="194" y="224"/>
                    <a:pt x="195" y="224"/>
                    <a:pt x="196" y="225"/>
                  </a:cubicBezTo>
                  <a:cubicBezTo>
                    <a:pt x="196" y="225"/>
                    <a:pt x="197" y="225"/>
                    <a:pt x="198" y="225"/>
                  </a:cubicBezTo>
                  <a:cubicBezTo>
                    <a:pt x="198" y="226"/>
                    <a:pt x="199" y="226"/>
                    <a:pt x="199" y="227"/>
                  </a:cubicBezTo>
                  <a:cubicBezTo>
                    <a:pt x="201" y="229"/>
                    <a:pt x="202" y="232"/>
                    <a:pt x="202" y="234"/>
                  </a:cubicBezTo>
                  <a:cubicBezTo>
                    <a:pt x="202" y="236"/>
                    <a:pt x="202" y="237"/>
                    <a:pt x="201" y="238"/>
                  </a:cubicBezTo>
                  <a:cubicBezTo>
                    <a:pt x="201" y="240"/>
                    <a:pt x="200" y="241"/>
                    <a:pt x="199" y="242"/>
                  </a:cubicBezTo>
                  <a:cubicBezTo>
                    <a:pt x="198" y="243"/>
                    <a:pt x="197" y="244"/>
                    <a:pt x="196" y="244"/>
                  </a:cubicBezTo>
                  <a:cubicBezTo>
                    <a:pt x="194" y="245"/>
                    <a:pt x="193" y="245"/>
                    <a:pt x="192" y="245"/>
                  </a:cubicBezTo>
                  <a:cubicBezTo>
                    <a:pt x="190" y="245"/>
                    <a:pt x="189" y="245"/>
                    <a:pt x="188" y="244"/>
                  </a:cubicBezTo>
                  <a:cubicBezTo>
                    <a:pt x="186" y="244"/>
                    <a:pt x="185" y="243"/>
                    <a:pt x="184" y="242"/>
                  </a:cubicBezTo>
                  <a:cubicBezTo>
                    <a:pt x="182" y="240"/>
                    <a:pt x="181" y="237"/>
                    <a:pt x="181" y="234"/>
                  </a:cubicBezTo>
                  <a:cubicBezTo>
                    <a:pt x="181" y="232"/>
                    <a:pt x="182" y="229"/>
                    <a:pt x="184" y="227"/>
                  </a:cubicBezTo>
                  <a:close/>
                  <a:moveTo>
                    <a:pt x="182" y="273"/>
                  </a:moveTo>
                  <a:cubicBezTo>
                    <a:pt x="182" y="272"/>
                    <a:pt x="183" y="270"/>
                    <a:pt x="184" y="269"/>
                  </a:cubicBezTo>
                  <a:cubicBezTo>
                    <a:pt x="185" y="268"/>
                    <a:pt x="186" y="268"/>
                    <a:pt x="188" y="267"/>
                  </a:cubicBezTo>
                  <a:cubicBezTo>
                    <a:pt x="190" y="266"/>
                    <a:pt x="193" y="266"/>
                    <a:pt x="196" y="267"/>
                  </a:cubicBezTo>
                  <a:cubicBezTo>
                    <a:pt x="197" y="268"/>
                    <a:pt x="198" y="268"/>
                    <a:pt x="199" y="269"/>
                  </a:cubicBezTo>
                  <a:cubicBezTo>
                    <a:pt x="200" y="270"/>
                    <a:pt x="201" y="272"/>
                    <a:pt x="201" y="273"/>
                  </a:cubicBezTo>
                  <a:cubicBezTo>
                    <a:pt x="202" y="274"/>
                    <a:pt x="202" y="276"/>
                    <a:pt x="202" y="277"/>
                  </a:cubicBezTo>
                  <a:cubicBezTo>
                    <a:pt x="202" y="278"/>
                    <a:pt x="202" y="280"/>
                    <a:pt x="201" y="281"/>
                  </a:cubicBezTo>
                  <a:cubicBezTo>
                    <a:pt x="201" y="282"/>
                    <a:pt x="200" y="284"/>
                    <a:pt x="199" y="285"/>
                  </a:cubicBezTo>
                  <a:cubicBezTo>
                    <a:pt x="197" y="287"/>
                    <a:pt x="195" y="288"/>
                    <a:pt x="192" y="288"/>
                  </a:cubicBezTo>
                  <a:cubicBezTo>
                    <a:pt x="189" y="288"/>
                    <a:pt x="186" y="287"/>
                    <a:pt x="184" y="285"/>
                  </a:cubicBezTo>
                  <a:cubicBezTo>
                    <a:pt x="182" y="283"/>
                    <a:pt x="181" y="280"/>
                    <a:pt x="181" y="277"/>
                  </a:cubicBezTo>
                  <a:cubicBezTo>
                    <a:pt x="181" y="276"/>
                    <a:pt x="181" y="274"/>
                    <a:pt x="182" y="273"/>
                  </a:cubicBezTo>
                  <a:close/>
                  <a:moveTo>
                    <a:pt x="184" y="312"/>
                  </a:moveTo>
                  <a:cubicBezTo>
                    <a:pt x="187" y="309"/>
                    <a:pt x="192" y="308"/>
                    <a:pt x="196" y="310"/>
                  </a:cubicBezTo>
                  <a:cubicBezTo>
                    <a:pt x="197" y="310"/>
                    <a:pt x="198" y="311"/>
                    <a:pt x="199" y="312"/>
                  </a:cubicBezTo>
                  <a:cubicBezTo>
                    <a:pt x="201" y="314"/>
                    <a:pt x="202" y="317"/>
                    <a:pt x="202" y="320"/>
                  </a:cubicBezTo>
                  <a:cubicBezTo>
                    <a:pt x="202" y="321"/>
                    <a:pt x="202" y="322"/>
                    <a:pt x="201" y="324"/>
                  </a:cubicBezTo>
                  <a:cubicBezTo>
                    <a:pt x="201" y="325"/>
                    <a:pt x="200" y="326"/>
                    <a:pt x="199" y="327"/>
                  </a:cubicBezTo>
                  <a:cubicBezTo>
                    <a:pt x="198" y="328"/>
                    <a:pt x="197" y="329"/>
                    <a:pt x="196" y="329"/>
                  </a:cubicBezTo>
                  <a:cubicBezTo>
                    <a:pt x="194" y="330"/>
                    <a:pt x="193" y="330"/>
                    <a:pt x="192" y="330"/>
                  </a:cubicBezTo>
                  <a:cubicBezTo>
                    <a:pt x="189" y="330"/>
                    <a:pt x="186" y="329"/>
                    <a:pt x="184" y="327"/>
                  </a:cubicBezTo>
                  <a:cubicBezTo>
                    <a:pt x="183" y="326"/>
                    <a:pt x="182" y="325"/>
                    <a:pt x="182" y="324"/>
                  </a:cubicBezTo>
                  <a:cubicBezTo>
                    <a:pt x="181" y="322"/>
                    <a:pt x="181" y="321"/>
                    <a:pt x="181" y="320"/>
                  </a:cubicBezTo>
                  <a:cubicBezTo>
                    <a:pt x="181" y="317"/>
                    <a:pt x="182" y="314"/>
                    <a:pt x="184" y="312"/>
                  </a:cubicBezTo>
                  <a:close/>
                  <a:moveTo>
                    <a:pt x="288" y="394"/>
                  </a:moveTo>
                  <a:cubicBezTo>
                    <a:pt x="309" y="394"/>
                    <a:pt x="309" y="394"/>
                    <a:pt x="309" y="394"/>
                  </a:cubicBezTo>
                  <a:cubicBezTo>
                    <a:pt x="309" y="362"/>
                    <a:pt x="309" y="362"/>
                    <a:pt x="309" y="362"/>
                  </a:cubicBezTo>
                  <a:cubicBezTo>
                    <a:pt x="309" y="356"/>
                    <a:pt x="314" y="352"/>
                    <a:pt x="320" y="352"/>
                  </a:cubicBezTo>
                  <a:cubicBezTo>
                    <a:pt x="326" y="352"/>
                    <a:pt x="330" y="356"/>
                    <a:pt x="330" y="362"/>
                  </a:cubicBezTo>
                  <a:cubicBezTo>
                    <a:pt x="330" y="394"/>
                    <a:pt x="330" y="394"/>
                    <a:pt x="330" y="394"/>
                  </a:cubicBezTo>
                  <a:cubicBezTo>
                    <a:pt x="352" y="394"/>
                    <a:pt x="352" y="394"/>
                    <a:pt x="352" y="394"/>
                  </a:cubicBezTo>
                  <a:cubicBezTo>
                    <a:pt x="352" y="202"/>
                    <a:pt x="352" y="202"/>
                    <a:pt x="352" y="202"/>
                  </a:cubicBezTo>
                  <a:cubicBezTo>
                    <a:pt x="288" y="202"/>
                    <a:pt x="288" y="202"/>
                    <a:pt x="288" y="202"/>
                  </a:cubicBezTo>
                  <a:lnTo>
                    <a:pt x="288" y="394"/>
                  </a:lnTo>
                  <a:close/>
                  <a:moveTo>
                    <a:pt x="312" y="227"/>
                  </a:moveTo>
                  <a:cubicBezTo>
                    <a:pt x="313" y="226"/>
                    <a:pt x="313" y="226"/>
                    <a:pt x="314" y="225"/>
                  </a:cubicBezTo>
                  <a:cubicBezTo>
                    <a:pt x="314" y="225"/>
                    <a:pt x="315" y="225"/>
                    <a:pt x="316" y="225"/>
                  </a:cubicBezTo>
                  <a:cubicBezTo>
                    <a:pt x="316" y="224"/>
                    <a:pt x="317" y="224"/>
                    <a:pt x="318" y="224"/>
                  </a:cubicBezTo>
                  <a:cubicBezTo>
                    <a:pt x="321" y="223"/>
                    <a:pt x="325" y="224"/>
                    <a:pt x="327" y="227"/>
                  </a:cubicBezTo>
                  <a:cubicBezTo>
                    <a:pt x="329" y="229"/>
                    <a:pt x="330" y="232"/>
                    <a:pt x="330" y="234"/>
                  </a:cubicBezTo>
                  <a:cubicBezTo>
                    <a:pt x="330" y="236"/>
                    <a:pt x="330" y="237"/>
                    <a:pt x="329" y="238"/>
                  </a:cubicBezTo>
                  <a:cubicBezTo>
                    <a:pt x="329" y="240"/>
                    <a:pt x="328" y="241"/>
                    <a:pt x="327" y="242"/>
                  </a:cubicBezTo>
                  <a:cubicBezTo>
                    <a:pt x="326" y="243"/>
                    <a:pt x="325" y="244"/>
                    <a:pt x="324" y="244"/>
                  </a:cubicBezTo>
                  <a:cubicBezTo>
                    <a:pt x="322" y="245"/>
                    <a:pt x="321" y="245"/>
                    <a:pt x="320" y="245"/>
                  </a:cubicBezTo>
                  <a:cubicBezTo>
                    <a:pt x="318" y="245"/>
                    <a:pt x="317" y="245"/>
                    <a:pt x="316" y="244"/>
                  </a:cubicBezTo>
                  <a:cubicBezTo>
                    <a:pt x="314" y="244"/>
                    <a:pt x="313" y="243"/>
                    <a:pt x="312" y="242"/>
                  </a:cubicBezTo>
                  <a:cubicBezTo>
                    <a:pt x="311" y="241"/>
                    <a:pt x="310" y="240"/>
                    <a:pt x="310" y="238"/>
                  </a:cubicBezTo>
                  <a:cubicBezTo>
                    <a:pt x="309" y="237"/>
                    <a:pt x="309" y="236"/>
                    <a:pt x="309" y="234"/>
                  </a:cubicBezTo>
                  <a:cubicBezTo>
                    <a:pt x="309" y="232"/>
                    <a:pt x="310" y="229"/>
                    <a:pt x="312" y="227"/>
                  </a:cubicBezTo>
                  <a:close/>
                  <a:moveTo>
                    <a:pt x="310" y="273"/>
                  </a:moveTo>
                  <a:cubicBezTo>
                    <a:pt x="310" y="272"/>
                    <a:pt x="311" y="270"/>
                    <a:pt x="312" y="269"/>
                  </a:cubicBezTo>
                  <a:cubicBezTo>
                    <a:pt x="313" y="268"/>
                    <a:pt x="314" y="268"/>
                    <a:pt x="316" y="267"/>
                  </a:cubicBezTo>
                  <a:cubicBezTo>
                    <a:pt x="318" y="266"/>
                    <a:pt x="321" y="266"/>
                    <a:pt x="324" y="267"/>
                  </a:cubicBezTo>
                  <a:cubicBezTo>
                    <a:pt x="325" y="268"/>
                    <a:pt x="326" y="268"/>
                    <a:pt x="327" y="269"/>
                  </a:cubicBezTo>
                  <a:cubicBezTo>
                    <a:pt x="328" y="270"/>
                    <a:pt x="329" y="272"/>
                    <a:pt x="329" y="273"/>
                  </a:cubicBezTo>
                  <a:cubicBezTo>
                    <a:pt x="330" y="274"/>
                    <a:pt x="330" y="276"/>
                    <a:pt x="330" y="277"/>
                  </a:cubicBezTo>
                  <a:cubicBezTo>
                    <a:pt x="330" y="278"/>
                    <a:pt x="330" y="280"/>
                    <a:pt x="329" y="281"/>
                  </a:cubicBezTo>
                  <a:cubicBezTo>
                    <a:pt x="329" y="282"/>
                    <a:pt x="328" y="284"/>
                    <a:pt x="327" y="285"/>
                  </a:cubicBezTo>
                  <a:cubicBezTo>
                    <a:pt x="326" y="286"/>
                    <a:pt x="325" y="286"/>
                    <a:pt x="324" y="287"/>
                  </a:cubicBezTo>
                  <a:cubicBezTo>
                    <a:pt x="322" y="287"/>
                    <a:pt x="321" y="288"/>
                    <a:pt x="320" y="288"/>
                  </a:cubicBezTo>
                  <a:cubicBezTo>
                    <a:pt x="318" y="288"/>
                    <a:pt x="317" y="287"/>
                    <a:pt x="316" y="287"/>
                  </a:cubicBezTo>
                  <a:cubicBezTo>
                    <a:pt x="314" y="286"/>
                    <a:pt x="313" y="286"/>
                    <a:pt x="312" y="285"/>
                  </a:cubicBezTo>
                  <a:cubicBezTo>
                    <a:pt x="311" y="284"/>
                    <a:pt x="310" y="282"/>
                    <a:pt x="310" y="281"/>
                  </a:cubicBezTo>
                  <a:cubicBezTo>
                    <a:pt x="309" y="280"/>
                    <a:pt x="309" y="278"/>
                    <a:pt x="309" y="277"/>
                  </a:cubicBezTo>
                  <a:cubicBezTo>
                    <a:pt x="309" y="276"/>
                    <a:pt x="309" y="274"/>
                    <a:pt x="310" y="273"/>
                  </a:cubicBezTo>
                  <a:close/>
                  <a:moveTo>
                    <a:pt x="310" y="316"/>
                  </a:moveTo>
                  <a:cubicBezTo>
                    <a:pt x="310" y="314"/>
                    <a:pt x="311" y="313"/>
                    <a:pt x="312" y="312"/>
                  </a:cubicBezTo>
                  <a:cubicBezTo>
                    <a:pt x="313" y="312"/>
                    <a:pt x="313" y="311"/>
                    <a:pt x="314" y="311"/>
                  </a:cubicBezTo>
                  <a:cubicBezTo>
                    <a:pt x="314" y="310"/>
                    <a:pt x="315" y="310"/>
                    <a:pt x="316" y="310"/>
                  </a:cubicBezTo>
                  <a:cubicBezTo>
                    <a:pt x="316" y="310"/>
                    <a:pt x="317" y="309"/>
                    <a:pt x="318" y="309"/>
                  </a:cubicBezTo>
                  <a:cubicBezTo>
                    <a:pt x="319" y="309"/>
                    <a:pt x="320" y="309"/>
                    <a:pt x="322" y="309"/>
                  </a:cubicBezTo>
                  <a:cubicBezTo>
                    <a:pt x="322" y="309"/>
                    <a:pt x="323" y="310"/>
                    <a:pt x="324" y="310"/>
                  </a:cubicBezTo>
                  <a:cubicBezTo>
                    <a:pt x="324" y="310"/>
                    <a:pt x="325" y="310"/>
                    <a:pt x="326" y="311"/>
                  </a:cubicBezTo>
                  <a:cubicBezTo>
                    <a:pt x="326" y="311"/>
                    <a:pt x="327" y="312"/>
                    <a:pt x="327" y="312"/>
                  </a:cubicBezTo>
                  <a:cubicBezTo>
                    <a:pt x="328" y="313"/>
                    <a:pt x="329" y="314"/>
                    <a:pt x="329" y="316"/>
                  </a:cubicBezTo>
                  <a:cubicBezTo>
                    <a:pt x="330" y="317"/>
                    <a:pt x="330" y="318"/>
                    <a:pt x="330" y="320"/>
                  </a:cubicBezTo>
                  <a:cubicBezTo>
                    <a:pt x="330" y="321"/>
                    <a:pt x="330" y="322"/>
                    <a:pt x="329" y="324"/>
                  </a:cubicBezTo>
                  <a:cubicBezTo>
                    <a:pt x="329" y="325"/>
                    <a:pt x="328" y="326"/>
                    <a:pt x="327" y="327"/>
                  </a:cubicBezTo>
                  <a:cubicBezTo>
                    <a:pt x="325" y="329"/>
                    <a:pt x="322" y="330"/>
                    <a:pt x="320" y="330"/>
                  </a:cubicBezTo>
                  <a:cubicBezTo>
                    <a:pt x="317" y="330"/>
                    <a:pt x="314" y="329"/>
                    <a:pt x="312" y="327"/>
                  </a:cubicBezTo>
                  <a:cubicBezTo>
                    <a:pt x="311" y="326"/>
                    <a:pt x="310" y="325"/>
                    <a:pt x="310" y="324"/>
                  </a:cubicBezTo>
                  <a:cubicBezTo>
                    <a:pt x="309" y="322"/>
                    <a:pt x="309" y="321"/>
                    <a:pt x="309" y="320"/>
                  </a:cubicBezTo>
                  <a:cubicBezTo>
                    <a:pt x="309" y="318"/>
                    <a:pt x="309" y="317"/>
                    <a:pt x="310" y="316"/>
                  </a:cubicBezTo>
                  <a:close/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73" y="405"/>
                  </a:move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106"/>
                    <a:pt x="138" y="106"/>
                    <a:pt x="138" y="106"/>
                  </a:cubicBezTo>
                  <a:cubicBezTo>
                    <a:pt x="138" y="100"/>
                    <a:pt x="143" y="96"/>
                    <a:pt x="149" y="96"/>
                  </a:cubicBezTo>
                  <a:cubicBezTo>
                    <a:pt x="277" y="96"/>
                    <a:pt x="277" y="96"/>
                    <a:pt x="277" y="96"/>
                  </a:cubicBezTo>
                  <a:cubicBezTo>
                    <a:pt x="283" y="96"/>
                    <a:pt x="288" y="100"/>
                    <a:pt x="288" y="106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362" y="181"/>
                    <a:pt x="362" y="181"/>
                    <a:pt x="362" y="181"/>
                  </a:cubicBezTo>
                  <a:cubicBezTo>
                    <a:pt x="368" y="181"/>
                    <a:pt x="373" y="186"/>
                    <a:pt x="373" y="192"/>
                  </a:cubicBezTo>
                  <a:lnTo>
                    <a:pt x="373" y="40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GB" sz="813"/>
            </a:p>
          </p:txBody>
        </p:sp>
        <p:sp>
          <p:nvSpPr>
            <p:cNvPr id="33" name="Freeform 346"/>
            <p:cNvSpPr>
              <a:spLocks noChangeAspect="1" noEditPoints="1"/>
            </p:cNvSpPr>
            <p:nvPr/>
          </p:nvSpPr>
          <p:spPr bwMode="auto">
            <a:xfrm>
              <a:off x="1727972" y="3183373"/>
              <a:ext cx="367041" cy="367041"/>
            </a:xfrm>
            <a:custGeom>
              <a:avLst/>
              <a:gdLst>
                <a:gd name="T0" fmla="*/ 202 w 512"/>
                <a:gd name="T1" fmla="*/ 320 h 512"/>
                <a:gd name="T2" fmla="*/ 181 w 512"/>
                <a:gd name="T3" fmla="*/ 373 h 512"/>
                <a:gd name="T4" fmla="*/ 170 w 512"/>
                <a:gd name="T5" fmla="*/ 341 h 512"/>
                <a:gd name="T6" fmla="*/ 160 w 512"/>
                <a:gd name="T7" fmla="*/ 373 h 512"/>
                <a:gd name="T8" fmla="*/ 138 w 512"/>
                <a:gd name="T9" fmla="*/ 320 h 512"/>
                <a:gd name="T10" fmla="*/ 318 w 512"/>
                <a:gd name="T11" fmla="*/ 298 h 512"/>
                <a:gd name="T12" fmla="*/ 341 w 512"/>
                <a:gd name="T13" fmla="*/ 280 h 512"/>
                <a:gd name="T14" fmla="*/ 233 w 512"/>
                <a:gd name="T15" fmla="*/ 138 h 512"/>
                <a:gd name="T16" fmla="*/ 256 w 512"/>
                <a:gd name="T17" fmla="*/ 120 h 512"/>
                <a:gd name="T18" fmla="*/ 245 w 512"/>
                <a:gd name="T19" fmla="*/ 213 h 512"/>
                <a:gd name="T20" fmla="*/ 256 w 512"/>
                <a:gd name="T21" fmla="*/ 181 h 512"/>
                <a:gd name="T22" fmla="*/ 266 w 512"/>
                <a:gd name="T23" fmla="*/ 213 h 512"/>
                <a:gd name="T24" fmla="*/ 288 w 512"/>
                <a:gd name="T25" fmla="*/ 160 h 512"/>
                <a:gd name="T26" fmla="*/ 224 w 512"/>
                <a:gd name="T27" fmla="*/ 213 h 512"/>
                <a:gd name="T28" fmla="*/ 256 w 512"/>
                <a:gd name="T29" fmla="*/ 512 h 512"/>
                <a:gd name="T30" fmla="*/ 256 w 512"/>
                <a:gd name="T31" fmla="*/ 0 h 512"/>
                <a:gd name="T32" fmla="*/ 230 w 512"/>
                <a:gd name="T33" fmla="*/ 301 h 512"/>
                <a:gd name="T34" fmla="*/ 164 w 512"/>
                <a:gd name="T35" fmla="*/ 258 h 512"/>
                <a:gd name="T36" fmla="*/ 107 w 512"/>
                <a:gd name="T37" fmla="*/ 313 h 512"/>
                <a:gd name="T38" fmla="*/ 117 w 512"/>
                <a:gd name="T39" fmla="*/ 384 h 512"/>
                <a:gd name="T40" fmla="*/ 213 w 512"/>
                <a:gd name="T41" fmla="*/ 394 h 512"/>
                <a:gd name="T42" fmla="*/ 224 w 512"/>
                <a:gd name="T43" fmla="*/ 320 h 512"/>
                <a:gd name="T44" fmla="*/ 230 w 512"/>
                <a:gd name="T45" fmla="*/ 301 h 512"/>
                <a:gd name="T46" fmla="*/ 309 w 512"/>
                <a:gd name="T47" fmla="*/ 224 h 512"/>
                <a:gd name="T48" fmla="*/ 319 w 512"/>
                <a:gd name="T49" fmla="*/ 153 h 512"/>
                <a:gd name="T50" fmla="*/ 262 w 512"/>
                <a:gd name="T51" fmla="*/ 98 h 512"/>
                <a:gd name="T52" fmla="*/ 196 w 512"/>
                <a:gd name="T53" fmla="*/ 141 h 512"/>
                <a:gd name="T54" fmla="*/ 202 w 512"/>
                <a:gd name="T55" fmla="*/ 160 h 512"/>
                <a:gd name="T56" fmla="*/ 213 w 512"/>
                <a:gd name="T57" fmla="*/ 234 h 512"/>
                <a:gd name="T58" fmla="*/ 401 w 512"/>
                <a:gd name="T59" fmla="*/ 301 h 512"/>
                <a:gd name="T60" fmla="*/ 334 w 512"/>
                <a:gd name="T61" fmla="*/ 258 h 512"/>
                <a:gd name="T62" fmla="*/ 278 w 512"/>
                <a:gd name="T63" fmla="*/ 313 h 512"/>
                <a:gd name="T64" fmla="*/ 288 w 512"/>
                <a:gd name="T65" fmla="*/ 384 h 512"/>
                <a:gd name="T66" fmla="*/ 384 w 512"/>
                <a:gd name="T67" fmla="*/ 394 h 512"/>
                <a:gd name="T68" fmla="*/ 394 w 512"/>
                <a:gd name="T69" fmla="*/ 320 h 512"/>
                <a:gd name="T70" fmla="*/ 401 w 512"/>
                <a:gd name="T71" fmla="*/ 301 h 512"/>
                <a:gd name="T72" fmla="*/ 147 w 512"/>
                <a:gd name="T73" fmla="*/ 298 h 512"/>
                <a:gd name="T74" fmla="*/ 170 w 512"/>
                <a:gd name="T75" fmla="*/ 280 h 512"/>
                <a:gd name="T76" fmla="*/ 330 w 512"/>
                <a:gd name="T77" fmla="*/ 373 h 512"/>
                <a:gd name="T78" fmla="*/ 341 w 512"/>
                <a:gd name="T79" fmla="*/ 341 h 512"/>
                <a:gd name="T80" fmla="*/ 352 w 512"/>
                <a:gd name="T81" fmla="*/ 373 h 512"/>
                <a:gd name="T82" fmla="*/ 373 w 512"/>
                <a:gd name="T83" fmla="*/ 320 h 512"/>
                <a:gd name="T84" fmla="*/ 309 w 512"/>
                <a:gd name="T85" fmla="*/ 37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12" h="512">
                  <a:moveTo>
                    <a:pt x="138" y="320"/>
                  </a:moveTo>
                  <a:cubicBezTo>
                    <a:pt x="202" y="320"/>
                    <a:pt x="202" y="320"/>
                    <a:pt x="202" y="320"/>
                  </a:cubicBezTo>
                  <a:cubicBezTo>
                    <a:pt x="202" y="373"/>
                    <a:pt x="202" y="373"/>
                    <a:pt x="202" y="373"/>
                  </a:cubicBezTo>
                  <a:cubicBezTo>
                    <a:pt x="181" y="373"/>
                    <a:pt x="181" y="373"/>
                    <a:pt x="181" y="373"/>
                  </a:cubicBezTo>
                  <a:cubicBezTo>
                    <a:pt x="181" y="352"/>
                    <a:pt x="181" y="352"/>
                    <a:pt x="181" y="352"/>
                  </a:cubicBezTo>
                  <a:cubicBezTo>
                    <a:pt x="181" y="346"/>
                    <a:pt x="176" y="341"/>
                    <a:pt x="170" y="341"/>
                  </a:cubicBezTo>
                  <a:cubicBezTo>
                    <a:pt x="164" y="341"/>
                    <a:pt x="160" y="346"/>
                    <a:pt x="160" y="352"/>
                  </a:cubicBezTo>
                  <a:cubicBezTo>
                    <a:pt x="160" y="373"/>
                    <a:pt x="160" y="373"/>
                    <a:pt x="160" y="373"/>
                  </a:cubicBezTo>
                  <a:cubicBezTo>
                    <a:pt x="138" y="373"/>
                    <a:pt x="138" y="373"/>
                    <a:pt x="138" y="373"/>
                  </a:cubicBezTo>
                  <a:lnTo>
                    <a:pt x="138" y="320"/>
                  </a:lnTo>
                  <a:close/>
                  <a:moveTo>
                    <a:pt x="341" y="280"/>
                  </a:moveTo>
                  <a:cubicBezTo>
                    <a:pt x="318" y="298"/>
                    <a:pt x="318" y="298"/>
                    <a:pt x="318" y="298"/>
                  </a:cubicBezTo>
                  <a:cubicBezTo>
                    <a:pt x="364" y="298"/>
                    <a:pt x="364" y="298"/>
                    <a:pt x="364" y="298"/>
                  </a:cubicBezTo>
                  <a:lnTo>
                    <a:pt x="341" y="280"/>
                  </a:lnTo>
                  <a:close/>
                  <a:moveTo>
                    <a:pt x="256" y="120"/>
                  </a:moveTo>
                  <a:cubicBezTo>
                    <a:pt x="233" y="138"/>
                    <a:pt x="233" y="138"/>
                    <a:pt x="233" y="138"/>
                  </a:cubicBezTo>
                  <a:cubicBezTo>
                    <a:pt x="279" y="138"/>
                    <a:pt x="279" y="138"/>
                    <a:pt x="279" y="138"/>
                  </a:cubicBezTo>
                  <a:lnTo>
                    <a:pt x="256" y="120"/>
                  </a:lnTo>
                  <a:close/>
                  <a:moveTo>
                    <a:pt x="224" y="213"/>
                  </a:moveTo>
                  <a:cubicBezTo>
                    <a:pt x="245" y="213"/>
                    <a:pt x="245" y="213"/>
                    <a:pt x="245" y="213"/>
                  </a:cubicBezTo>
                  <a:cubicBezTo>
                    <a:pt x="245" y="192"/>
                    <a:pt x="245" y="192"/>
                    <a:pt x="245" y="192"/>
                  </a:cubicBezTo>
                  <a:cubicBezTo>
                    <a:pt x="245" y="186"/>
                    <a:pt x="250" y="181"/>
                    <a:pt x="256" y="181"/>
                  </a:cubicBezTo>
                  <a:cubicBezTo>
                    <a:pt x="262" y="181"/>
                    <a:pt x="266" y="186"/>
                    <a:pt x="266" y="192"/>
                  </a:cubicBezTo>
                  <a:cubicBezTo>
                    <a:pt x="266" y="213"/>
                    <a:pt x="266" y="213"/>
                    <a:pt x="266" y="213"/>
                  </a:cubicBezTo>
                  <a:cubicBezTo>
                    <a:pt x="288" y="213"/>
                    <a:pt x="288" y="213"/>
                    <a:pt x="288" y="213"/>
                  </a:cubicBezTo>
                  <a:cubicBezTo>
                    <a:pt x="288" y="160"/>
                    <a:pt x="288" y="160"/>
                    <a:pt x="288" y="160"/>
                  </a:cubicBezTo>
                  <a:cubicBezTo>
                    <a:pt x="224" y="160"/>
                    <a:pt x="224" y="160"/>
                    <a:pt x="224" y="160"/>
                  </a:cubicBezTo>
                  <a:lnTo>
                    <a:pt x="224" y="21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230" y="301"/>
                  </a:moveTo>
                  <a:cubicBezTo>
                    <a:pt x="177" y="258"/>
                    <a:pt x="177" y="258"/>
                    <a:pt x="177" y="258"/>
                  </a:cubicBezTo>
                  <a:cubicBezTo>
                    <a:pt x="173" y="255"/>
                    <a:pt x="168" y="255"/>
                    <a:pt x="164" y="258"/>
                  </a:cubicBezTo>
                  <a:cubicBezTo>
                    <a:pt x="110" y="301"/>
                    <a:pt x="110" y="301"/>
                    <a:pt x="110" y="301"/>
                  </a:cubicBezTo>
                  <a:cubicBezTo>
                    <a:pt x="107" y="304"/>
                    <a:pt x="105" y="308"/>
                    <a:pt x="107" y="313"/>
                  </a:cubicBezTo>
                  <a:cubicBezTo>
                    <a:pt x="108" y="317"/>
                    <a:pt x="112" y="320"/>
                    <a:pt x="117" y="320"/>
                  </a:cubicBezTo>
                  <a:cubicBezTo>
                    <a:pt x="117" y="384"/>
                    <a:pt x="117" y="384"/>
                    <a:pt x="117" y="384"/>
                  </a:cubicBezTo>
                  <a:cubicBezTo>
                    <a:pt x="117" y="390"/>
                    <a:pt x="122" y="394"/>
                    <a:pt x="128" y="394"/>
                  </a:cubicBezTo>
                  <a:cubicBezTo>
                    <a:pt x="213" y="394"/>
                    <a:pt x="213" y="394"/>
                    <a:pt x="213" y="394"/>
                  </a:cubicBezTo>
                  <a:cubicBezTo>
                    <a:pt x="219" y="394"/>
                    <a:pt x="224" y="390"/>
                    <a:pt x="224" y="384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28" y="320"/>
                    <a:pt x="232" y="317"/>
                    <a:pt x="234" y="313"/>
                  </a:cubicBezTo>
                  <a:cubicBezTo>
                    <a:pt x="235" y="308"/>
                    <a:pt x="234" y="304"/>
                    <a:pt x="230" y="301"/>
                  </a:cubicBezTo>
                  <a:close/>
                  <a:moveTo>
                    <a:pt x="298" y="234"/>
                  </a:moveTo>
                  <a:cubicBezTo>
                    <a:pt x="304" y="234"/>
                    <a:pt x="309" y="230"/>
                    <a:pt x="309" y="224"/>
                  </a:cubicBezTo>
                  <a:cubicBezTo>
                    <a:pt x="309" y="160"/>
                    <a:pt x="309" y="160"/>
                    <a:pt x="309" y="160"/>
                  </a:cubicBezTo>
                  <a:cubicBezTo>
                    <a:pt x="314" y="160"/>
                    <a:pt x="318" y="157"/>
                    <a:pt x="319" y="153"/>
                  </a:cubicBezTo>
                  <a:cubicBezTo>
                    <a:pt x="321" y="148"/>
                    <a:pt x="319" y="143"/>
                    <a:pt x="316" y="141"/>
                  </a:cubicBezTo>
                  <a:cubicBezTo>
                    <a:pt x="262" y="98"/>
                    <a:pt x="262" y="98"/>
                    <a:pt x="262" y="98"/>
                  </a:cubicBezTo>
                  <a:cubicBezTo>
                    <a:pt x="258" y="95"/>
                    <a:pt x="253" y="95"/>
                    <a:pt x="249" y="98"/>
                  </a:cubicBezTo>
                  <a:cubicBezTo>
                    <a:pt x="196" y="141"/>
                    <a:pt x="196" y="141"/>
                    <a:pt x="196" y="141"/>
                  </a:cubicBezTo>
                  <a:cubicBezTo>
                    <a:pt x="192" y="143"/>
                    <a:pt x="191" y="148"/>
                    <a:pt x="192" y="153"/>
                  </a:cubicBezTo>
                  <a:cubicBezTo>
                    <a:pt x="194" y="157"/>
                    <a:pt x="198" y="160"/>
                    <a:pt x="202" y="160"/>
                  </a:cubicBezTo>
                  <a:cubicBezTo>
                    <a:pt x="202" y="224"/>
                    <a:pt x="202" y="224"/>
                    <a:pt x="202" y="224"/>
                  </a:cubicBezTo>
                  <a:cubicBezTo>
                    <a:pt x="202" y="230"/>
                    <a:pt x="207" y="234"/>
                    <a:pt x="213" y="234"/>
                  </a:cubicBezTo>
                  <a:lnTo>
                    <a:pt x="298" y="234"/>
                  </a:lnTo>
                  <a:close/>
                  <a:moveTo>
                    <a:pt x="401" y="301"/>
                  </a:moveTo>
                  <a:cubicBezTo>
                    <a:pt x="348" y="258"/>
                    <a:pt x="348" y="258"/>
                    <a:pt x="348" y="258"/>
                  </a:cubicBezTo>
                  <a:cubicBezTo>
                    <a:pt x="344" y="255"/>
                    <a:pt x="338" y="255"/>
                    <a:pt x="334" y="258"/>
                  </a:cubicBezTo>
                  <a:cubicBezTo>
                    <a:pt x="281" y="301"/>
                    <a:pt x="281" y="301"/>
                    <a:pt x="281" y="301"/>
                  </a:cubicBezTo>
                  <a:cubicBezTo>
                    <a:pt x="277" y="304"/>
                    <a:pt x="276" y="308"/>
                    <a:pt x="278" y="313"/>
                  </a:cubicBezTo>
                  <a:cubicBezTo>
                    <a:pt x="279" y="317"/>
                    <a:pt x="283" y="320"/>
                    <a:pt x="288" y="320"/>
                  </a:cubicBezTo>
                  <a:cubicBezTo>
                    <a:pt x="288" y="384"/>
                    <a:pt x="288" y="384"/>
                    <a:pt x="288" y="384"/>
                  </a:cubicBezTo>
                  <a:cubicBezTo>
                    <a:pt x="288" y="390"/>
                    <a:pt x="292" y="394"/>
                    <a:pt x="298" y="394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390" y="394"/>
                    <a:pt x="394" y="390"/>
                    <a:pt x="394" y="384"/>
                  </a:cubicBezTo>
                  <a:cubicBezTo>
                    <a:pt x="394" y="320"/>
                    <a:pt x="394" y="320"/>
                    <a:pt x="394" y="320"/>
                  </a:cubicBezTo>
                  <a:cubicBezTo>
                    <a:pt x="399" y="320"/>
                    <a:pt x="403" y="317"/>
                    <a:pt x="404" y="313"/>
                  </a:cubicBezTo>
                  <a:cubicBezTo>
                    <a:pt x="406" y="308"/>
                    <a:pt x="405" y="304"/>
                    <a:pt x="401" y="301"/>
                  </a:cubicBezTo>
                  <a:close/>
                  <a:moveTo>
                    <a:pt x="170" y="280"/>
                  </a:moveTo>
                  <a:cubicBezTo>
                    <a:pt x="147" y="298"/>
                    <a:pt x="147" y="298"/>
                    <a:pt x="147" y="298"/>
                  </a:cubicBezTo>
                  <a:cubicBezTo>
                    <a:pt x="193" y="298"/>
                    <a:pt x="193" y="298"/>
                    <a:pt x="193" y="298"/>
                  </a:cubicBezTo>
                  <a:lnTo>
                    <a:pt x="170" y="280"/>
                  </a:lnTo>
                  <a:close/>
                  <a:moveTo>
                    <a:pt x="309" y="373"/>
                  </a:moveTo>
                  <a:cubicBezTo>
                    <a:pt x="330" y="373"/>
                    <a:pt x="330" y="373"/>
                    <a:pt x="330" y="373"/>
                  </a:cubicBezTo>
                  <a:cubicBezTo>
                    <a:pt x="330" y="352"/>
                    <a:pt x="330" y="352"/>
                    <a:pt x="330" y="352"/>
                  </a:cubicBezTo>
                  <a:cubicBezTo>
                    <a:pt x="330" y="346"/>
                    <a:pt x="335" y="341"/>
                    <a:pt x="341" y="341"/>
                  </a:cubicBezTo>
                  <a:cubicBezTo>
                    <a:pt x="347" y="341"/>
                    <a:pt x="352" y="346"/>
                    <a:pt x="352" y="352"/>
                  </a:cubicBezTo>
                  <a:cubicBezTo>
                    <a:pt x="352" y="373"/>
                    <a:pt x="352" y="373"/>
                    <a:pt x="352" y="373"/>
                  </a:cubicBezTo>
                  <a:cubicBezTo>
                    <a:pt x="373" y="373"/>
                    <a:pt x="373" y="373"/>
                    <a:pt x="373" y="373"/>
                  </a:cubicBezTo>
                  <a:cubicBezTo>
                    <a:pt x="373" y="320"/>
                    <a:pt x="373" y="320"/>
                    <a:pt x="373" y="320"/>
                  </a:cubicBezTo>
                  <a:cubicBezTo>
                    <a:pt x="309" y="320"/>
                    <a:pt x="309" y="320"/>
                    <a:pt x="309" y="320"/>
                  </a:cubicBezTo>
                  <a:lnTo>
                    <a:pt x="309" y="37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GB" sz="813"/>
            </a:p>
          </p:txBody>
        </p:sp>
        <p:grpSp>
          <p:nvGrpSpPr>
            <p:cNvPr id="34" name="Group 447"/>
            <p:cNvGrpSpPr>
              <a:grpSpLocks noChangeAspect="1"/>
            </p:cNvGrpSpPr>
            <p:nvPr/>
          </p:nvGrpSpPr>
          <p:grpSpPr bwMode="auto">
            <a:xfrm>
              <a:off x="811402" y="3869173"/>
              <a:ext cx="367041" cy="367041"/>
              <a:chOff x="5601" y="1820"/>
              <a:chExt cx="340" cy="340"/>
            </a:xfrm>
            <a:solidFill>
              <a:schemeClr val="bg1"/>
            </a:solidFill>
          </p:grpSpPr>
          <p:sp>
            <p:nvSpPr>
              <p:cNvPr id="35" name="Freeform 448"/>
              <p:cNvSpPr>
                <a:spLocks noEditPoints="1"/>
              </p:cNvSpPr>
              <p:nvPr/>
            </p:nvSpPr>
            <p:spPr bwMode="auto">
              <a:xfrm>
                <a:off x="5679" y="1948"/>
                <a:ext cx="182" cy="85"/>
              </a:xfrm>
              <a:custGeom>
                <a:avLst/>
                <a:gdLst>
                  <a:gd name="T0" fmla="*/ 131 w 275"/>
                  <a:gd name="T1" fmla="*/ 43 h 128"/>
                  <a:gd name="T2" fmla="*/ 122 w 275"/>
                  <a:gd name="T3" fmla="*/ 37 h 128"/>
                  <a:gd name="T4" fmla="*/ 64 w 275"/>
                  <a:gd name="T5" fmla="*/ 0 h 128"/>
                  <a:gd name="T6" fmla="*/ 0 w 275"/>
                  <a:gd name="T7" fmla="*/ 64 h 128"/>
                  <a:gd name="T8" fmla="*/ 64 w 275"/>
                  <a:gd name="T9" fmla="*/ 128 h 128"/>
                  <a:gd name="T10" fmla="*/ 122 w 275"/>
                  <a:gd name="T11" fmla="*/ 92 h 128"/>
                  <a:gd name="T12" fmla="*/ 131 w 275"/>
                  <a:gd name="T13" fmla="*/ 86 h 128"/>
                  <a:gd name="T14" fmla="*/ 177 w 275"/>
                  <a:gd name="T15" fmla="*/ 86 h 128"/>
                  <a:gd name="T16" fmla="*/ 195 w 275"/>
                  <a:gd name="T17" fmla="*/ 67 h 128"/>
                  <a:gd name="T18" fmla="*/ 210 w 275"/>
                  <a:gd name="T19" fmla="*/ 67 h 128"/>
                  <a:gd name="T20" fmla="*/ 224 w 275"/>
                  <a:gd name="T21" fmla="*/ 81 h 128"/>
                  <a:gd name="T22" fmla="*/ 238 w 275"/>
                  <a:gd name="T23" fmla="*/ 67 h 128"/>
                  <a:gd name="T24" fmla="*/ 253 w 275"/>
                  <a:gd name="T25" fmla="*/ 67 h 128"/>
                  <a:gd name="T26" fmla="*/ 265 w 275"/>
                  <a:gd name="T27" fmla="*/ 79 h 128"/>
                  <a:gd name="T28" fmla="*/ 275 w 275"/>
                  <a:gd name="T29" fmla="*/ 64 h 128"/>
                  <a:gd name="T30" fmla="*/ 261 w 275"/>
                  <a:gd name="T31" fmla="*/ 43 h 128"/>
                  <a:gd name="T32" fmla="*/ 131 w 275"/>
                  <a:gd name="T33" fmla="*/ 43 h 128"/>
                  <a:gd name="T34" fmla="*/ 53 w 275"/>
                  <a:gd name="T35" fmla="*/ 85 h 128"/>
                  <a:gd name="T36" fmla="*/ 32 w 275"/>
                  <a:gd name="T37" fmla="*/ 64 h 128"/>
                  <a:gd name="T38" fmla="*/ 53 w 275"/>
                  <a:gd name="T39" fmla="*/ 43 h 128"/>
                  <a:gd name="T40" fmla="*/ 75 w 275"/>
                  <a:gd name="T41" fmla="*/ 64 h 128"/>
                  <a:gd name="T42" fmla="*/ 53 w 275"/>
                  <a:gd name="T43" fmla="*/ 85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75" h="128">
                    <a:moveTo>
                      <a:pt x="131" y="43"/>
                    </a:moveTo>
                    <a:cubicBezTo>
                      <a:pt x="127" y="43"/>
                      <a:pt x="124" y="41"/>
                      <a:pt x="122" y="37"/>
                    </a:cubicBezTo>
                    <a:cubicBezTo>
                      <a:pt x="111" y="15"/>
                      <a:pt x="89" y="0"/>
                      <a:pt x="64" y="0"/>
                    </a:cubicBezTo>
                    <a:cubicBezTo>
                      <a:pt x="29" y="0"/>
                      <a:pt x="0" y="29"/>
                      <a:pt x="0" y="64"/>
                    </a:cubicBezTo>
                    <a:cubicBezTo>
                      <a:pt x="0" y="99"/>
                      <a:pt x="29" y="128"/>
                      <a:pt x="64" y="128"/>
                    </a:cubicBezTo>
                    <a:cubicBezTo>
                      <a:pt x="89" y="128"/>
                      <a:pt x="111" y="114"/>
                      <a:pt x="122" y="92"/>
                    </a:cubicBezTo>
                    <a:cubicBezTo>
                      <a:pt x="124" y="88"/>
                      <a:pt x="127" y="86"/>
                      <a:pt x="131" y="86"/>
                    </a:cubicBezTo>
                    <a:cubicBezTo>
                      <a:pt x="177" y="86"/>
                      <a:pt x="177" y="86"/>
                      <a:pt x="177" y="86"/>
                    </a:cubicBezTo>
                    <a:cubicBezTo>
                      <a:pt x="195" y="67"/>
                      <a:pt x="195" y="67"/>
                      <a:pt x="195" y="67"/>
                    </a:cubicBezTo>
                    <a:cubicBezTo>
                      <a:pt x="199" y="63"/>
                      <a:pt x="206" y="63"/>
                      <a:pt x="210" y="67"/>
                    </a:cubicBezTo>
                    <a:cubicBezTo>
                      <a:pt x="224" y="81"/>
                      <a:pt x="224" y="81"/>
                      <a:pt x="224" y="81"/>
                    </a:cubicBezTo>
                    <a:cubicBezTo>
                      <a:pt x="238" y="67"/>
                      <a:pt x="238" y="67"/>
                      <a:pt x="238" y="67"/>
                    </a:cubicBezTo>
                    <a:cubicBezTo>
                      <a:pt x="242" y="63"/>
                      <a:pt x="249" y="63"/>
                      <a:pt x="253" y="67"/>
                    </a:cubicBezTo>
                    <a:cubicBezTo>
                      <a:pt x="265" y="79"/>
                      <a:pt x="265" y="79"/>
                      <a:pt x="265" y="79"/>
                    </a:cubicBezTo>
                    <a:cubicBezTo>
                      <a:pt x="275" y="64"/>
                      <a:pt x="275" y="64"/>
                      <a:pt x="275" y="64"/>
                    </a:cubicBezTo>
                    <a:cubicBezTo>
                      <a:pt x="261" y="43"/>
                      <a:pt x="261" y="43"/>
                      <a:pt x="261" y="43"/>
                    </a:cubicBezTo>
                    <a:lnTo>
                      <a:pt x="131" y="43"/>
                    </a:lnTo>
                    <a:close/>
                    <a:moveTo>
                      <a:pt x="53" y="85"/>
                    </a:moveTo>
                    <a:cubicBezTo>
                      <a:pt x="42" y="85"/>
                      <a:pt x="32" y="76"/>
                      <a:pt x="32" y="64"/>
                    </a:cubicBezTo>
                    <a:cubicBezTo>
                      <a:pt x="32" y="52"/>
                      <a:pt x="42" y="43"/>
                      <a:pt x="53" y="43"/>
                    </a:cubicBezTo>
                    <a:cubicBezTo>
                      <a:pt x="65" y="43"/>
                      <a:pt x="75" y="52"/>
                      <a:pt x="75" y="64"/>
                    </a:cubicBezTo>
                    <a:cubicBezTo>
                      <a:pt x="75" y="76"/>
                      <a:pt x="65" y="85"/>
                      <a:pt x="53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813"/>
              </a:p>
            </p:txBody>
          </p:sp>
          <p:sp>
            <p:nvSpPr>
              <p:cNvPr id="36" name="Freeform 449"/>
              <p:cNvSpPr>
                <a:spLocks noEditPoints="1"/>
              </p:cNvSpPr>
              <p:nvPr/>
            </p:nvSpPr>
            <p:spPr bwMode="auto">
              <a:xfrm>
                <a:off x="5601" y="1820"/>
                <a:ext cx="340" cy="340"/>
              </a:xfrm>
              <a:custGeom>
                <a:avLst/>
                <a:gdLst>
                  <a:gd name="T0" fmla="*/ 256 w 512"/>
                  <a:gd name="T1" fmla="*/ 0 h 512"/>
                  <a:gd name="T2" fmla="*/ 0 w 512"/>
                  <a:gd name="T3" fmla="*/ 256 h 512"/>
                  <a:gd name="T4" fmla="*/ 256 w 512"/>
                  <a:gd name="T5" fmla="*/ 512 h 512"/>
                  <a:gd name="T6" fmla="*/ 512 w 512"/>
                  <a:gd name="T7" fmla="*/ 256 h 512"/>
                  <a:gd name="T8" fmla="*/ 256 w 512"/>
                  <a:gd name="T9" fmla="*/ 0 h 512"/>
                  <a:gd name="T10" fmla="*/ 414 w 512"/>
                  <a:gd name="T11" fmla="*/ 262 h 512"/>
                  <a:gd name="T12" fmla="*/ 393 w 512"/>
                  <a:gd name="T13" fmla="*/ 294 h 512"/>
                  <a:gd name="T14" fmla="*/ 385 w 512"/>
                  <a:gd name="T15" fmla="*/ 299 h 512"/>
                  <a:gd name="T16" fmla="*/ 376 w 512"/>
                  <a:gd name="T17" fmla="*/ 296 h 512"/>
                  <a:gd name="T18" fmla="*/ 362 w 512"/>
                  <a:gd name="T19" fmla="*/ 282 h 512"/>
                  <a:gd name="T20" fmla="*/ 349 w 512"/>
                  <a:gd name="T21" fmla="*/ 296 h 512"/>
                  <a:gd name="T22" fmla="*/ 333 w 512"/>
                  <a:gd name="T23" fmla="*/ 296 h 512"/>
                  <a:gd name="T24" fmla="*/ 320 w 512"/>
                  <a:gd name="T25" fmla="*/ 282 h 512"/>
                  <a:gd name="T26" fmla="*/ 306 w 512"/>
                  <a:gd name="T27" fmla="*/ 296 h 512"/>
                  <a:gd name="T28" fmla="*/ 298 w 512"/>
                  <a:gd name="T29" fmla="*/ 299 h 512"/>
                  <a:gd name="T30" fmla="*/ 255 w 512"/>
                  <a:gd name="T31" fmla="*/ 299 h 512"/>
                  <a:gd name="T32" fmla="*/ 181 w 512"/>
                  <a:gd name="T33" fmla="*/ 342 h 512"/>
                  <a:gd name="T34" fmla="*/ 96 w 512"/>
                  <a:gd name="T35" fmla="*/ 256 h 512"/>
                  <a:gd name="T36" fmla="*/ 181 w 512"/>
                  <a:gd name="T37" fmla="*/ 171 h 512"/>
                  <a:gd name="T38" fmla="*/ 255 w 512"/>
                  <a:gd name="T39" fmla="*/ 214 h 512"/>
                  <a:gd name="T40" fmla="*/ 384 w 512"/>
                  <a:gd name="T41" fmla="*/ 214 h 512"/>
                  <a:gd name="T42" fmla="*/ 393 w 512"/>
                  <a:gd name="T43" fmla="*/ 218 h 512"/>
                  <a:gd name="T44" fmla="*/ 414 w 512"/>
                  <a:gd name="T45" fmla="*/ 250 h 512"/>
                  <a:gd name="T46" fmla="*/ 414 w 512"/>
                  <a:gd name="T47" fmla="*/ 262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12" h="512">
                    <a:moveTo>
                      <a:pt x="256" y="0"/>
                    </a:moveTo>
                    <a:cubicBezTo>
                      <a:pt x="114" y="0"/>
                      <a:pt x="0" y="115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5"/>
                      <a:pt x="397" y="0"/>
                      <a:pt x="256" y="0"/>
                    </a:cubicBezTo>
                    <a:close/>
                    <a:moveTo>
                      <a:pt x="414" y="262"/>
                    </a:moveTo>
                    <a:cubicBezTo>
                      <a:pt x="393" y="294"/>
                      <a:pt x="393" y="294"/>
                      <a:pt x="393" y="294"/>
                    </a:cubicBezTo>
                    <a:cubicBezTo>
                      <a:pt x="391" y="297"/>
                      <a:pt x="388" y="298"/>
                      <a:pt x="385" y="299"/>
                    </a:cubicBezTo>
                    <a:cubicBezTo>
                      <a:pt x="381" y="299"/>
                      <a:pt x="378" y="298"/>
                      <a:pt x="376" y="296"/>
                    </a:cubicBezTo>
                    <a:cubicBezTo>
                      <a:pt x="362" y="282"/>
                      <a:pt x="362" y="282"/>
                      <a:pt x="362" y="282"/>
                    </a:cubicBezTo>
                    <a:cubicBezTo>
                      <a:pt x="349" y="296"/>
                      <a:pt x="349" y="296"/>
                      <a:pt x="349" y="296"/>
                    </a:cubicBezTo>
                    <a:cubicBezTo>
                      <a:pt x="344" y="300"/>
                      <a:pt x="338" y="300"/>
                      <a:pt x="333" y="296"/>
                    </a:cubicBezTo>
                    <a:cubicBezTo>
                      <a:pt x="320" y="282"/>
                      <a:pt x="320" y="282"/>
                      <a:pt x="320" y="282"/>
                    </a:cubicBezTo>
                    <a:cubicBezTo>
                      <a:pt x="306" y="296"/>
                      <a:pt x="306" y="296"/>
                      <a:pt x="306" y="296"/>
                    </a:cubicBezTo>
                    <a:cubicBezTo>
                      <a:pt x="304" y="298"/>
                      <a:pt x="301" y="299"/>
                      <a:pt x="298" y="299"/>
                    </a:cubicBezTo>
                    <a:cubicBezTo>
                      <a:pt x="255" y="299"/>
                      <a:pt x="255" y="299"/>
                      <a:pt x="255" y="299"/>
                    </a:cubicBezTo>
                    <a:cubicBezTo>
                      <a:pt x="240" y="325"/>
                      <a:pt x="211" y="342"/>
                      <a:pt x="181" y="342"/>
                    </a:cubicBezTo>
                    <a:cubicBezTo>
                      <a:pt x="134" y="342"/>
                      <a:pt x="96" y="303"/>
                      <a:pt x="96" y="256"/>
                    </a:cubicBezTo>
                    <a:cubicBezTo>
                      <a:pt x="96" y="209"/>
                      <a:pt x="134" y="171"/>
                      <a:pt x="181" y="171"/>
                    </a:cubicBezTo>
                    <a:cubicBezTo>
                      <a:pt x="211" y="171"/>
                      <a:pt x="240" y="187"/>
                      <a:pt x="255" y="214"/>
                    </a:cubicBezTo>
                    <a:cubicBezTo>
                      <a:pt x="384" y="214"/>
                      <a:pt x="384" y="214"/>
                      <a:pt x="384" y="214"/>
                    </a:cubicBezTo>
                    <a:cubicBezTo>
                      <a:pt x="387" y="214"/>
                      <a:pt x="391" y="215"/>
                      <a:pt x="393" y="218"/>
                    </a:cubicBezTo>
                    <a:cubicBezTo>
                      <a:pt x="414" y="250"/>
                      <a:pt x="414" y="250"/>
                      <a:pt x="414" y="250"/>
                    </a:cubicBezTo>
                    <a:cubicBezTo>
                      <a:pt x="416" y="254"/>
                      <a:pt x="416" y="258"/>
                      <a:pt x="414" y="2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813"/>
              </a:p>
            </p:txBody>
          </p:sp>
        </p:grpSp>
      </p:grpSp>
      <p:sp>
        <p:nvSpPr>
          <p:cNvPr id="38" name="TextBox 37"/>
          <p:cNvSpPr txBox="1"/>
          <p:nvPr/>
        </p:nvSpPr>
        <p:spPr>
          <a:xfrm>
            <a:off x="1283004" y="1133806"/>
            <a:ext cx="84372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Per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poter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ricevere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documenti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tramit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canal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OpenPEPPOL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ciascuna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PA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deve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Rectangle 4"/>
          <p:cNvSpPr>
            <a:spLocks noChangeArrowheads="1"/>
          </p:cNvSpPr>
          <p:nvPr/>
        </p:nvSpPr>
        <p:spPr bwMode="auto">
          <a:xfrm>
            <a:off x="1235895" y="129762"/>
            <a:ext cx="832561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it-IT" altLang="it-IT" sz="28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Processo di registrazione della PA</a:t>
            </a:r>
            <a:endParaRPr lang="it-IT" altLang="it-IT" sz="1200" b="1" dirty="0">
              <a:solidFill>
                <a:srgbClr val="006600"/>
              </a:solidFill>
              <a:latin typeface="Calibri" panose="020F0502020204030204" pitchFamily="34" charset="0"/>
            </a:endParaRPr>
          </a:p>
        </p:txBody>
      </p:sp>
      <p:sp>
        <p:nvSpPr>
          <p:cNvPr id="41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3935413" y="6511925"/>
            <a:ext cx="2060575" cy="250825"/>
          </a:xfrm>
        </p:spPr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38</a:t>
            </a:fld>
            <a:endParaRPr lang="it-IT" altLang="it-IT" dirty="0"/>
          </a:p>
        </p:txBody>
      </p:sp>
    </p:spTree>
    <p:extLst>
      <p:ext uri="{BB962C8B-B14F-4D97-AF65-F5344CB8AC3E}">
        <p14:creationId xmlns:p14="http://schemas.microsoft.com/office/powerpoint/2010/main" val="3258102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CustomShape 1"/>
          <p:cNvSpPr/>
          <p:nvPr/>
        </p:nvSpPr>
        <p:spPr>
          <a:xfrm>
            <a:off x="325440" y="106200"/>
            <a:ext cx="9579600" cy="508680"/>
          </a:xfrm>
          <a:prstGeom prst="rect">
            <a:avLst/>
          </a:prstGeom>
          <a:noFill/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76" name="CustomShape 2"/>
          <p:cNvSpPr/>
          <p:nvPr/>
        </p:nvSpPr>
        <p:spPr>
          <a:xfrm>
            <a:off x="3935520" y="6512040"/>
            <a:ext cx="2059560" cy="249840"/>
          </a:xfrm>
          <a:prstGeom prst="rect">
            <a:avLst/>
          </a:prstGeom>
          <a:noFill/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fld id="{6BA8943D-A37A-49D3-8579-C1130D867C27}" type="slidenum">
              <a:rPr lang="it-IT" sz="1200" b="1" strike="noStrike" spc="-1">
                <a:solidFill>
                  <a:srgbClr val="336600"/>
                </a:solidFill>
                <a:uFill>
                  <a:solidFill>
                    <a:srgbClr val="FFFFFF"/>
                  </a:solidFill>
                </a:uFill>
                <a:latin typeface="Tahoma"/>
                <a:ea typeface="DejaVu Sans"/>
              </a:rPr>
              <a:t>39</a:t>
            </a:fld>
            <a:endParaRPr lang="it-IT" sz="18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6" name="CustomShape 3">
            <a:extLst>
              <a:ext uri="{FF2B5EF4-FFF2-40B4-BE49-F238E27FC236}">
                <a16:creationId xmlns:a16="http://schemas.microsoft.com/office/drawing/2014/main" id="{DC62F164-43E1-41D8-A0D2-240A6099051E}"/>
              </a:ext>
            </a:extLst>
          </p:cNvPr>
          <p:cNvSpPr/>
          <p:nvPr/>
        </p:nvSpPr>
        <p:spPr>
          <a:xfrm>
            <a:off x="1084720" y="1172993"/>
            <a:ext cx="8061040" cy="521520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lvl="0" algn="just"/>
            <a:endParaRPr lang="it-IT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it-IT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it-IT" sz="1600" b="1" spc="-1" dirty="0">
              <a:uFill>
                <a:solidFill>
                  <a:srgbClr val="FFFFFF"/>
                </a:solidFill>
              </a:u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it-IT" sz="1600" b="0" strike="noStrike" spc="-1" dirty="0"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1235895" y="129762"/>
            <a:ext cx="832561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it-IT" altLang="it-IT" sz="28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Modifiche regole tecniche FE (1/2)</a:t>
            </a:r>
            <a:endParaRPr lang="it-IT" altLang="it-IT" sz="1200" b="1" dirty="0">
              <a:solidFill>
                <a:srgbClr val="006600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83004" y="1133806"/>
            <a:ext cx="84372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Le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fatture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ricevute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dagli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Operatori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Economici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esteri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non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avranno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gestione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dei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seguenti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business terms del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modello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italiano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di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fatturazione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3293456" y="1962796"/>
            <a:ext cx="3767953" cy="2211929"/>
            <a:chOff x="3293456" y="1962796"/>
            <a:chExt cx="3767953" cy="2211929"/>
          </a:xfrm>
        </p:grpSpPr>
        <p:sp>
          <p:nvSpPr>
            <p:cNvPr id="12" name="Moon 11">
              <a:extLst>
                <a:ext uri="{FF2B5EF4-FFF2-40B4-BE49-F238E27FC236}">
                  <a16:creationId xmlns:a16="http://schemas.microsoft.com/office/drawing/2014/main" id="{CCC19C59-37CC-4BB2-94D4-363F589E1F09}"/>
                </a:ext>
              </a:extLst>
            </p:cNvPr>
            <p:cNvSpPr/>
            <p:nvPr/>
          </p:nvSpPr>
          <p:spPr bwMode="auto">
            <a:xfrm rot="10800000">
              <a:off x="3293456" y="2021131"/>
              <a:ext cx="1541843" cy="2100361"/>
            </a:xfrm>
            <a:prstGeom prst="moon">
              <a:avLst>
                <a:gd name="adj" fmla="val 11187"/>
              </a:avLst>
            </a:prstGeom>
            <a:solidFill>
              <a:srgbClr val="A1A1A1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177800" indent="-177800" algn="ctr" eaLnBrk="1" fontAlgn="auto" hangingPunct="1">
                <a:spcBef>
                  <a:spcPts val="600"/>
                </a:spcBef>
                <a:spcAft>
                  <a:spcPts val="0"/>
                </a:spcAft>
                <a:buFont typeface="Wingdings" pitchFamily="2" charset="2"/>
                <a:buChar char="§"/>
                <a:defRPr/>
              </a:pPr>
              <a:endParaRPr lang="en-US" sz="1200" kern="0" dirty="0">
                <a:solidFill>
                  <a:srgbClr val="00277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4305850" y="1962796"/>
              <a:ext cx="67358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it-IT" sz="1800" b="1" dirty="0">
                  <a:latin typeface="Calibri" panose="020F0502020204030204" pitchFamily="34" charset="0"/>
                  <a:cs typeface="Calibri" panose="020F0502020204030204" pitchFamily="34" charset="0"/>
                </a:rPr>
                <a:t>Bollo</a:t>
              </a:r>
              <a:endParaRPr lang="en-US" sz="1800" b="1" dirty="0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4835299" y="2339455"/>
              <a:ext cx="197451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it-IT" sz="1800" b="1" dirty="0">
                  <a:latin typeface="Calibri" panose="020F0502020204030204" pitchFamily="34" charset="0"/>
                  <a:cs typeface="Calibri" panose="020F0502020204030204" pitchFamily="34" charset="0"/>
                </a:rPr>
                <a:t>Ritenuta d’acconto</a:t>
              </a:r>
              <a:endParaRPr lang="en-US" sz="1800" b="1" dirty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5014567" y="2859156"/>
              <a:ext cx="204684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it-IT" sz="1800" b="1" dirty="0">
                  <a:latin typeface="Calibri" panose="020F0502020204030204" pitchFamily="34" charset="0"/>
                  <a:cs typeface="Calibri" panose="020F0502020204030204" pitchFamily="34" charset="0"/>
                </a:rPr>
                <a:t>Cassa previdenziale</a:t>
              </a:r>
              <a:endParaRPr lang="en-US" sz="1800" b="1" dirty="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835299" y="3379491"/>
              <a:ext cx="150887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it-IT" sz="1800" b="1" dirty="0">
                  <a:latin typeface="Calibri" panose="020F0502020204030204" pitchFamily="34" charset="0"/>
                  <a:cs typeface="Calibri" panose="020F0502020204030204" pitchFamily="34" charset="0"/>
                </a:rPr>
                <a:t>Split </a:t>
              </a:r>
              <a:r>
                <a:rPr lang="it-IT" sz="1800" b="1" dirty="0" err="1">
                  <a:latin typeface="Calibri" panose="020F0502020204030204" pitchFamily="34" charset="0"/>
                  <a:cs typeface="Calibri" panose="020F0502020204030204" pitchFamily="34" charset="0"/>
                </a:rPr>
                <a:t>payment</a:t>
              </a:r>
              <a:endParaRPr lang="en-US" sz="1800" b="1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4305850" y="3805393"/>
              <a:ext cx="137467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it-IT" sz="1800" b="1" dirty="0">
                  <a:latin typeface="Calibri" panose="020F0502020204030204" pitchFamily="34" charset="0"/>
                  <a:cs typeface="Calibri" panose="020F0502020204030204" pitchFamily="34" charset="0"/>
                </a:rPr>
                <a:t>AIC Farmaco</a:t>
              </a:r>
              <a:endParaRPr lang="en-US" sz="1800" b="1" dirty="0"/>
            </a:p>
          </p:txBody>
        </p:sp>
        <p:sp>
          <p:nvSpPr>
            <p:cNvPr id="17" name="Oval 16"/>
            <p:cNvSpPr/>
            <p:nvPr/>
          </p:nvSpPr>
          <p:spPr bwMode="auto">
            <a:xfrm>
              <a:off x="3832974" y="1993489"/>
              <a:ext cx="323850" cy="324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it-IT" sz="1200" b="1" dirty="0" smtClean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  <a:endPara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" name="Oval 19"/>
            <p:cNvSpPr/>
            <p:nvPr/>
          </p:nvSpPr>
          <p:spPr bwMode="auto">
            <a:xfrm>
              <a:off x="4387188" y="2381871"/>
              <a:ext cx="323850" cy="32400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it-IT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Oval 20"/>
            <p:cNvSpPr/>
            <p:nvPr/>
          </p:nvSpPr>
          <p:spPr bwMode="auto">
            <a:xfrm>
              <a:off x="4588210" y="2881822"/>
              <a:ext cx="323850" cy="324000"/>
            </a:xfrm>
            <a:prstGeom prst="ellipse">
              <a:avLst/>
            </a:prstGeom>
            <a:solidFill>
              <a:srgbClr val="007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it-IT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" name="Oval 21"/>
            <p:cNvSpPr/>
            <p:nvPr/>
          </p:nvSpPr>
          <p:spPr bwMode="auto">
            <a:xfrm>
              <a:off x="4387905" y="3401835"/>
              <a:ext cx="323850" cy="324000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it-IT" sz="1200" b="1" dirty="0" smtClean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" name="Oval 23"/>
            <p:cNvSpPr/>
            <p:nvPr/>
          </p:nvSpPr>
          <p:spPr bwMode="auto">
            <a:xfrm>
              <a:off x="3841370" y="3812764"/>
              <a:ext cx="323850" cy="324000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it-IT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  <a:endPara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1401763" y="4383085"/>
            <a:ext cx="8318500" cy="680374"/>
            <a:chOff x="1401763" y="4020076"/>
            <a:chExt cx="8318500" cy="680374"/>
          </a:xfrm>
        </p:grpSpPr>
        <p:sp>
          <p:nvSpPr>
            <p:cNvPr id="30" name="Rectangle 29"/>
            <p:cNvSpPr/>
            <p:nvPr/>
          </p:nvSpPr>
          <p:spPr>
            <a:xfrm>
              <a:off x="2141190" y="4044733"/>
              <a:ext cx="7579073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it-IT" sz="1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La </a:t>
              </a:r>
              <a:r>
                <a:rPr lang="it-IT" sz="18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CIUS-IT</a:t>
              </a:r>
              <a:r>
                <a:rPr lang="it-IT" sz="1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it-IT" altLang="en-US" sz="1800" dirty="0">
                  <a:latin typeface="Calibri" panose="020F0502020204030204" pitchFamily="34" charset="0"/>
                  <a:cs typeface="Calibri" panose="020F0502020204030204" pitchFamily="34" charset="0"/>
                </a:rPr>
                <a:t>(Core </a:t>
              </a:r>
              <a:r>
                <a:rPr lang="it-IT" altLang="en-US" sz="18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Invoice</a:t>
              </a:r>
              <a:r>
                <a:rPr lang="it-IT" altLang="en-US" sz="1800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it-IT" altLang="en-US" sz="18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Usage</a:t>
              </a:r>
              <a:r>
                <a:rPr lang="it-IT" altLang="en-US" sz="1800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it-IT" altLang="en-US" sz="18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Specification</a:t>
              </a:r>
              <a:r>
                <a:rPr lang="it-IT" altLang="en-US" sz="1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) </a:t>
              </a:r>
              <a:r>
                <a:rPr lang="it-IT" sz="1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pubblicata da </a:t>
              </a:r>
              <a:r>
                <a:rPr lang="it-IT" sz="1800" dirty="0" err="1" smtClean="0">
                  <a:latin typeface="Calibri" panose="020F0502020204030204" pitchFamily="34" charset="0"/>
                  <a:cs typeface="Calibri" panose="020F0502020204030204" pitchFamily="34" charset="0"/>
                </a:rPr>
                <a:t>AdE</a:t>
              </a:r>
              <a:r>
                <a:rPr lang="it-IT" sz="1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 non prevede la gestione strutturata dei campi</a:t>
              </a:r>
              <a:endParaRPr lang="en-US" sz="1800" dirty="0"/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1401763" y="4020076"/>
              <a:ext cx="746821" cy="680374"/>
              <a:chOff x="1173163" y="5149053"/>
              <a:chExt cx="746821" cy="680374"/>
            </a:xfrm>
          </p:grpSpPr>
          <p:grpSp>
            <p:nvGrpSpPr>
              <p:cNvPr id="32" name="Group 498"/>
              <p:cNvGrpSpPr>
                <a:grpSpLocks noChangeAspect="1"/>
              </p:cNvGrpSpPr>
              <p:nvPr/>
            </p:nvGrpSpPr>
            <p:grpSpPr bwMode="auto">
              <a:xfrm>
                <a:off x="1281647" y="5221122"/>
                <a:ext cx="540000" cy="540000"/>
                <a:chOff x="1543" y="2005"/>
                <a:chExt cx="340" cy="340"/>
              </a:xfrm>
              <a:solidFill>
                <a:srgbClr val="006B00"/>
              </a:solidFill>
            </p:grpSpPr>
            <p:sp>
              <p:nvSpPr>
                <p:cNvPr id="34" name="Freeform 499"/>
                <p:cNvSpPr>
                  <a:spLocks noEditPoints="1"/>
                </p:cNvSpPr>
                <p:nvPr/>
              </p:nvSpPr>
              <p:spPr bwMode="auto">
                <a:xfrm>
                  <a:off x="1543" y="2005"/>
                  <a:ext cx="340" cy="340"/>
                </a:xfrm>
                <a:custGeom>
                  <a:avLst/>
                  <a:gdLst>
                    <a:gd name="T0" fmla="*/ 256 w 512"/>
                    <a:gd name="T1" fmla="*/ 0 h 512"/>
                    <a:gd name="T2" fmla="*/ 0 w 512"/>
                    <a:gd name="T3" fmla="*/ 256 h 512"/>
                    <a:gd name="T4" fmla="*/ 256 w 512"/>
                    <a:gd name="T5" fmla="*/ 512 h 512"/>
                    <a:gd name="T6" fmla="*/ 512 w 512"/>
                    <a:gd name="T7" fmla="*/ 256 h 512"/>
                    <a:gd name="T8" fmla="*/ 256 w 512"/>
                    <a:gd name="T9" fmla="*/ 0 h 512"/>
                    <a:gd name="T10" fmla="*/ 414 w 512"/>
                    <a:gd name="T11" fmla="*/ 368 h 512"/>
                    <a:gd name="T12" fmla="*/ 405 w 512"/>
                    <a:gd name="T13" fmla="*/ 373 h 512"/>
                    <a:gd name="T14" fmla="*/ 106 w 512"/>
                    <a:gd name="T15" fmla="*/ 373 h 512"/>
                    <a:gd name="T16" fmla="*/ 97 w 512"/>
                    <a:gd name="T17" fmla="*/ 368 h 512"/>
                    <a:gd name="T18" fmla="*/ 97 w 512"/>
                    <a:gd name="T19" fmla="*/ 357 h 512"/>
                    <a:gd name="T20" fmla="*/ 247 w 512"/>
                    <a:gd name="T21" fmla="*/ 111 h 512"/>
                    <a:gd name="T22" fmla="*/ 265 w 512"/>
                    <a:gd name="T23" fmla="*/ 111 h 512"/>
                    <a:gd name="T24" fmla="*/ 414 w 512"/>
                    <a:gd name="T25" fmla="*/ 357 h 512"/>
                    <a:gd name="T26" fmla="*/ 414 w 512"/>
                    <a:gd name="T27" fmla="*/ 368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12" h="512">
                      <a:moveTo>
                        <a:pt x="256" y="0"/>
                      </a:moveTo>
                      <a:cubicBezTo>
                        <a:pt x="114" y="0"/>
                        <a:pt x="0" y="114"/>
                        <a:pt x="0" y="256"/>
                      </a:cubicBezTo>
                      <a:cubicBezTo>
                        <a:pt x="0" y="397"/>
                        <a:pt x="114" y="512"/>
                        <a:pt x="256" y="512"/>
                      </a:cubicBezTo>
                      <a:cubicBezTo>
                        <a:pt x="397" y="512"/>
                        <a:pt x="512" y="397"/>
                        <a:pt x="512" y="256"/>
                      </a:cubicBezTo>
                      <a:cubicBezTo>
                        <a:pt x="512" y="114"/>
                        <a:pt x="397" y="0"/>
                        <a:pt x="256" y="0"/>
                      </a:cubicBezTo>
                      <a:close/>
                      <a:moveTo>
                        <a:pt x="414" y="368"/>
                      </a:moveTo>
                      <a:cubicBezTo>
                        <a:pt x="412" y="371"/>
                        <a:pt x="409" y="373"/>
                        <a:pt x="405" y="373"/>
                      </a:cubicBezTo>
                      <a:cubicBezTo>
                        <a:pt x="106" y="373"/>
                        <a:pt x="106" y="373"/>
                        <a:pt x="106" y="373"/>
                      </a:cubicBezTo>
                      <a:cubicBezTo>
                        <a:pt x="102" y="373"/>
                        <a:pt x="99" y="371"/>
                        <a:pt x="97" y="368"/>
                      </a:cubicBezTo>
                      <a:cubicBezTo>
                        <a:pt x="95" y="364"/>
                        <a:pt x="95" y="360"/>
                        <a:pt x="97" y="357"/>
                      </a:cubicBezTo>
                      <a:cubicBezTo>
                        <a:pt x="247" y="111"/>
                        <a:pt x="247" y="111"/>
                        <a:pt x="247" y="111"/>
                      </a:cubicBezTo>
                      <a:cubicBezTo>
                        <a:pt x="250" y="105"/>
                        <a:pt x="261" y="105"/>
                        <a:pt x="265" y="111"/>
                      </a:cubicBezTo>
                      <a:cubicBezTo>
                        <a:pt x="414" y="357"/>
                        <a:pt x="414" y="357"/>
                        <a:pt x="414" y="357"/>
                      </a:cubicBezTo>
                      <a:cubicBezTo>
                        <a:pt x="416" y="360"/>
                        <a:pt x="416" y="364"/>
                        <a:pt x="414" y="36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5" name="Freeform 500"/>
                <p:cNvSpPr>
                  <a:spLocks noEditPoints="1"/>
                </p:cNvSpPr>
                <p:nvPr/>
              </p:nvSpPr>
              <p:spPr bwMode="auto">
                <a:xfrm>
                  <a:off x="1590" y="2049"/>
                  <a:ext cx="249" cy="204"/>
                </a:xfrm>
                <a:custGeom>
                  <a:avLst/>
                  <a:gdLst>
                    <a:gd name="T0" fmla="*/ 0 w 261"/>
                    <a:gd name="T1" fmla="*/ 214 h 214"/>
                    <a:gd name="T2" fmla="*/ 261 w 261"/>
                    <a:gd name="T3" fmla="*/ 214 h 214"/>
                    <a:gd name="T4" fmla="*/ 131 w 261"/>
                    <a:gd name="T5" fmla="*/ 0 h 214"/>
                    <a:gd name="T6" fmla="*/ 0 w 261"/>
                    <a:gd name="T7" fmla="*/ 214 h 214"/>
                    <a:gd name="T8" fmla="*/ 131 w 261"/>
                    <a:gd name="T9" fmla="*/ 192 h 214"/>
                    <a:gd name="T10" fmla="*/ 120 w 261"/>
                    <a:gd name="T11" fmla="*/ 182 h 214"/>
                    <a:gd name="T12" fmla="*/ 131 w 261"/>
                    <a:gd name="T13" fmla="*/ 171 h 214"/>
                    <a:gd name="T14" fmla="*/ 141 w 261"/>
                    <a:gd name="T15" fmla="*/ 182 h 214"/>
                    <a:gd name="T16" fmla="*/ 131 w 261"/>
                    <a:gd name="T17" fmla="*/ 192 h 214"/>
                    <a:gd name="T18" fmla="*/ 141 w 261"/>
                    <a:gd name="T19" fmla="*/ 64 h 214"/>
                    <a:gd name="T20" fmla="*/ 141 w 261"/>
                    <a:gd name="T21" fmla="*/ 139 h 214"/>
                    <a:gd name="T22" fmla="*/ 131 w 261"/>
                    <a:gd name="T23" fmla="*/ 150 h 214"/>
                    <a:gd name="T24" fmla="*/ 120 w 261"/>
                    <a:gd name="T25" fmla="*/ 139 h 214"/>
                    <a:gd name="T26" fmla="*/ 120 w 261"/>
                    <a:gd name="T27" fmla="*/ 64 h 214"/>
                    <a:gd name="T28" fmla="*/ 131 w 261"/>
                    <a:gd name="T29" fmla="*/ 54 h 214"/>
                    <a:gd name="T30" fmla="*/ 141 w 261"/>
                    <a:gd name="T31" fmla="*/ 64 h 2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61" h="214">
                      <a:moveTo>
                        <a:pt x="0" y="214"/>
                      </a:moveTo>
                      <a:cubicBezTo>
                        <a:pt x="261" y="214"/>
                        <a:pt x="261" y="214"/>
                        <a:pt x="261" y="214"/>
                      </a:cubicBezTo>
                      <a:cubicBezTo>
                        <a:pt x="131" y="0"/>
                        <a:pt x="131" y="0"/>
                        <a:pt x="131" y="0"/>
                      </a:cubicBezTo>
                      <a:lnTo>
                        <a:pt x="0" y="214"/>
                      </a:lnTo>
                      <a:close/>
                      <a:moveTo>
                        <a:pt x="131" y="192"/>
                      </a:moveTo>
                      <a:cubicBezTo>
                        <a:pt x="125" y="192"/>
                        <a:pt x="120" y="188"/>
                        <a:pt x="120" y="182"/>
                      </a:cubicBezTo>
                      <a:cubicBezTo>
                        <a:pt x="120" y="176"/>
                        <a:pt x="125" y="171"/>
                        <a:pt x="131" y="171"/>
                      </a:cubicBezTo>
                      <a:cubicBezTo>
                        <a:pt x="137" y="171"/>
                        <a:pt x="141" y="176"/>
                        <a:pt x="141" y="182"/>
                      </a:cubicBezTo>
                      <a:cubicBezTo>
                        <a:pt x="141" y="188"/>
                        <a:pt x="137" y="192"/>
                        <a:pt x="131" y="192"/>
                      </a:cubicBezTo>
                      <a:close/>
                      <a:moveTo>
                        <a:pt x="141" y="64"/>
                      </a:moveTo>
                      <a:cubicBezTo>
                        <a:pt x="141" y="139"/>
                        <a:pt x="141" y="139"/>
                        <a:pt x="141" y="139"/>
                      </a:cubicBezTo>
                      <a:cubicBezTo>
                        <a:pt x="141" y="145"/>
                        <a:pt x="137" y="150"/>
                        <a:pt x="131" y="150"/>
                      </a:cubicBezTo>
                      <a:cubicBezTo>
                        <a:pt x="125" y="150"/>
                        <a:pt x="120" y="145"/>
                        <a:pt x="120" y="139"/>
                      </a:cubicBezTo>
                      <a:cubicBezTo>
                        <a:pt x="120" y="64"/>
                        <a:pt x="120" y="64"/>
                        <a:pt x="120" y="64"/>
                      </a:cubicBezTo>
                      <a:cubicBezTo>
                        <a:pt x="120" y="58"/>
                        <a:pt x="125" y="54"/>
                        <a:pt x="131" y="54"/>
                      </a:cubicBezTo>
                      <a:cubicBezTo>
                        <a:pt x="137" y="54"/>
                        <a:pt x="141" y="58"/>
                        <a:pt x="141" y="64"/>
                      </a:cubicBezTo>
                      <a:close/>
                    </a:path>
                  </a:pathLst>
                </a:custGeom>
                <a:solidFill>
                  <a:srgbClr val="C00000"/>
                </a:solidFill>
                <a:ln>
                  <a:solidFill>
                    <a:srgbClr val="C00000"/>
                  </a:solidFill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sp>
            <p:nvSpPr>
              <p:cNvPr id="33" name="Freeform 277"/>
              <p:cNvSpPr>
                <a:spLocks noChangeAspect="1" noEditPoints="1"/>
              </p:cNvSpPr>
              <p:nvPr/>
            </p:nvSpPr>
            <p:spPr bwMode="auto">
              <a:xfrm>
                <a:off x="1173163" y="5149053"/>
                <a:ext cx="746821" cy="680374"/>
              </a:xfrm>
              <a:custGeom>
                <a:avLst/>
                <a:gdLst>
                  <a:gd name="T0" fmla="*/ 222 w 269"/>
                  <a:gd name="T1" fmla="*/ 36 h 245"/>
                  <a:gd name="T2" fmla="*/ 135 w 269"/>
                  <a:gd name="T3" fmla="*/ 0 h 245"/>
                  <a:gd name="T4" fmla="*/ 48 w 269"/>
                  <a:gd name="T5" fmla="*/ 36 h 245"/>
                  <a:gd name="T6" fmla="*/ 48 w 269"/>
                  <a:gd name="T7" fmla="*/ 209 h 245"/>
                  <a:gd name="T8" fmla="*/ 135 w 269"/>
                  <a:gd name="T9" fmla="*/ 245 h 245"/>
                  <a:gd name="T10" fmla="*/ 135 w 269"/>
                  <a:gd name="T11" fmla="*/ 245 h 245"/>
                  <a:gd name="T12" fmla="*/ 222 w 269"/>
                  <a:gd name="T13" fmla="*/ 209 h 245"/>
                  <a:gd name="T14" fmla="*/ 222 w 269"/>
                  <a:gd name="T15" fmla="*/ 36 h 245"/>
                  <a:gd name="T16" fmla="*/ 215 w 269"/>
                  <a:gd name="T17" fmla="*/ 202 h 245"/>
                  <a:gd name="T18" fmla="*/ 135 w 269"/>
                  <a:gd name="T19" fmla="*/ 235 h 245"/>
                  <a:gd name="T20" fmla="*/ 135 w 269"/>
                  <a:gd name="T21" fmla="*/ 235 h 245"/>
                  <a:gd name="T22" fmla="*/ 55 w 269"/>
                  <a:gd name="T23" fmla="*/ 202 h 245"/>
                  <a:gd name="T24" fmla="*/ 55 w 269"/>
                  <a:gd name="T25" fmla="*/ 43 h 245"/>
                  <a:gd name="T26" fmla="*/ 135 w 269"/>
                  <a:gd name="T27" fmla="*/ 10 h 245"/>
                  <a:gd name="T28" fmla="*/ 215 w 269"/>
                  <a:gd name="T29" fmla="*/ 43 h 245"/>
                  <a:gd name="T30" fmla="*/ 215 w 269"/>
                  <a:gd name="T31" fmla="*/ 202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69" h="245">
                    <a:moveTo>
                      <a:pt x="222" y="36"/>
                    </a:moveTo>
                    <a:cubicBezTo>
                      <a:pt x="198" y="13"/>
                      <a:pt x="168" y="0"/>
                      <a:pt x="135" y="0"/>
                    </a:cubicBezTo>
                    <a:cubicBezTo>
                      <a:pt x="102" y="0"/>
                      <a:pt x="71" y="13"/>
                      <a:pt x="48" y="36"/>
                    </a:cubicBezTo>
                    <a:cubicBezTo>
                      <a:pt x="0" y="84"/>
                      <a:pt x="0" y="161"/>
                      <a:pt x="48" y="209"/>
                    </a:cubicBezTo>
                    <a:cubicBezTo>
                      <a:pt x="71" y="232"/>
                      <a:pt x="102" y="245"/>
                      <a:pt x="135" y="245"/>
                    </a:cubicBezTo>
                    <a:cubicBezTo>
                      <a:pt x="135" y="245"/>
                      <a:pt x="135" y="245"/>
                      <a:pt x="135" y="245"/>
                    </a:cubicBezTo>
                    <a:cubicBezTo>
                      <a:pt x="168" y="245"/>
                      <a:pt x="198" y="232"/>
                      <a:pt x="222" y="209"/>
                    </a:cubicBezTo>
                    <a:cubicBezTo>
                      <a:pt x="269" y="161"/>
                      <a:pt x="269" y="84"/>
                      <a:pt x="222" y="36"/>
                    </a:cubicBezTo>
                    <a:close/>
                    <a:moveTo>
                      <a:pt x="215" y="202"/>
                    </a:moveTo>
                    <a:cubicBezTo>
                      <a:pt x="193" y="223"/>
                      <a:pt x="165" y="235"/>
                      <a:pt x="135" y="235"/>
                    </a:cubicBezTo>
                    <a:cubicBezTo>
                      <a:pt x="135" y="235"/>
                      <a:pt x="135" y="235"/>
                      <a:pt x="135" y="235"/>
                    </a:cubicBezTo>
                    <a:cubicBezTo>
                      <a:pt x="105" y="235"/>
                      <a:pt x="76" y="223"/>
                      <a:pt x="55" y="202"/>
                    </a:cubicBezTo>
                    <a:cubicBezTo>
                      <a:pt x="11" y="158"/>
                      <a:pt x="11" y="87"/>
                      <a:pt x="55" y="43"/>
                    </a:cubicBezTo>
                    <a:cubicBezTo>
                      <a:pt x="76" y="21"/>
                      <a:pt x="105" y="10"/>
                      <a:pt x="135" y="10"/>
                    </a:cubicBezTo>
                    <a:cubicBezTo>
                      <a:pt x="165" y="10"/>
                      <a:pt x="193" y="21"/>
                      <a:pt x="215" y="43"/>
                    </a:cubicBezTo>
                    <a:cubicBezTo>
                      <a:pt x="258" y="87"/>
                      <a:pt x="258" y="158"/>
                      <a:pt x="215" y="202"/>
                    </a:cubicBezTo>
                    <a:close/>
                  </a:path>
                </a:pathLst>
              </a:custGeom>
              <a:solidFill>
                <a:srgbClr val="C00000"/>
              </a:solidFill>
              <a:ln>
                <a:solidFill>
                  <a:srgbClr val="C00000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  <p:grpSp>
        <p:nvGrpSpPr>
          <p:cNvPr id="39" name="Group 38"/>
          <p:cNvGrpSpPr/>
          <p:nvPr/>
        </p:nvGrpSpPr>
        <p:grpSpPr>
          <a:xfrm>
            <a:off x="1510247" y="5344068"/>
            <a:ext cx="8210016" cy="682690"/>
            <a:chOff x="1510247" y="4092145"/>
            <a:chExt cx="8210016" cy="682690"/>
          </a:xfrm>
        </p:grpSpPr>
        <p:sp>
          <p:nvSpPr>
            <p:cNvPr id="40" name="Rectangle 39"/>
            <p:cNvSpPr/>
            <p:nvPr/>
          </p:nvSpPr>
          <p:spPr>
            <a:xfrm>
              <a:off x="2141190" y="4128504"/>
              <a:ext cx="7579073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it-IT" altLang="en-US" sz="1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Nel profilo PEPPOL </a:t>
              </a:r>
              <a:r>
                <a:rPr lang="it-IT" altLang="en-US" sz="18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Billing 3.0 </a:t>
              </a:r>
              <a:r>
                <a:rPr lang="it-IT" altLang="en-US" sz="1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sarà effettuata una valutazione su come poter gestire i business </a:t>
              </a:r>
              <a:r>
                <a:rPr lang="it-IT" altLang="en-US" sz="1800" dirty="0" err="1" smtClean="0">
                  <a:latin typeface="Calibri" panose="020F0502020204030204" pitchFamily="34" charset="0"/>
                  <a:cs typeface="Calibri" panose="020F0502020204030204" pitchFamily="34" charset="0"/>
                </a:rPr>
                <a:t>terms</a:t>
              </a:r>
              <a:r>
                <a:rPr lang="it-IT" altLang="en-US" sz="1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 mancanti rispetto alla versione 2.1</a:t>
              </a:r>
              <a:endParaRPr lang="en-US" sz="1800" b="1" dirty="0"/>
            </a:p>
          </p:txBody>
        </p:sp>
        <p:sp>
          <p:nvSpPr>
            <p:cNvPr id="44" name="Freeform 499"/>
            <p:cNvSpPr>
              <a:spLocks noEditPoints="1"/>
            </p:cNvSpPr>
            <p:nvPr/>
          </p:nvSpPr>
          <p:spPr bwMode="auto">
            <a:xfrm>
              <a:off x="1510247" y="4092145"/>
              <a:ext cx="540000" cy="54000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4 w 512"/>
                <a:gd name="T11" fmla="*/ 368 h 512"/>
                <a:gd name="T12" fmla="*/ 405 w 512"/>
                <a:gd name="T13" fmla="*/ 373 h 512"/>
                <a:gd name="T14" fmla="*/ 106 w 512"/>
                <a:gd name="T15" fmla="*/ 373 h 512"/>
                <a:gd name="T16" fmla="*/ 97 w 512"/>
                <a:gd name="T17" fmla="*/ 368 h 512"/>
                <a:gd name="T18" fmla="*/ 97 w 512"/>
                <a:gd name="T19" fmla="*/ 357 h 512"/>
                <a:gd name="T20" fmla="*/ 247 w 512"/>
                <a:gd name="T21" fmla="*/ 111 h 512"/>
                <a:gd name="T22" fmla="*/ 265 w 512"/>
                <a:gd name="T23" fmla="*/ 111 h 512"/>
                <a:gd name="T24" fmla="*/ 414 w 512"/>
                <a:gd name="T25" fmla="*/ 357 h 512"/>
                <a:gd name="T26" fmla="*/ 414 w 512"/>
                <a:gd name="T27" fmla="*/ 368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4" y="368"/>
                  </a:moveTo>
                  <a:cubicBezTo>
                    <a:pt x="412" y="371"/>
                    <a:pt x="409" y="373"/>
                    <a:pt x="405" y="373"/>
                  </a:cubicBezTo>
                  <a:cubicBezTo>
                    <a:pt x="106" y="373"/>
                    <a:pt x="106" y="373"/>
                    <a:pt x="106" y="373"/>
                  </a:cubicBezTo>
                  <a:cubicBezTo>
                    <a:pt x="102" y="373"/>
                    <a:pt x="99" y="371"/>
                    <a:pt x="97" y="368"/>
                  </a:cubicBezTo>
                  <a:cubicBezTo>
                    <a:pt x="95" y="364"/>
                    <a:pt x="95" y="360"/>
                    <a:pt x="97" y="357"/>
                  </a:cubicBezTo>
                  <a:cubicBezTo>
                    <a:pt x="247" y="111"/>
                    <a:pt x="247" y="111"/>
                    <a:pt x="247" y="111"/>
                  </a:cubicBezTo>
                  <a:cubicBezTo>
                    <a:pt x="250" y="105"/>
                    <a:pt x="261" y="105"/>
                    <a:pt x="265" y="111"/>
                  </a:cubicBezTo>
                  <a:cubicBezTo>
                    <a:pt x="414" y="357"/>
                    <a:pt x="414" y="357"/>
                    <a:pt x="414" y="357"/>
                  </a:cubicBezTo>
                  <a:cubicBezTo>
                    <a:pt x="416" y="360"/>
                    <a:pt x="416" y="364"/>
                    <a:pt x="414" y="368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1393296" y="5347368"/>
            <a:ext cx="746821" cy="680374"/>
            <a:chOff x="1393296" y="4916624"/>
            <a:chExt cx="746821" cy="680374"/>
          </a:xfrm>
          <a:solidFill>
            <a:srgbClr val="92D050"/>
          </a:solidFill>
        </p:grpSpPr>
        <p:sp>
          <p:nvSpPr>
            <p:cNvPr id="46" name="Freeform 346">
              <a:extLst>
                <a:ext uri="{FF2B5EF4-FFF2-40B4-BE49-F238E27FC236}">
                  <a16:creationId xmlns:a16="http://schemas.microsoft.com/office/drawing/2014/main" id="{1F3A4E7F-132B-4287-9B93-CD7FBE448DD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501780" y="4992247"/>
              <a:ext cx="539801" cy="540000"/>
            </a:xfrm>
            <a:custGeom>
              <a:avLst/>
              <a:gdLst>
                <a:gd name="T0" fmla="*/ 308124844 w 512"/>
                <a:gd name="T1" fmla="*/ 438272227 h 512"/>
                <a:gd name="T2" fmla="*/ 165742031 w 512"/>
                <a:gd name="T3" fmla="*/ 224698008 h 512"/>
                <a:gd name="T4" fmla="*/ 189102305 w 512"/>
                <a:gd name="T5" fmla="*/ 249169922 h 512"/>
                <a:gd name="T6" fmla="*/ 295889414 w 512"/>
                <a:gd name="T7" fmla="*/ 260293711 h 512"/>
                <a:gd name="T8" fmla="*/ 189102305 w 512"/>
                <a:gd name="T9" fmla="*/ 272529141 h 512"/>
                <a:gd name="T10" fmla="*/ 189102305 w 512"/>
                <a:gd name="T11" fmla="*/ 249169922 h 512"/>
                <a:gd name="T12" fmla="*/ 284765625 w 512"/>
                <a:gd name="T13" fmla="*/ 295889414 h 512"/>
                <a:gd name="T14" fmla="*/ 284765625 w 512"/>
                <a:gd name="T15" fmla="*/ 320361328 h 512"/>
                <a:gd name="T16" fmla="*/ 177978516 w 512"/>
                <a:gd name="T17" fmla="*/ 308124844 h 512"/>
                <a:gd name="T18" fmla="*/ 189102305 w 512"/>
                <a:gd name="T19" fmla="*/ 343720547 h 512"/>
                <a:gd name="T20" fmla="*/ 295889414 w 512"/>
                <a:gd name="T21" fmla="*/ 355957031 h 512"/>
                <a:gd name="T22" fmla="*/ 189102305 w 512"/>
                <a:gd name="T23" fmla="*/ 367080820 h 512"/>
                <a:gd name="T24" fmla="*/ 189102305 w 512"/>
                <a:gd name="T25" fmla="*/ 343720547 h 512"/>
                <a:gd name="T26" fmla="*/ 284765625 w 512"/>
                <a:gd name="T27" fmla="*/ 391552734 h 512"/>
                <a:gd name="T28" fmla="*/ 284765625 w 512"/>
                <a:gd name="T29" fmla="*/ 414911953 h 512"/>
                <a:gd name="T30" fmla="*/ 177978516 w 512"/>
                <a:gd name="T31" fmla="*/ 402676523 h 512"/>
                <a:gd name="T32" fmla="*/ 284765625 w 512"/>
                <a:gd name="T33" fmla="*/ 0 h 512"/>
                <a:gd name="T34" fmla="*/ 284765625 w 512"/>
                <a:gd name="T35" fmla="*/ 569531250 h 512"/>
                <a:gd name="T36" fmla="*/ 284765625 w 512"/>
                <a:gd name="T37" fmla="*/ 0 h 512"/>
                <a:gd name="T38" fmla="*/ 320361328 w 512"/>
                <a:gd name="T39" fmla="*/ 462744141 h 512"/>
                <a:gd name="T40" fmla="*/ 142382813 w 512"/>
                <a:gd name="T41" fmla="*/ 450507656 h 512"/>
                <a:gd name="T42" fmla="*/ 153506602 w 512"/>
                <a:gd name="T43" fmla="*/ 201337734 h 512"/>
                <a:gd name="T44" fmla="*/ 331485117 w 512"/>
                <a:gd name="T45" fmla="*/ 213574219 h 512"/>
                <a:gd name="T46" fmla="*/ 379316250 w 512"/>
                <a:gd name="T47" fmla="*/ 402676523 h 512"/>
                <a:gd name="T48" fmla="*/ 355957031 w 512"/>
                <a:gd name="T49" fmla="*/ 402676523 h 512"/>
                <a:gd name="T50" fmla="*/ 201337734 w 512"/>
                <a:gd name="T51" fmla="*/ 177978516 h 512"/>
                <a:gd name="T52" fmla="*/ 201337734 w 512"/>
                <a:gd name="T53" fmla="*/ 153506602 h 512"/>
                <a:gd name="T54" fmla="*/ 379316250 w 512"/>
                <a:gd name="T55" fmla="*/ 165742031 h 512"/>
                <a:gd name="T56" fmla="*/ 427148438 w 512"/>
                <a:gd name="T57" fmla="*/ 355957031 h 512"/>
                <a:gd name="T58" fmla="*/ 402676523 w 512"/>
                <a:gd name="T59" fmla="*/ 355957031 h 512"/>
                <a:gd name="T60" fmla="*/ 249169922 w 512"/>
                <a:gd name="T61" fmla="*/ 130146328 h 512"/>
                <a:gd name="T62" fmla="*/ 249169922 w 512"/>
                <a:gd name="T63" fmla="*/ 106787109 h 512"/>
                <a:gd name="T64" fmla="*/ 427148438 w 512"/>
                <a:gd name="T65" fmla="*/ 117910898 h 51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512" h="512">
                  <a:moveTo>
                    <a:pt x="149" y="394"/>
                  </a:moveTo>
                  <a:cubicBezTo>
                    <a:pt x="277" y="394"/>
                    <a:pt x="277" y="394"/>
                    <a:pt x="277" y="394"/>
                  </a:cubicBezTo>
                  <a:cubicBezTo>
                    <a:pt x="277" y="202"/>
                    <a:pt x="277" y="202"/>
                    <a:pt x="277" y="202"/>
                  </a:cubicBezTo>
                  <a:cubicBezTo>
                    <a:pt x="149" y="202"/>
                    <a:pt x="149" y="202"/>
                    <a:pt x="149" y="202"/>
                  </a:cubicBezTo>
                  <a:lnTo>
                    <a:pt x="149" y="394"/>
                  </a:lnTo>
                  <a:close/>
                  <a:moveTo>
                    <a:pt x="170" y="224"/>
                  </a:moveTo>
                  <a:cubicBezTo>
                    <a:pt x="256" y="224"/>
                    <a:pt x="256" y="224"/>
                    <a:pt x="256" y="224"/>
                  </a:cubicBezTo>
                  <a:cubicBezTo>
                    <a:pt x="262" y="224"/>
                    <a:pt x="266" y="228"/>
                    <a:pt x="266" y="234"/>
                  </a:cubicBezTo>
                  <a:cubicBezTo>
                    <a:pt x="266" y="240"/>
                    <a:pt x="262" y="245"/>
                    <a:pt x="256" y="245"/>
                  </a:cubicBezTo>
                  <a:cubicBezTo>
                    <a:pt x="170" y="245"/>
                    <a:pt x="170" y="245"/>
                    <a:pt x="170" y="245"/>
                  </a:cubicBezTo>
                  <a:cubicBezTo>
                    <a:pt x="164" y="245"/>
                    <a:pt x="160" y="240"/>
                    <a:pt x="160" y="234"/>
                  </a:cubicBezTo>
                  <a:cubicBezTo>
                    <a:pt x="160" y="228"/>
                    <a:pt x="164" y="224"/>
                    <a:pt x="170" y="224"/>
                  </a:cubicBezTo>
                  <a:close/>
                  <a:moveTo>
                    <a:pt x="170" y="266"/>
                  </a:moveTo>
                  <a:cubicBezTo>
                    <a:pt x="256" y="266"/>
                    <a:pt x="256" y="266"/>
                    <a:pt x="256" y="266"/>
                  </a:cubicBezTo>
                  <a:cubicBezTo>
                    <a:pt x="262" y="266"/>
                    <a:pt x="266" y="271"/>
                    <a:pt x="266" y="277"/>
                  </a:cubicBezTo>
                  <a:cubicBezTo>
                    <a:pt x="266" y="283"/>
                    <a:pt x="262" y="288"/>
                    <a:pt x="256" y="288"/>
                  </a:cubicBezTo>
                  <a:cubicBezTo>
                    <a:pt x="170" y="288"/>
                    <a:pt x="170" y="288"/>
                    <a:pt x="170" y="288"/>
                  </a:cubicBezTo>
                  <a:cubicBezTo>
                    <a:pt x="164" y="288"/>
                    <a:pt x="160" y="283"/>
                    <a:pt x="160" y="277"/>
                  </a:cubicBezTo>
                  <a:cubicBezTo>
                    <a:pt x="160" y="271"/>
                    <a:pt x="164" y="266"/>
                    <a:pt x="170" y="266"/>
                  </a:cubicBezTo>
                  <a:close/>
                  <a:moveTo>
                    <a:pt x="170" y="309"/>
                  </a:moveTo>
                  <a:cubicBezTo>
                    <a:pt x="256" y="309"/>
                    <a:pt x="256" y="309"/>
                    <a:pt x="256" y="309"/>
                  </a:cubicBezTo>
                  <a:cubicBezTo>
                    <a:pt x="262" y="309"/>
                    <a:pt x="266" y="314"/>
                    <a:pt x="266" y="320"/>
                  </a:cubicBezTo>
                  <a:cubicBezTo>
                    <a:pt x="266" y="326"/>
                    <a:pt x="262" y="330"/>
                    <a:pt x="256" y="330"/>
                  </a:cubicBezTo>
                  <a:cubicBezTo>
                    <a:pt x="170" y="330"/>
                    <a:pt x="170" y="330"/>
                    <a:pt x="170" y="330"/>
                  </a:cubicBezTo>
                  <a:cubicBezTo>
                    <a:pt x="164" y="330"/>
                    <a:pt x="160" y="326"/>
                    <a:pt x="160" y="320"/>
                  </a:cubicBezTo>
                  <a:cubicBezTo>
                    <a:pt x="160" y="314"/>
                    <a:pt x="164" y="309"/>
                    <a:pt x="170" y="309"/>
                  </a:cubicBezTo>
                  <a:close/>
                  <a:moveTo>
                    <a:pt x="170" y="352"/>
                  </a:moveTo>
                  <a:cubicBezTo>
                    <a:pt x="256" y="352"/>
                    <a:pt x="256" y="352"/>
                    <a:pt x="256" y="352"/>
                  </a:cubicBezTo>
                  <a:cubicBezTo>
                    <a:pt x="262" y="352"/>
                    <a:pt x="266" y="356"/>
                    <a:pt x="266" y="362"/>
                  </a:cubicBezTo>
                  <a:cubicBezTo>
                    <a:pt x="266" y="368"/>
                    <a:pt x="262" y="373"/>
                    <a:pt x="256" y="373"/>
                  </a:cubicBezTo>
                  <a:cubicBezTo>
                    <a:pt x="170" y="373"/>
                    <a:pt x="170" y="373"/>
                    <a:pt x="170" y="373"/>
                  </a:cubicBezTo>
                  <a:cubicBezTo>
                    <a:pt x="164" y="373"/>
                    <a:pt x="160" y="368"/>
                    <a:pt x="160" y="362"/>
                  </a:cubicBezTo>
                  <a:cubicBezTo>
                    <a:pt x="160" y="356"/>
                    <a:pt x="164" y="352"/>
                    <a:pt x="170" y="352"/>
                  </a:cubicBezTo>
                  <a:close/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98" y="405"/>
                  </a:moveTo>
                  <a:cubicBezTo>
                    <a:pt x="298" y="411"/>
                    <a:pt x="294" y="416"/>
                    <a:pt x="288" y="416"/>
                  </a:cubicBezTo>
                  <a:cubicBezTo>
                    <a:pt x="138" y="416"/>
                    <a:pt x="138" y="416"/>
                    <a:pt x="138" y="416"/>
                  </a:cubicBezTo>
                  <a:cubicBezTo>
                    <a:pt x="132" y="416"/>
                    <a:pt x="128" y="411"/>
                    <a:pt x="128" y="405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28" y="186"/>
                    <a:pt x="132" y="181"/>
                    <a:pt x="138" y="181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94" y="181"/>
                    <a:pt x="298" y="186"/>
                    <a:pt x="298" y="192"/>
                  </a:cubicBezTo>
                  <a:lnTo>
                    <a:pt x="298" y="405"/>
                  </a:lnTo>
                  <a:close/>
                  <a:moveTo>
                    <a:pt x="341" y="362"/>
                  </a:moveTo>
                  <a:cubicBezTo>
                    <a:pt x="341" y="368"/>
                    <a:pt x="336" y="373"/>
                    <a:pt x="330" y="373"/>
                  </a:cubicBezTo>
                  <a:cubicBezTo>
                    <a:pt x="324" y="373"/>
                    <a:pt x="320" y="368"/>
                    <a:pt x="320" y="362"/>
                  </a:cubicBezTo>
                  <a:cubicBezTo>
                    <a:pt x="320" y="160"/>
                    <a:pt x="320" y="160"/>
                    <a:pt x="320" y="160"/>
                  </a:cubicBezTo>
                  <a:cubicBezTo>
                    <a:pt x="181" y="160"/>
                    <a:pt x="181" y="160"/>
                    <a:pt x="181" y="160"/>
                  </a:cubicBezTo>
                  <a:cubicBezTo>
                    <a:pt x="175" y="160"/>
                    <a:pt x="170" y="155"/>
                    <a:pt x="170" y="149"/>
                  </a:cubicBezTo>
                  <a:cubicBezTo>
                    <a:pt x="170" y="143"/>
                    <a:pt x="175" y="138"/>
                    <a:pt x="181" y="138"/>
                  </a:cubicBezTo>
                  <a:cubicBezTo>
                    <a:pt x="330" y="138"/>
                    <a:pt x="330" y="138"/>
                    <a:pt x="330" y="138"/>
                  </a:cubicBezTo>
                  <a:cubicBezTo>
                    <a:pt x="336" y="138"/>
                    <a:pt x="341" y="143"/>
                    <a:pt x="341" y="149"/>
                  </a:cubicBezTo>
                  <a:lnTo>
                    <a:pt x="341" y="362"/>
                  </a:lnTo>
                  <a:close/>
                  <a:moveTo>
                    <a:pt x="384" y="320"/>
                  </a:moveTo>
                  <a:cubicBezTo>
                    <a:pt x="384" y="326"/>
                    <a:pt x="379" y="330"/>
                    <a:pt x="373" y="330"/>
                  </a:cubicBezTo>
                  <a:cubicBezTo>
                    <a:pt x="367" y="330"/>
                    <a:pt x="362" y="326"/>
                    <a:pt x="362" y="320"/>
                  </a:cubicBezTo>
                  <a:cubicBezTo>
                    <a:pt x="362" y="117"/>
                    <a:pt x="362" y="117"/>
                    <a:pt x="362" y="117"/>
                  </a:cubicBezTo>
                  <a:cubicBezTo>
                    <a:pt x="224" y="117"/>
                    <a:pt x="224" y="117"/>
                    <a:pt x="224" y="117"/>
                  </a:cubicBezTo>
                  <a:cubicBezTo>
                    <a:pt x="218" y="117"/>
                    <a:pt x="213" y="112"/>
                    <a:pt x="213" y="106"/>
                  </a:cubicBezTo>
                  <a:cubicBezTo>
                    <a:pt x="213" y="100"/>
                    <a:pt x="218" y="96"/>
                    <a:pt x="224" y="96"/>
                  </a:cubicBezTo>
                  <a:cubicBezTo>
                    <a:pt x="373" y="96"/>
                    <a:pt x="373" y="96"/>
                    <a:pt x="373" y="96"/>
                  </a:cubicBezTo>
                  <a:cubicBezTo>
                    <a:pt x="379" y="96"/>
                    <a:pt x="384" y="100"/>
                    <a:pt x="384" y="106"/>
                  </a:cubicBezTo>
                  <a:lnTo>
                    <a:pt x="384" y="320"/>
                  </a:lnTo>
                  <a:close/>
                </a:path>
              </a:pathLst>
            </a:custGeom>
            <a:grpFill/>
            <a:ln w="9525">
              <a:solidFill>
                <a:srgbClr val="92D050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it-IT"/>
            </a:p>
          </p:txBody>
        </p:sp>
        <p:sp>
          <p:nvSpPr>
            <p:cNvPr id="47" name="Freeform 277"/>
            <p:cNvSpPr>
              <a:spLocks noChangeAspect="1" noEditPoints="1"/>
            </p:cNvSpPr>
            <p:nvPr/>
          </p:nvSpPr>
          <p:spPr bwMode="auto">
            <a:xfrm>
              <a:off x="1393296" y="4916624"/>
              <a:ext cx="746821" cy="680374"/>
            </a:xfrm>
            <a:custGeom>
              <a:avLst/>
              <a:gdLst>
                <a:gd name="T0" fmla="*/ 222 w 269"/>
                <a:gd name="T1" fmla="*/ 36 h 245"/>
                <a:gd name="T2" fmla="*/ 135 w 269"/>
                <a:gd name="T3" fmla="*/ 0 h 245"/>
                <a:gd name="T4" fmla="*/ 48 w 269"/>
                <a:gd name="T5" fmla="*/ 36 h 245"/>
                <a:gd name="T6" fmla="*/ 48 w 269"/>
                <a:gd name="T7" fmla="*/ 209 h 245"/>
                <a:gd name="T8" fmla="*/ 135 w 269"/>
                <a:gd name="T9" fmla="*/ 245 h 245"/>
                <a:gd name="T10" fmla="*/ 135 w 269"/>
                <a:gd name="T11" fmla="*/ 245 h 245"/>
                <a:gd name="T12" fmla="*/ 222 w 269"/>
                <a:gd name="T13" fmla="*/ 209 h 245"/>
                <a:gd name="T14" fmla="*/ 222 w 269"/>
                <a:gd name="T15" fmla="*/ 36 h 245"/>
                <a:gd name="T16" fmla="*/ 215 w 269"/>
                <a:gd name="T17" fmla="*/ 202 h 245"/>
                <a:gd name="T18" fmla="*/ 135 w 269"/>
                <a:gd name="T19" fmla="*/ 235 h 245"/>
                <a:gd name="T20" fmla="*/ 135 w 269"/>
                <a:gd name="T21" fmla="*/ 235 h 245"/>
                <a:gd name="T22" fmla="*/ 55 w 269"/>
                <a:gd name="T23" fmla="*/ 202 h 245"/>
                <a:gd name="T24" fmla="*/ 55 w 269"/>
                <a:gd name="T25" fmla="*/ 43 h 245"/>
                <a:gd name="T26" fmla="*/ 135 w 269"/>
                <a:gd name="T27" fmla="*/ 10 h 245"/>
                <a:gd name="T28" fmla="*/ 215 w 269"/>
                <a:gd name="T29" fmla="*/ 43 h 245"/>
                <a:gd name="T30" fmla="*/ 215 w 269"/>
                <a:gd name="T31" fmla="*/ 202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9" h="245">
                  <a:moveTo>
                    <a:pt x="222" y="36"/>
                  </a:moveTo>
                  <a:cubicBezTo>
                    <a:pt x="198" y="13"/>
                    <a:pt x="168" y="0"/>
                    <a:pt x="135" y="0"/>
                  </a:cubicBezTo>
                  <a:cubicBezTo>
                    <a:pt x="102" y="0"/>
                    <a:pt x="71" y="13"/>
                    <a:pt x="48" y="36"/>
                  </a:cubicBezTo>
                  <a:cubicBezTo>
                    <a:pt x="0" y="84"/>
                    <a:pt x="0" y="161"/>
                    <a:pt x="48" y="209"/>
                  </a:cubicBezTo>
                  <a:cubicBezTo>
                    <a:pt x="71" y="232"/>
                    <a:pt x="102" y="245"/>
                    <a:pt x="135" y="245"/>
                  </a:cubicBezTo>
                  <a:cubicBezTo>
                    <a:pt x="135" y="245"/>
                    <a:pt x="135" y="245"/>
                    <a:pt x="135" y="245"/>
                  </a:cubicBezTo>
                  <a:cubicBezTo>
                    <a:pt x="168" y="245"/>
                    <a:pt x="198" y="232"/>
                    <a:pt x="222" y="209"/>
                  </a:cubicBezTo>
                  <a:cubicBezTo>
                    <a:pt x="269" y="161"/>
                    <a:pt x="269" y="84"/>
                    <a:pt x="222" y="36"/>
                  </a:cubicBezTo>
                  <a:close/>
                  <a:moveTo>
                    <a:pt x="215" y="202"/>
                  </a:moveTo>
                  <a:cubicBezTo>
                    <a:pt x="193" y="223"/>
                    <a:pt x="165" y="235"/>
                    <a:pt x="135" y="235"/>
                  </a:cubicBezTo>
                  <a:cubicBezTo>
                    <a:pt x="135" y="235"/>
                    <a:pt x="135" y="235"/>
                    <a:pt x="135" y="235"/>
                  </a:cubicBezTo>
                  <a:cubicBezTo>
                    <a:pt x="105" y="235"/>
                    <a:pt x="76" y="223"/>
                    <a:pt x="55" y="202"/>
                  </a:cubicBezTo>
                  <a:cubicBezTo>
                    <a:pt x="11" y="158"/>
                    <a:pt x="11" y="87"/>
                    <a:pt x="55" y="43"/>
                  </a:cubicBezTo>
                  <a:cubicBezTo>
                    <a:pt x="76" y="21"/>
                    <a:pt x="105" y="10"/>
                    <a:pt x="135" y="10"/>
                  </a:cubicBezTo>
                  <a:cubicBezTo>
                    <a:pt x="165" y="10"/>
                    <a:pt x="193" y="21"/>
                    <a:pt x="215" y="43"/>
                  </a:cubicBezTo>
                  <a:cubicBezTo>
                    <a:pt x="258" y="87"/>
                    <a:pt x="258" y="158"/>
                    <a:pt x="215" y="202"/>
                  </a:cubicBezTo>
                  <a:close/>
                </a:path>
              </a:pathLst>
            </a:custGeom>
            <a:grpFill/>
            <a:ln>
              <a:solidFill>
                <a:srgbClr val="92D050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8595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8" name="Rectangle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3584" y="137892"/>
            <a:ext cx="9580562" cy="509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/>
            <a:r>
              <a:rPr lang="it-IT" altLang="it-IT" sz="2800" dirty="0">
                <a:solidFill>
                  <a:schemeClr val="bg1"/>
                </a:solidFill>
                <a:latin typeface="Calibri" panose="020F0502020204030204" pitchFamily="34" charset="0"/>
              </a:rPr>
              <a:t>I numeri di </a:t>
            </a:r>
            <a:r>
              <a:rPr lang="it-IT" altLang="it-IT" sz="2800" dirty="0" err="1">
                <a:solidFill>
                  <a:schemeClr val="bg1"/>
                </a:solidFill>
                <a:latin typeface="Calibri" panose="020F0502020204030204" pitchFamily="34" charset="0"/>
              </a:rPr>
              <a:t>NoTI</a:t>
            </a:r>
            <a:r>
              <a:rPr lang="it-IT" altLang="it-IT" sz="2800" dirty="0">
                <a:solidFill>
                  <a:schemeClr val="bg1"/>
                </a:solidFill>
                <a:latin typeface="Calibri" panose="020F0502020204030204" pitchFamily="34" charset="0"/>
              </a:rPr>
              <a:t>-ER: dal suo avvio ad oggi</a:t>
            </a:r>
          </a:p>
        </p:txBody>
      </p:sp>
      <p:sp>
        <p:nvSpPr>
          <p:cNvPr id="7218" name="Segnaposto numero diapositiva 9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itchFamily="2" charset="2"/>
              <a:buNone/>
            </a:pPr>
            <a:fld id="{9539DF35-EC0B-4069-9591-CDCD58FB9F20}" type="slidenum">
              <a:rPr lang="it-IT" altLang="it-IT" smtClean="0">
                <a:solidFill>
                  <a:srgbClr val="336600"/>
                </a:solidFill>
              </a:rPr>
              <a:pPr>
                <a:spcBef>
                  <a:spcPct val="0"/>
                </a:spcBef>
                <a:buFont typeface="Wingdings" pitchFamily="2" charset="2"/>
                <a:buNone/>
              </a:pPr>
              <a:t>4</a:t>
            </a:fld>
            <a:endParaRPr lang="it-IT" altLang="it-IT" dirty="0">
              <a:solidFill>
                <a:srgbClr val="3366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204169" y="2825087"/>
            <a:ext cx="2962275" cy="1170020"/>
          </a:xfrm>
          <a:prstGeom prst="rect">
            <a:avLst/>
          </a:prstGeom>
        </p:spPr>
      </p:pic>
      <p:grpSp>
        <p:nvGrpSpPr>
          <p:cNvPr id="231" name="Group 230"/>
          <p:cNvGrpSpPr/>
          <p:nvPr/>
        </p:nvGrpSpPr>
        <p:grpSpPr>
          <a:xfrm>
            <a:off x="4005837" y="976977"/>
            <a:ext cx="1735217" cy="1689747"/>
            <a:chOff x="12138026" y="5800725"/>
            <a:chExt cx="1058862" cy="1547813"/>
          </a:xfrm>
          <a:solidFill>
            <a:srgbClr val="00B050"/>
          </a:solidFill>
        </p:grpSpPr>
        <p:sp>
          <p:nvSpPr>
            <p:cNvPr id="232" name="Freeform 602"/>
            <p:cNvSpPr>
              <a:spLocks noEditPoints="1"/>
            </p:cNvSpPr>
            <p:nvPr/>
          </p:nvSpPr>
          <p:spPr bwMode="auto">
            <a:xfrm>
              <a:off x="12138026" y="5800725"/>
              <a:ext cx="981075" cy="163513"/>
            </a:xfrm>
            <a:custGeom>
              <a:avLst/>
              <a:gdLst>
                <a:gd name="T0" fmla="*/ 144 w 227"/>
                <a:gd name="T1" fmla="*/ 24 h 38"/>
                <a:gd name="T2" fmla="*/ 184 w 227"/>
                <a:gd name="T3" fmla="*/ 23 h 38"/>
                <a:gd name="T4" fmla="*/ 213 w 227"/>
                <a:gd name="T5" fmla="*/ 22 h 38"/>
                <a:gd name="T6" fmla="*/ 226 w 227"/>
                <a:gd name="T7" fmla="*/ 23 h 38"/>
                <a:gd name="T8" fmla="*/ 209 w 227"/>
                <a:gd name="T9" fmla="*/ 24 h 38"/>
                <a:gd name="T10" fmla="*/ 170 w 227"/>
                <a:gd name="T11" fmla="*/ 25 h 38"/>
                <a:gd name="T12" fmla="*/ 145 w 227"/>
                <a:gd name="T13" fmla="*/ 25 h 38"/>
                <a:gd name="T14" fmla="*/ 136 w 227"/>
                <a:gd name="T15" fmla="*/ 30 h 38"/>
                <a:gd name="T16" fmla="*/ 134 w 227"/>
                <a:gd name="T17" fmla="*/ 37 h 38"/>
                <a:gd name="T18" fmla="*/ 128 w 227"/>
                <a:gd name="T19" fmla="*/ 38 h 38"/>
                <a:gd name="T20" fmla="*/ 119 w 227"/>
                <a:gd name="T21" fmla="*/ 31 h 38"/>
                <a:gd name="T22" fmla="*/ 128 w 227"/>
                <a:gd name="T23" fmla="*/ 28 h 38"/>
                <a:gd name="T24" fmla="*/ 116 w 227"/>
                <a:gd name="T25" fmla="*/ 25 h 38"/>
                <a:gd name="T26" fmla="*/ 81 w 227"/>
                <a:gd name="T27" fmla="*/ 25 h 38"/>
                <a:gd name="T28" fmla="*/ 63 w 227"/>
                <a:gd name="T29" fmla="*/ 25 h 38"/>
                <a:gd name="T30" fmla="*/ 29 w 227"/>
                <a:gd name="T31" fmla="*/ 24 h 38"/>
                <a:gd name="T32" fmla="*/ 2 w 227"/>
                <a:gd name="T33" fmla="*/ 23 h 38"/>
                <a:gd name="T34" fmla="*/ 11 w 227"/>
                <a:gd name="T35" fmla="*/ 21 h 38"/>
                <a:gd name="T36" fmla="*/ 31 w 227"/>
                <a:gd name="T37" fmla="*/ 22 h 38"/>
                <a:gd name="T38" fmla="*/ 47 w 227"/>
                <a:gd name="T39" fmla="*/ 22 h 38"/>
                <a:gd name="T40" fmla="*/ 90 w 227"/>
                <a:gd name="T41" fmla="*/ 23 h 38"/>
                <a:gd name="T42" fmla="*/ 116 w 227"/>
                <a:gd name="T43" fmla="*/ 23 h 38"/>
                <a:gd name="T44" fmla="*/ 137 w 227"/>
                <a:gd name="T45" fmla="*/ 15 h 38"/>
                <a:gd name="T46" fmla="*/ 134 w 227"/>
                <a:gd name="T47" fmla="*/ 7 h 38"/>
                <a:gd name="T48" fmla="*/ 138 w 227"/>
                <a:gd name="T49" fmla="*/ 10 h 38"/>
                <a:gd name="T50" fmla="*/ 138 w 227"/>
                <a:gd name="T51" fmla="*/ 2 h 38"/>
                <a:gd name="T52" fmla="*/ 146 w 227"/>
                <a:gd name="T53" fmla="*/ 1 h 38"/>
                <a:gd name="T54" fmla="*/ 156 w 227"/>
                <a:gd name="T55" fmla="*/ 18 h 38"/>
                <a:gd name="T56" fmla="*/ 147 w 227"/>
                <a:gd name="T57" fmla="*/ 21 h 38"/>
                <a:gd name="T58" fmla="*/ 144 w 227"/>
                <a:gd name="T59" fmla="*/ 10 h 38"/>
                <a:gd name="T60" fmla="*/ 145 w 227"/>
                <a:gd name="T61" fmla="*/ 17 h 38"/>
                <a:gd name="T62" fmla="*/ 146 w 227"/>
                <a:gd name="T63" fmla="*/ 3 h 38"/>
                <a:gd name="T64" fmla="*/ 145 w 227"/>
                <a:gd name="T65" fmla="*/ 9 h 38"/>
                <a:gd name="T66" fmla="*/ 132 w 227"/>
                <a:gd name="T67" fmla="*/ 32 h 38"/>
                <a:gd name="T68" fmla="*/ 145 w 227"/>
                <a:gd name="T69" fmla="*/ 20 h 38"/>
                <a:gd name="T70" fmla="*/ 132 w 227"/>
                <a:gd name="T71" fmla="*/ 24 h 38"/>
                <a:gd name="T72" fmla="*/ 126 w 227"/>
                <a:gd name="T73" fmla="*/ 34 h 38"/>
                <a:gd name="T74" fmla="*/ 147 w 227"/>
                <a:gd name="T75" fmla="*/ 17 h 38"/>
                <a:gd name="T76" fmla="*/ 148 w 227"/>
                <a:gd name="T77" fmla="*/ 19 h 38"/>
                <a:gd name="T78" fmla="*/ 152 w 227"/>
                <a:gd name="T79" fmla="*/ 9 h 38"/>
                <a:gd name="T80" fmla="*/ 151 w 227"/>
                <a:gd name="T81" fmla="*/ 16 h 38"/>
                <a:gd name="T82" fmla="*/ 150 w 227"/>
                <a:gd name="T83" fmla="*/ 15 h 38"/>
                <a:gd name="T84" fmla="*/ 148 w 227"/>
                <a:gd name="T85" fmla="*/ 5 h 38"/>
                <a:gd name="T86" fmla="*/ 140 w 227"/>
                <a:gd name="T87" fmla="*/ 10 h 38"/>
                <a:gd name="T88" fmla="*/ 143 w 227"/>
                <a:gd name="T89" fmla="*/ 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7" h="38">
                  <a:moveTo>
                    <a:pt x="146" y="20"/>
                  </a:moveTo>
                  <a:cubicBezTo>
                    <a:pt x="145" y="21"/>
                    <a:pt x="144" y="22"/>
                    <a:pt x="143" y="24"/>
                  </a:cubicBezTo>
                  <a:cubicBezTo>
                    <a:pt x="144" y="24"/>
                    <a:pt x="144" y="24"/>
                    <a:pt x="144" y="24"/>
                  </a:cubicBezTo>
                  <a:cubicBezTo>
                    <a:pt x="152" y="24"/>
                    <a:pt x="160" y="24"/>
                    <a:pt x="168" y="24"/>
                  </a:cubicBezTo>
                  <a:cubicBezTo>
                    <a:pt x="172" y="23"/>
                    <a:pt x="176" y="23"/>
                    <a:pt x="180" y="23"/>
                  </a:cubicBezTo>
                  <a:cubicBezTo>
                    <a:pt x="182" y="23"/>
                    <a:pt x="183" y="23"/>
                    <a:pt x="184" y="23"/>
                  </a:cubicBezTo>
                  <a:cubicBezTo>
                    <a:pt x="187" y="23"/>
                    <a:pt x="190" y="23"/>
                    <a:pt x="192" y="23"/>
                  </a:cubicBezTo>
                  <a:cubicBezTo>
                    <a:pt x="196" y="23"/>
                    <a:pt x="199" y="23"/>
                    <a:pt x="202" y="23"/>
                  </a:cubicBezTo>
                  <a:cubicBezTo>
                    <a:pt x="206" y="22"/>
                    <a:pt x="210" y="22"/>
                    <a:pt x="213" y="22"/>
                  </a:cubicBezTo>
                  <a:cubicBezTo>
                    <a:pt x="216" y="22"/>
                    <a:pt x="219" y="22"/>
                    <a:pt x="221" y="22"/>
                  </a:cubicBezTo>
                  <a:cubicBezTo>
                    <a:pt x="223" y="22"/>
                    <a:pt x="225" y="22"/>
                    <a:pt x="227" y="23"/>
                  </a:cubicBezTo>
                  <a:cubicBezTo>
                    <a:pt x="226" y="23"/>
                    <a:pt x="226" y="23"/>
                    <a:pt x="226" y="23"/>
                  </a:cubicBezTo>
                  <a:cubicBezTo>
                    <a:pt x="225" y="23"/>
                    <a:pt x="225" y="23"/>
                    <a:pt x="224" y="23"/>
                  </a:cubicBezTo>
                  <a:cubicBezTo>
                    <a:pt x="221" y="23"/>
                    <a:pt x="217" y="24"/>
                    <a:pt x="214" y="24"/>
                  </a:cubicBezTo>
                  <a:cubicBezTo>
                    <a:pt x="212" y="24"/>
                    <a:pt x="211" y="24"/>
                    <a:pt x="209" y="24"/>
                  </a:cubicBezTo>
                  <a:cubicBezTo>
                    <a:pt x="205" y="24"/>
                    <a:pt x="201" y="24"/>
                    <a:pt x="197" y="24"/>
                  </a:cubicBezTo>
                  <a:cubicBezTo>
                    <a:pt x="191" y="24"/>
                    <a:pt x="185" y="25"/>
                    <a:pt x="178" y="25"/>
                  </a:cubicBezTo>
                  <a:cubicBezTo>
                    <a:pt x="176" y="25"/>
                    <a:pt x="173" y="25"/>
                    <a:pt x="170" y="25"/>
                  </a:cubicBezTo>
                  <a:cubicBezTo>
                    <a:pt x="167" y="25"/>
                    <a:pt x="164" y="25"/>
                    <a:pt x="162" y="25"/>
                  </a:cubicBezTo>
                  <a:cubicBezTo>
                    <a:pt x="160" y="25"/>
                    <a:pt x="158" y="25"/>
                    <a:pt x="156" y="25"/>
                  </a:cubicBezTo>
                  <a:cubicBezTo>
                    <a:pt x="152" y="25"/>
                    <a:pt x="149" y="25"/>
                    <a:pt x="145" y="25"/>
                  </a:cubicBezTo>
                  <a:cubicBezTo>
                    <a:pt x="144" y="25"/>
                    <a:pt x="143" y="25"/>
                    <a:pt x="142" y="25"/>
                  </a:cubicBezTo>
                  <a:cubicBezTo>
                    <a:pt x="141" y="25"/>
                    <a:pt x="141" y="26"/>
                    <a:pt x="141" y="26"/>
                  </a:cubicBezTo>
                  <a:cubicBezTo>
                    <a:pt x="139" y="27"/>
                    <a:pt x="138" y="29"/>
                    <a:pt x="136" y="30"/>
                  </a:cubicBezTo>
                  <a:cubicBezTo>
                    <a:pt x="135" y="31"/>
                    <a:pt x="134" y="32"/>
                    <a:pt x="133" y="33"/>
                  </a:cubicBezTo>
                  <a:cubicBezTo>
                    <a:pt x="132" y="34"/>
                    <a:pt x="132" y="35"/>
                    <a:pt x="131" y="35"/>
                  </a:cubicBezTo>
                  <a:cubicBezTo>
                    <a:pt x="132" y="36"/>
                    <a:pt x="134" y="36"/>
                    <a:pt x="134" y="37"/>
                  </a:cubicBezTo>
                  <a:cubicBezTo>
                    <a:pt x="133" y="38"/>
                    <a:pt x="132" y="37"/>
                    <a:pt x="130" y="37"/>
                  </a:cubicBezTo>
                  <a:cubicBezTo>
                    <a:pt x="130" y="38"/>
                    <a:pt x="129" y="38"/>
                    <a:pt x="129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6"/>
                    <a:pt x="126" y="36"/>
                    <a:pt x="125" y="36"/>
                  </a:cubicBezTo>
                  <a:cubicBezTo>
                    <a:pt x="123" y="35"/>
                    <a:pt x="121" y="34"/>
                    <a:pt x="119" y="33"/>
                  </a:cubicBezTo>
                  <a:cubicBezTo>
                    <a:pt x="119" y="33"/>
                    <a:pt x="119" y="32"/>
                    <a:pt x="119" y="31"/>
                  </a:cubicBezTo>
                  <a:cubicBezTo>
                    <a:pt x="120" y="32"/>
                    <a:pt x="122" y="33"/>
                    <a:pt x="123" y="33"/>
                  </a:cubicBezTo>
                  <a:cubicBezTo>
                    <a:pt x="124" y="34"/>
                    <a:pt x="124" y="34"/>
                    <a:pt x="125" y="33"/>
                  </a:cubicBezTo>
                  <a:cubicBezTo>
                    <a:pt x="126" y="31"/>
                    <a:pt x="127" y="29"/>
                    <a:pt x="128" y="28"/>
                  </a:cubicBezTo>
                  <a:cubicBezTo>
                    <a:pt x="128" y="27"/>
                    <a:pt x="129" y="26"/>
                    <a:pt x="129" y="26"/>
                  </a:cubicBezTo>
                  <a:cubicBezTo>
                    <a:pt x="129" y="25"/>
                    <a:pt x="129" y="25"/>
                    <a:pt x="128" y="25"/>
                  </a:cubicBezTo>
                  <a:cubicBezTo>
                    <a:pt x="124" y="25"/>
                    <a:pt x="120" y="25"/>
                    <a:pt x="116" y="25"/>
                  </a:cubicBezTo>
                  <a:cubicBezTo>
                    <a:pt x="111" y="25"/>
                    <a:pt x="106" y="25"/>
                    <a:pt x="102" y="25"/>
                  </a:cubicBezTo>
                  <a:cubicBezTo>
                    <a:pt x="99" y="25"/>
                    <a:pt x="97" y="25"/>
                    <a:pt x="94" y="25"/>
                  </a:cubicBezTo>
                  <a:cubicBezTo>
                    <a:pt x="90" y="25"/>
                    <a:pt x="86" y="25"/>
                    <a:pt x="81" y="25"/>
                  </a:cubicBezTo>
                  <a:cubicBezTo>
                    <a:pt x="80" y="25"/>
                    <a:pt x="79" y="25"/>
                    <a:pt x="78" y="25"/>
                  </a:cubicBezTo>
                  <a:cubicBezTo>
                    <a:pt x="76" y="25"/>
                    <a:pt x="75" y="25"/>
                    <a:pt x="73" y="25"/>
                  </a:cubicBezTo>
                  <a:cubicBezTo>
                    <a:pt x="70" y="25"/>
                    <a:pt x="66" y="25"/>
                    <a:pt x="63" y="25"/>
                  </a:cubicBezTo>
                  <a:cubicBezTo>
                    <a:pt x="60" y="24"/>
                    <a:pt x="58" y="24"/>
                    <a:pt x="55" y="24"/>
                  </a:cubicBezTo>
                  <a:cubicBezTo>
                    <a:pt x="53" y="24"/>
                    <a:pt x="51" y="24"/>
                    <a:pt x="48" y="24"/>
                  </a:cubicBezTo>
                  <a:cubicBezTo>
                    <a:pt x="42" y="24"/>
                    <a:pt x="36" y="24"/>
                    <a:pt x="29" y="24"/>
                  </a:cubicBezTo>
                  <a:cubicBezTo>
                    <a:pt x="24" y="24"/>
                    <a:pt x="19" y="24"/>
                    <a:pt x="13" y="23"/>
                  </a:cubicBezTo>
                  <a:cubicBezTo>
                    <a:pt x="11" y="23"/>
                    <a:pt x="9" y="24"/>
                    <a:pt x="7" y="24"/>
                  </a:cubicBezTo>
                  <a:cubicBezTo>
                    <a:pt x="5" y="24"/>
                    <a:pt x="3" y="23"/>
                    <a:pt x="2" y="23"/>
                  </a:cubicBezTo>
                  <a:cubicBezTo>
                    <a:pt x="1" y="23"/>
                    <a:pt x="1" y="23"/>
                    <a:pt x="0" y="22"/>
                  </a:cubicBezTo>
                  <a:cubicBezTo>
                    <a:pt x="2" y="22"/>
                    <a:pt x="3" y="22"/>
                    <a:pt x="5" y="22"/>
                  </a:cubicBezTo>
                  <a:cubicBezTo>
                    <a:pt x="7" y="22"/>
                    <a:pt x="9" y="22"/>
                    <a:pt x="11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2" y="22"/>
                    <a:pt x="14" y="22"/>
                    <a:pt x="15" y="22"/>
                  </a:cubicBezTo>
                  <a:cubicBezTo>
                    <a:pt x="20" y="22"/>
                    <a:pt x="26" y="22"/>
                    <a:pt x="31" y="22"/>
                  </a:cubicBezTo>
                  <a:cubicBezTo>
                    <a:pt x="35" y="22"/>
                    <a:pt x="38" y="22"/>
                    <a:pt x="41" y="22"/>
                  </a:cubicBezTo>
                  <a:cubicBezTo>
                    <a:pt x="42" y="22"/>
                    <a:pt x="43" y="22"/>
                    <a:pt x="44" y="22"/>
                  </a:cubicBezTo>
                  <a:cubicBezTo>
                    <a:pt x="45" y="22"/>
                    <a:pt x="46" y="22"/>
                    <a:pt x="47" y="22"/>
                  </a:cubicBezTo>
                  <a:cubicBezTo>
                    <a:pt x="53" y="23"/>
                    <a:pt x="58" y="23"/>
                    <a:pt x="64" y="23"/>
                  </a:cubicBezTo>
                  <a:cubicBezTo>
                    <a:pt x="69" y="23"/>
                    <a:pt x="74" y="23"/>
                    <a:pt x="80" y="23"/>
                  </a:cubicBezTo>
                  <a:cubicBezTo>
                    <a:pt x="83" y="23"/>
                    <a:pt x="87" y="23"/>
                    <a:pt x="90" y="23"/>
                  </a:cubicBezTo>
                  <a:cubicBezTo>
                    <a:pt x="94" y="23"/>
                    <a:pt x="97" y="23"/>
                    <a:pt x="101" y="23"/>
                  </a:cubicBezTo>
                  <a:cubicBezTo>
                    <a:pt x="104" y="23"/>
                    <a:pt x="107" y="23"/>
                    <a:pt x="110" y="23"/>
                  </a:cubicBezTo>
                  <a:cubicBezTo>
                    <a:pt x="112" y="23"/>
                    <a:pt x="114" y="23"/>
                    <a:pt x="116" y="23"/>
                  </a:cubicBezTo>
                  <a:cubicBezTo>
                    <a:pt x="121" y="23"/>
                    <a:pt x="125" y="23"/>
                    <a:pt x="129" y="24"/>
                  </a:cubicBezTo>
                  <a:cubicBezTo>
                    <a:pt x="130" y="24"/>
                    <a:pt x="131" y="23"/>
                    <a:pt x="132" y="22"/>
                  </a:cubicBezTo>
                  <a:cubicBezTo>
                    <a:pt x="134" y="20"/>
                    <a:pt x="135" y="17"/>
                    <a:pt x="137" y="15"/>
                  </a:cubicBezTo>
                  <a:cubicBezTo>
                    <a:pt x="138" y="15"/>
                    <a:pt x="138" y="14"/>
                    <a:pt x="138" y="14"/>
                  </a:cubicBezTo>
                  <a:cubicBezTo>
                    <a:pt x="138" y="13"/>
                    <a:pt x="137" y="11"/>
                    <a:pt x="136" y="10"/>
                  </a:cubicBezTo>
                  <a:cubicBezTo>
                    <a:pt x="135" y="9"/>
                    <a:pt x="135" y="8"/>
                    <a:pt x="134" y="7"/>
                  </a:cubicBezTo>
                  <a:cubicBezTo>
                    <a:pt x="134" y="6"/>
                    <a:pt x="134" y="6"/>
                    <a:pt x="135" y="5"/>
                  </a:cubicBezTo>
                  <a:cubicBezTo>
                    <a:pt x="136" y="5"/>
                    <a:pt x="136" y="5"/>
                    <a:pt x="136" y="6"/>
                  </a:cubicBezTo>
                  <a:cubicBezTo>
                    <a:pt x="137" y="7"/>
                    <a:pt x="137" y="8"/>
                    <a:pt x="138" y="10"/>
                  </a:cubicBezTo>
                  <a:cubicBezTo>
                    <a:pt x="139" y="7"/>
                    <a:pt x="139" y="4"/>
                    <a:pt x="140" y="1"/>
                  </a:cubicBezTo>
                  <a:cubicBezTo>
                    <a:pt x="139" y="2"/>
                    <a:pt x="139" y="2"/>
                    <a:pt x="139" y="2"/>
                  </a:cubicBezTo>
                  <a:cubicBezTo>
                    <a:pt x="138" y="2"/>
                    <a:pt x="138" y="2"/>
                    <a:pt x="138" y="2"/>
                  </a:cubicBezTo>
                  <a:cubicBezTo>
                    <a:pt x="137" y="1"/>
                    <a:pt x="137" y="1"/>
                    <a:pt x="138" y="0"/>
                  </a:cubicBezTo>
                  <a:cubicBezTo>
                    <a:pt x="139" y="0"/>
                    <a:pt x="140" y="0"/>
                    <a:pt x="141" y="0"/>
                  </a:cubicBezTo>
                  <a:cubicBezTo>
                    <a:pt x="143" y="0"/>
                    <a:pt x="145" y="1"/>
                    <a:pt x="146" y="1"/>
                  </a:cubicBezTo>
                  <a:cubicBezTo>
                    <a:pt x="147" y="2"/>
                    <a:pt x="148" y="2"/>
                    <a:pt x="149" y="3"/>
                  </a:cubicBezTo>
                  <a:cubicBezTo>
                    <a:pt x="152" y="5"/>
                    <a:pt x="154" y="8"/>
                    <a:pt x="155" y="12"/>
                  </a:cubicBezTo>
                  <a:cubicBezTo>
                    <a:pt x="156" y="14"/>
                    <a:pt x="156" y="16"/>
                    <a:pt x="156" y="18"/>
                  </a:cubicBezTo>
                  <a:cubicBezTo>
                    <a:pt x="156" y="19"/>
                    <a:pt x="156" y="20"/>
                    <a:pt x="155" y="21"/>
                  </a:cubicBezTo>
                  <a:cubicBezTo>
                    <a:pt x="154" y="23"/>
                    <a:pt x="153" y="24"/>
                    <a:pt x="151" y="23"/>
                  </a:cubicBezTo>
                  <a:cubicBezTo>
                    <a:pt x="150" y="23"/>
                    <a:pt x="149" y="22"/>
                    <a:pt x="147" y="21"/>
                  </a:cubicBezTo>
                  <a:cubicBezTo>
                    <a:pt x="147" y="21"/>
                    <a:pt x="146" y="21"/>
                    <a:pt x="146" y="20"/>
                  </a:cubicBezTo>
                  <a:close/>
                  <a:moveTo>
                    <a:pt x="145" y="9"/>
                  </a:moveTo>
                  <a:cubicBezTo>
                    <a:pt x="145" y="9"/>
                    <a:pt x="145" y="10"/>
                    <a:pt x="144" y="10"/>
                  </a:cubicBezTo>
                  <a:cubicBezTo>
                    <a:pt x="143" y="11"/>
                    <a:pt x="142" y="12"/>
                    <a:pt x="143" y="14"/>
                  </a:cubicBezTo>
                  <a:cubicBezTo>
                    <a:pt x="142" y="14"/>
                    <a:pt x="142" y="14"/>
                    <a:pt x="142" y="15"/>
                  </a:cubicBezTo>
                  <a:cubicBezTo>
                    <a:pt x="143" y="16"/>
                    <a:pt x="144" y="16"/>
                    <a:pt x="145" y="17"/>
                  </a:cubicBezTo>
                  <a:cubicBezTo>
                    <a:pt x="145" y="14"/>
                    <a:pt x="145" y="12"/>
                    <a:pt x="146" y="9"/>
                  </a:cubicBezTo>
                  <a:cubicBezTo>
                    <a:pt x="146" y="9"/>
                    <a:pt x="146" y="8"/>
                    <a:pt x="146" y="8"/>
                  </a:cubicBezTo>
                  <a:cubicBezTo>
                    <a:pt x="146" y="6"/>
                    <a:pt x="146" y="5"/>
                    <a:pt x="146" y="3"/>
                  </a:cubicBezTo>
                  <a:cubicBezTo>
                    <a:pt x="146" y="3"/>
                    <a:pt x="145" y="3"/>
                    <a:pt x="145" y="3"/>
                  </a:cubicBezTo>
                  <a:cubicBezTo>
                    <a:pt x="144" y="5"/>
                    <a:pt x="144" y="7"/>
                    <a:pt x="143" y="9"/>
                  </a:cubicBezTo>
                  <a:cubicBezTo>
                    <a:pt x="144" y="9"/>
                    <a:pt x="145" y="8"/>
                    <a:pt x="145" y="9"/>
                  </a:cubicBezTo>
                  <a:close/>
                  <a:moveTo>
                    <a:pt x="126" y="34"/>
                  </a:moveTo>
                  <a:cubicBezTo>
                    <a:pt x="128" y="35"/>
                    <a:pt x="129" y="35"/>
                    <a:pt x="130" y="34"/>
                  </a:cubicBezTo>
                  <a:cubicBezTo>
                    <a:pt x="130" y="33"/>
                    <a:pt x="131" y="32"/>
                    <a:pt x="132" y="32"/>
                  </a:cubicBezTo>
                  <a:cubicBezTo>
                    <a:pt x="134" y="30"/>
                    <a:pt x="135" y="28"/>
                    <a:pt x="137" y="27"/>
                  </a:cubicBezTo>
                  <a:cubicBezTo>
                    <a:pt x="138" y="26"/>
                    <a:pt x="138" y="25"/>
                    <a:pt x="139" y="24"/>
                  </a:cubicBezTo>
                  <a:cubicBezTo>
                    <a:pt x="141" y="23"/>
                    <a:pt x="143" y="21"/>
                    <a:pt x="145" y="20"/>
                  </a:cubicBezTo>
                  <a:cubicBezTo>
                    <a:pt x="143" y="18"/>
                    <a:pt x="141" y="17"/>
                    <a:pt x="139" y="15"/>
                  </a:cubicBezTo>
                  <a:cubicBezTo>
                    <a:pt x="139" y="16"/>
                    <a:pt x="138" y="16"/>
                    <a:pt x="138" y="16"/>
                  </a:cubicBezTo>
                  <a:cubicBezTo>
                    <a:pt x="136" y="19"/>
                    <a:pt x="134" y="22"/>
                    <a:pt x="132" y="24"/>
                  </a:cubicBezTo>
                  <a:cubicBezTo>
                    <a:pt x="132" y="24"/>
                    <a:pt x="132" y="24"/>
                    <a:pt x="132" y="25"/>
                  </a:cubicBezTo>
                  <a:cubicBezTo>
                    <a:pt x="131" y="26"/>
                    <a:pt x="130" y="27"/>
                    <a:pt x="129" y="29"/>
                  </a:cubicBezTo>
                  <a:cubicBezTo>
                    <a:pt x="128" y="31"/>
                    <a:pt x="127" y="32"/>
                    <a:pt x="126" y="34"/>
                  </a:cubicBezTo>
                  <a:close/>
                  <a:moveTo>
                    <a:pt x="148" y="5"/>
                  </a:moveTo>
                  <a:cubicBezTo>
                    <a:pt x="148" y="7"/>
                    <a:pt x="147" y="9"/>
                    <a:pt x="147" y="11"/>
                  </a:cubicBezTo>
                  <a:cubicBezTo>
                    <a:pt x="147" y="13"/>
                    <a:pt x="147" y="15"/>
                    <a:pt x="147" y="17"/>
                  </a:cubicBezTo>
                  <a:cubicBezTo>
                    <a:pt x="146" y="17"/>
                    <a:pt x="146" y="17"/>
                    <a:pt x="146" y="18"/>
                  </a:cubicBezTo>
                  <a:cubicBezTo>
                    <a:pt x="146" y="18"/>
                    <a:pt x="147" y="18"/>
                    <a:pt x="147" y="18"/>
                  </a:cubicBezTo>
                  <a:cubicBezTo>
                    <a:pt x="148" y="18"/>
                    <a:pt x="148" y="19"/>
                    <a:pt x="148" y="19"/>
                  </a:cubicBezTo>
                  <a:cubicBezTo>
                    <a:pt x="149" y="20"/>
                    <a:pt x="150" y="20"/>
                    <a:pt x="151" y="21"/>
                  </a:cubicBezTo>
                  <a:cubicBezTo>
                    <a:pt x="153" y="21"/>
                    <a:pt x="154" y="21"/>
                    <a:pt x="154" y="19"/>
                  </a:cubicBezTo>
                  <a:cubicBezTo>
                    <a:pt x="155" y="15"/>
                    <a:pt x="154" y="12"/>
                    <a:pt x="152" y="9"/>
                  </a:cubicBezTo>
                  <a:cubicBezTo>
                    <a:pt x="152" y="9"/>
                    <a:pt x="152" y="9"/>
                    <a:pt x="152" y="9"/>
                  </a:cubicBezTo>
                  <a:cubicBezTo>
                    <a:pt x="152" y="10"/>
                    <a:pt x="152" y="11"/>
                    <a:pt x="152" y="12"/>
                  </a:cubicBezTo>
                  <a:cubicBezTo>
                    <a:pt x="152" y="13"/>
                    <a:pt x="152" y="14"/>
                    <a:pt x="151" y="16"/>
                  </a:cubicBezTo>
                  <a:cubicBezTo>
                    <a:pt x="151" y="16"/>
                    <a:pt x="151" y="16"/>
                    <a:pt x="151" y="16"/>
                  </a:cubicBezTo>
                  <a:cubicBezTo>
                    <a:pt x="151" y="16"/>
                    <a:pt x="150" y="16"/>
                    <a:pt x="150" y="16"/>
                  </a:cubicBezTo>
                  <a:cubicBezTo>
                    <a:pt x="150" y="16"/>
                    <a:pt x="150" y="15"/>
                    <a:pt x="150" y="15"/>
                  </a:cubicBezTo>
                  <a:cubicBezTo>
                    <a:pt x="150" y="14"/>
                    <a:pt x="150" y="12"/>
                    <a:pt x="150" y="11"/>
                  </a:cubicBezTo>
                  <a:cubicBezTo>
                    <a:pt x="149" y="9"/>
                    <a:pt x="150" y="8"/>
                    <a:pt x="151" y="7"/>
                  </a:cubicBezTo>
                  <a:cubicBezTo>
                    <a:pt x="150" y="6"/>
                    <a:pt x="149" y="6"/>
                    <a:pt x="148" y="5"/>
                  </a:cubicBezTo>
                  <a:close/>
                  <a:moveTo>
                    <a:pt x="141" y="2"/>
                  </a:moveTo>
                  <a:cubicBezTo>
                    <a:pt x="141" y="4"/>
                    <a:pt x="141" y="6"/>
                    <a:pt x="141" y="8"/>
                  </a:cubicBezTo>
                  <a:cubicBezTo>
                    <a:pt x="141" y="8"/>
                    <a:pt x="140" y="9"/>
                    <a:pt x="140" y="10"/>
                  </a:cubicBezTo>
                  <a:cubicBezTo>
                    <a:pt x="140" y="10"/>
                    <a:pt x="141" y="10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ubicBezTo>
                    <a:pt x="142" y="8"/>
                    <a:pt x="142" y="5"/>
                    <a:pt x="143" y="2"/>
                  </a:cubicBezTo>
                  <a:cubicBezTo>
                    <a:pt x="143" y="1"/>
                    <a:pt x="142" y="1"/>
                    <a:pt x="141" y="2"/>
                  </a:cubicBezTo>
                  <a:close/>
                </a:path>
              </a:pathLst>
            </a:custGeom>
            <a:grpFill/>
            <a:ln w="9525">
              <a:solidFill>
                <a:srgbClr val="5B9BD5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33" name="Freeform 603"/>
            <p:cNvSpPr>
              <a:spLocks/>
            </p:cNvSpPr>
            <p:nvPr/>
          </p:nvSpPr>
          <p:spPr bwMode="auto">
            <a:xfrm>
              <a:off x="13161963" y="5903913"/>
              <a:ext cx="34925" cy="1423988"/>
            </a:xfrm>
            <a:custGeom>
              <a:avLst/>
              <a:gdLst>
                <a:gd name="T0" fmla="*/ 7 w 8"/>
                <a:gd name="T1" fmla="*/ 327 h 329"/>
                <a:gd name="T2" fmla="*/ 5 w 8"/>
                <a:gd name="T3" fmla="*/ 309 h 329"/>
                <a:gd name="T4" fmla="*/ 4 w 8"/>
                <a:gd name="T5" fmla="*/ 293 h 329"/>
                <a:gd name="T6" fmla="*/ 3 w 8"/>
                <a:gd name="T7" fmla="*/ 276 h 329"/>
                <a:gd name="T8" fmla="*/ 1 w 8"/>
                <a:gd name="T9" fmla="*/ 255 h 329"/>
                <a:gd name="T10" fmla="*/ 1 w 8"/>
                <a:gd name="T11" fmla="*/ 232 h 329"/>
                <a:gd name="T12" fmla="*/ 1 w 8"/>
                <a:gd name="T13" fmla="*/ 212 h 329"/>
                <a:gd name="T14" fmla="*/ 0 w 8"/>
                <a:gd name="T15" fmla="*/ 184 h 329"/>
                <a:gd name="T16" fmla="*/ 1 w 8"/>
                <a:gd name="T17" fmla="*/ 174 h 329"/>
                <a:gd name="T18" fmla="*/ 0 w 8"/>
                <a:gd name="T19" fmla="*/ 165 h 329"/>
                <a:gd name="T20" fmla="*/ 1 w 8"/>
                <a:gd name="T21" fmla="*/ 146 h 329"/>
                <a:gd name="T22" fmla="*/ 0 w 8"/>
                <a:gd name="T23" fmla="*/ 137 h 329"/>
                <a:gd name="T24" fmla="*/ 0 w 8"/>
                <a:gd name="T25" fmla="*/ 119 h 329"/>
                <a:gd name="T26" fmla="*/ 0 w 8"/>
                <a:gd name="T27" fmla="*/ 112 h 329"/>
                <a:gd name="T28" fmla="*/ 0 w 8"/>
                <a:gd name="T29" fmla="*/ 93 h 329"/>
                <a:gd name="T30" fmla="*/ 1 w 8"/>
                <a:gd name="T31" fmla="*/ 70 h 329"/>
                <a:gd name="T32" fmla="*/ 2 w 8"/>
                <a:gd name="T33" fmla="*/ 52 h 329"/>
                <a:gd name="T34" fmla="*/ 4 w 8"/>
                <a:gd name="T35" fmla="*/ 38 h 329"/>
                <a:gd name="T36" fmla="*/ 6 w 8"/>
                <a:gd name="T37" fmla="*/ 15 h 329"/>
                <a:gd name="T38" fmla="*/ 7 w 8"/>
                <a:gd name="T39" fmla="*/ 1 h 329"/>
                <a:gd name="T40" fmla="*/ 8 w 8"/>
                <a:gd name="T41" fmla="*/ 4 h 329"/>
                <a:gd name="T42" fmla="*/ 7 w 8"/>
                <a:gd name="T43" fmla="*/ 23 h 329"/>
                <a:gd name="T44" fmla="*/ 5 w 8"/>
                <a:gd name="T45" fmla="*/ 39 h 329"/>
                <a:gd name="T46" fmla="*/ 4 w 8"/>
                <a:gd name="T47" fmla="*/ 49 h 329"/>
                <a:gd name="T48" fmla="*/ 3 w 8"/>
                <a:gd name="T49" fmla="*/ 64 h 329"/>
                <a:gd name="T50" fmla="*/ 2 w 8"/>
                <a:gd name="T51" fmla="*/ 94 h 329"/>
                <a:gd name="T52" fmla="*/ 2 w 8"/>
                <a:gd name="T53" fmla="*/ 117 h 329"/>
                <a:gd name="T54" fmla="*/ 2 w 8"/>
                <a:gd name="T55" fmla="*/ 141 h 329"/>
                <a:gd name="T56" fmla="*/ 2 w 8"/>
                <a:gd name="T57" fmla="*/ 160 h 329"/>
                <a:gd name="T58" fmla="*/ 2 w 8"/>
                <a:gd name="T59" fmla="*/ 175 h 329"/>
                <a:gd name="T60" fmla="*/ 2 w 8"/>
                <a:gd name="T61" fmla="*/ 191 h 329"/>
                <a:gd name="T62" fmla="*/ 2 w 8"/>
                <a:gd name="T63" fmla="*/ 207 h 329"/>
                <a:gd name="T64" fmla="*/ 3 w 8"/>
                <a:gd name="T65" fmla="*/ 239 h 329"/>
                <a:gd name="T66" fmla="*/ 3 w 8"/>
                <a:gd name="T67" fmla="*/ 261 h 329"/>
                <a:gd name="T68" fmla="*/ 5 w 8"/>
                <a:gd name="T69" fmla="*/ 283 h 329"/>
                <a:gd name="T70" fmla="*/ 6 w 8"/>
                <a:gd name="T71" fmla="*/ 300 h 329"/>
                <a:gd name="T72" fmla="*/ 8 w 8"/>
                <a:gd name="T73" fmla="*/ 325 h 329"/>
                <a:gd name="T74" fmla="*/ 7 w 8"/>
                <a:gd name="T75" fmla="*/ 32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" h="329">
                  <a:moveTo>
                    <a:pt x="7" y="329"/>
                  </a:moveTo>
                  <a:cubicBezTo>
                    <a:pt x="7" y="328"/>
                    <a:pt x="7" y="328"/>
                    <a:pt x="7" y="327"/>
                  </a:cubicBezTo>
                  <a:cubicBezTo>
                    <a:pt x="7" y="324"/>
                    <a:pt x="7" y="321"/>
                    <a:pt x="6" y="318"/>
                  </a:cubicBezTo>
                  <a:cubicBezTo>
                    <a:pt x="6" y="315"/>
                    <a:pt x="6" y="312"/>
                    <a:pt x="5" y="309"/>
                  </a:cubicBezTo>
                  <a:cubicBezTo>
                    <a:pt x="5" y="307"/>
                    <a:pt x="5" y="304"/>
                    <a:pt x="5" y="301"/>
                  </a:cubicBezTo>
                  <a:cubicBezTo>
                    <a:pt x="4" y="298"/>
                    <a:pt x="4" y="296"/>
                    <a:pt x="4" y="293"/>
                  </a:cubicBezTo>
                  <a:cubicBezTo>
                    <a:pt x="4" y="289"/>
                    <a:pt x="4" y="286"/>
                    <a:pt x="3" y="282"/>
                  </a:cubicBezTo>
                  <a:cubicBezTo>
                    <a:pt x="3" y="280"/>
                    <a:pt x="3" y="278"/>
                    <a:pt x="3" y="276"/>
                  </a:cubicBezTo>
                  <a:cubicBezTo>
                    <a:pt x="2" y="272"/>
                    <a:pt x="2" y="268"/>
                    <a:pt x="2" y="264"/>
                  </a:cubicBezTo>
                  <a:cubicBezTo>
                    <a:pt x="1" y="261"/>
                    <a:pt x="1" y="258"/>
                    <a:pt x="1" y="255"/>
                  </a:cubicBezTo>
                  <a:cubicBezTo>
                    <a:pt x="1" y="250"/>
                    <a:pt x="1" y="246"/>
                    <a:pt x="1" y="242"/>
                  </a:cubicBezTo>
                  <a:cubicBezTo>
                    <a:pt x="1" y="238"/>
                    <a:pt x="1" y="235"/>
                    <a:pt x="1" y="232"/>
                  </a:cubicBezTo>
                  <a:cubicBezTo>
                    <a:pt x="1" y="229"/>
                    <a:pt x="1" y="225"/>
                    <a:pt x="1" y="222"/>
                  </a:cubicBezTo>
                  <a:cubicBezTo>
                    <a:pt x="1" y="219"/>
                    <a:pt x="1" y="216"/>
                    <a:pt x="1" y="212"/>
                  </a:cubicBezTo>
                  <a:cubicBezTo>
                    <a:pt x="1" y="208"/>
                    <a:pt x="1" y="203"/>
                    <a:pt x="1" y="199"/>
                  </a:cubicBezTo>
                  <a:cubicBezTo>
                    <a:pt x="1" y="194"/>
                    <a:pt x="0" y="189"/>
                    <a:pt x="0" y="184"/>
                  </a:cubicBezTo>
                  <a:cubicBezTo>
                    <a:pt x="0" y="182"/>
                    <a:pt x="1" y="181"/>
                    <a:pt x="1" y="179"/>
                  </a:cubicBezTo>
                  <a:cubicBezTo>
                    <a:pt x="1" y="178"/>
                    <a:pt x="1" y="176"/>
                    <a:pt x="1" y="174"/>
                  </a:cubicBezTo>
                  <a:cubicBezTo>
                    <a:pt x="1" y="174"/>
                    <a:pt x="1" y="173"/>
                    <a:pt x="1" y="173"/>
                  </a:cubicBezTo>
                  <a:cubicBezTo>
                    <a:pt x="1" y="170"/>
                    <a:pt x="0" y="167"/>
                    <a:pt x="0" y="165"/>
                  </a:cubicBezTo>
                  <a:cubicBezTo>
                    <a:pt x="0" y="161"/>
                    <a:pt x="0" y="157"/>
                    <a:pt x="0" y="153"/>
                  </a:cubicBezTo>
                  <a:cubicBezTo>
                    <a:pt x="0" y="151"/>
                    <a:pt x="1" y="148"/>
                    <a:pt x="1" y="146"/>
                  </a:cubicBezTo>
                  <a:cubicBezTo>
                    <a:pt x="1" y="146"/>
                    <a:pt x="0" y="145"/>
                    <a:pt x="0" y="145"/>
                  </a:cubicBezTo>
                  <a:cubicBezTo>
                    <a:pt x="0" y="142"/>
                    <a:pt x="0" y="140"/>
                    <a:pt x="0" y="137"/>
                  </a:cubicBezTo>
                  <a:cubicBezTo>
                    <a:pt x="0" y="134"/>
                    <a:pt x="0" y="132"/>
                    <a:pt x="0" y="129"/>
                  </a:cubicBezTo>
                  <a:cubicBezTo>
                    <a:pt x="0" y="125"/>
                    <a:pt x="0" y="122"/>
                    <a:pt x="0" y="119"/>
                  </a:cubicBezTo>
                  <a:cubicBezTo>
                    <a:pt x="0" y="117"/>
                    <a:pt x="0" y="116"/>
                    <a:pt x="0" y="115"/>
                  </a:cubicBezTo>
                  <a:cubicBezTo>
                    <a:pt x="0" y="114"/>
                    <a:pt x="0" y="113"/>
                    <a:pt x="0" y="112"/>
                  </a:cubicBezTo>
                  <a:cubicBezTo>
                    <a:pt x="0" y="110"/>
                    <a:pt x="0" y="107"/>
                    <a:pt x="0" y="105"/>
                  </a:cubicBezTo>
                  <a:cubicBezTo>
                    <a:pt x="0" y="101"/>
                    <a:pt x="0" y="97"/>
                    <a:pt x="0" y="93"/>
                  </a:cubicBezTo>
                  <a:cubicBezTo>
                    <a:pt x="0" y="88"/>
                    <a:pt x="0" y="84"/>
                    <a:pt x="1" y="79"/>
                  </a:cubicBezTo>
                  <a:cubicBezTo>
                    <a:pt x="1" y="76"/>
                    <a:pt x="1" y="73"/>
                    <a:pt x="1" y="70"/>
                  </a:cubicBezTo>
                  <a:cubicBezTo>
                    <a:pt x="1" y="66"/>
                    <a:pt x="2" y="63"/>
                    <a:pt x="2" y="60"/>
                  </a:cubicBezTo>
                  <a:cubicBezTo>
                    <a:pt x="2" y="57"/>
                    <a:pt x="2" y="55"/>
                    <a:pt x="2" y="52"/>
                  </a:cubicBezTo>
                  <a:cubicBezTo>
                    <a:pt x="2" y="50"/>
                    <a:pt x="2" y="48"/>
                    <a:pt x="3" y="47"/>
                  </a:cubicBezTo>
                  <a:cubicBezTo>
                    <a:pt x="4" y="44"/>
                    <a:pt x="3" y="40"/>
                    <a:pt x="4" y="38"/>
                  </a:cubicBezTo>
                  <a:cubicBezTo>
                    <a:pt x="4" y="34"/>
                    <a:pt x="4" y="31"/>
                    <a:pt x="5" y="28"/>
                  </a:cubicBezTo>
                  <a:cubicBezTo>
                    <a:pt x="5" y="24"/>
                    <a:pt x="5" y="19"/>
                    <a:pt x="6" y="15"/>
                  </a:cubicBezTo>
                  <a:cubicBezTo>
                    <a:pt x="6" y="12"/>
                    <a:pt x="6" y="9"/>
                    <a:pt x="6" y="6"/>
                  </a:cubicBezTo>
                  <a:cubicBezTo>
                    <a:pt x="6" y="4"/>
                    <a:pt x="6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1"/>
                    <a:pt x="8" y="2"/>
                    <a:pt x="8" y="4"/>
                  </a:cubicBezTo>
                  <a:cubicBezTo>
                    <a:pt x="8" y="6"/>
                    <a:pt x="8" y="8"/>
                    <a:pt x="8" y="10"/>
                  </a:cubicBezTo>
                  <a:cubicBezTo>
                    <a:pt x="7" y="14"/>
                    <a:pt x="7" y="18"/>
                    <a:pt x="7" y="23"/>
                  </a:cubicBezTo>
                  <a:cubicBezTo>
                    <a:pt x="6" y="26"/>
                    <a:pt x="6" y="29"/>
                    <a:pt x="6" y="32"/>
                  </a:cubicBezTo>
                  <a:cubicBezTo>
                    <a:pt x="5" y="35"/>
                    <a:pt x="5" y="37"/>
                    <a:pt x="5" y="39"/>
                  </a:cubicBezTo>
                  <a:cubicBezTo>
                    <a:pt x="5" y="41"/>
                    <a:pt x="5" y="43"/>
                    <a:pt x="5" y="44"/>
                  </a:cubicBezTo>
                  <a:cubicBezTo>
                    <a:pt x="4" y="46"/>
                    <a:pt x="4" y="48"/>
                    <a:pt x="4" y="49"/>
                  </a:cubicBezTo>
                  <a:cubicBezTo>
                    <a:pt x="4" y="53"/>
                    <a:pt x="4" y="57"/>
                    <a:pt x="3" y="61"/>
                  </a:cubicBezTo>
                  <a:cubicBezTo>
                    <a:pt x="3" y="62"/>
                    <a:pt x="3" y="63"/>
                    <a:pt x="3" y="64"/>
                  </a:cubicBezTo>
                  <a:cubicBezTo>
                    <a:pt x="3" y="70"/>
                    <a:pt x="2" y="76"/>
                    <a:pt x="2" y="81"/>
                  </a:cubicBezTo>
                  <a:cubicBezTo>
                    <a:pt x="2" y="86"/>
                    <a:pt x="2" y="90"/>
                    <a:pt x="2" y="94"/>
                  </a:cubicBezTo>
                  <a:cubicBezTo>
                    <a:pt x="1" y="98"/>
                    <a:pt x="2" y="103"/>
                    <a:pt x="2" y="107"/>
                  </a:cubicBezTo>
                  <a:cubicBezTo>
                    <a:pt x="2" y="110"/>
                    <a:pt x="2" y="114"/>
                    <a:pt x="2" y="117"/>
                  </a:cubicBezTo>
                  <a:cubicBezTo>
                    <a:pt x="2" y="121"/>
                    <a:pt x="2" y="125"/>
                    <a:pt x="2" y="129"/>
                  </a:cubicBezTo>
                  <a:cubicBezTo>
                    <a:pt x="2" y="133"/>
                    <a:pt x="2" y="137"/>
                    <a:pt x="2" y="141"/>
                  </a:cubicBezTo>
                  <a:cubicBezTo>
                    <a:pt x="2" y="145"/>
                    <a:pt x="2" y="149"/>
                    <a:pt x="2" y="152"/>
                  </a:cubicBezTo>
                  <a:cubicBezTo>
                    <a:pt x="2" y="155"/>
                    <a:pt x="2" y="158"/>
                    <a:pt x="2" y="160"/>
                  </a:cubicBezTo>
                  <a:cubicBezTo>
                    <a:pt x="2" y="163"/>
                    <a:pt x="2" y="165"/>
                    <a:pt x="2" y="167"/>
                  </a:cubicBezTo>
                  <a:cubicBezTo>
                    <a:pt x="2" y="170"/>
                    <a:pt x="2" y="173"/>
                    <a:pt x="2" y="175"/>
                  </a:cubicBezTo>
                  <a:cubicBezTo>
                    <a:pt x="2" y="178"/>
                    <a:pt x="2" y="182"/>
                    <a:pt x="2" y="185"/>
                  </a:cubicBezTo>
                  <a:cubicBezTo>
                    <a:pt x="2" y="187"/>
                    <a:pt x="2" y="189"/>
                    <a:pt x="2" y="191"/>
                  </a:cubicBezTo>
                  <a:cubicBezTo>
                    <a:pt x="2" y="193"/>
                    <a:pt x="2" y="195"/>
                    <a:pt x="2" y="197"/>
                  </a:cubicBezTo>
                  <a:cubicBezTo>
                    <a:pt x="2" y="201"/>
                    <a:pt x="2" y="204"/>
                    <a:pt x="2" y="207"/>
                  </a:cubicBezTo>
                  <a:cubicBezTo>
                    <a:pt x="3" y="214"/>
                    <a:pt x="3" y="221"/>
                    <a:pt x="3" y="227"/>
                  </a:cubicBezTo>
                  <a:cubicBezTo>
                    <a:pt x="3" y="231"/>
                    <a:pt x="3" y="235"/>
                    <a:pt x="3" y="239"/>
                  </a:cubicBezTo>
                  <a:cubicBezTo>
                    <a:pt x="3" y="242"/>
                    <a:pt x="3" y="246"/>
                    <a:pt x="3" y="249"/>
                  </a:cubicBezTo>
                  <a:cubicBezTo>
                    <a:pt x="3" y="253"/>
                    <a:pt x="3" y="257"/>
                    <a:pt x="3" y="261"/>
                  </a:cubicBezTo>
                  <a:cubicBezTo>
                    <a:pt x="3" y="264"/>
                    <a:pt x="3" y="268"/>
                    <a:pt x="4" y="271"/>
                  </a:cubicBezTo>
                  <a:cubicBezTo>
                    <a:pt x="4" y="275"/>
                    <a:pt x="4" y="279"/>
                    <a:pt x="5" y="283"/>
                  </a:cubicBezTo>
                  <a:cubicBezTo>
                    <a:pt x="5" y="285"/>
                    <a:pt x="5" y="288"/>
                    <a:pt x="5" y="290"/>
                  </a:cubicBezTo>
                  <a:cubicBezTo>
                    <a:pt x="6" y="294"/>
                    <a:pt x="6" y="297"/>
                    <a:pt x="6" y="300"/>
                  </a:cubicBezTo>
                  <a:cubicBezTo>
                    <a:pt x="7" y="305"/>
                    <a:pt x="7" y="310"/>
                    <a:pt x="8" y="316"/>
                  </a:cubicBezTo>
                  <a:cubicBezTo>
                    <a:pt x="8" y="319"/>
                    <a:pt x="8" y="322"/>
                    <a:pt x="8" y="325"/>
                  </a:cubicBezTo>
                  <a:cubicBezTo>
                    <a:pt x="8" y="326"/>
                    <a:pt x="8" y="327"/>
                    <a:pt x="8" y="329"/>
                  </a:cubicBezTo>
                  <a:cubicBezTo>
                    <a:pt x="8" y="329"/>
                    <a:pt x="7" y="329"/>
                    <a:pt x="7" y="329"/>
                  </a:cubicBezTo>
                  <a:cubicBezTo>
                    <a:pt x="7" y="329"/>
                    <a:pt x="7" y="329"/>
                    <a:pt x="7" y="329"/>
                  </a:cubicBezTo>
                  <a:close/>
                </a:path>
              </a:pathLst>
            </a:custGeom>
            <a:grpFill/>
            <a:ln w="9525">
              <a:solidFill>
                <a:srgbClr val="5B9BD5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34" name="Freeform 604"/>
            <p:cNvSpPr>
              <a:spLocks/>
            </p:cNvSpPr>
            <p:nvPr/>
          </p:nvSpPr>
          <p:spPr bwMode="auto">
            <a:xfrm>
              <a:off x="12150726" y="7327900"/>
              <a:ext cx="1042988" cy="20638"/>
            </a:xfrm>
            <a:custGeom>
              <a:avLst/>
              <a:gdLst>
                <a:gd name="T0" fmla="*/ 241 w 241"/>
                <a:gd name="T1" fmla="*/ 2 h 5"/>
                <a:gd name="T2" fmla="*/ 236 w 241"/>
                <a:gd name="T3" fmla="*/ 4 h 5"/>
                <a:gd name="T4" fmla="*/ 223 w 241"/>
                <a:gd name="T5" fmla="*/ 5 h 5"/>
                <a:gd name="T6" fmla="*/ 206 w 241"/>
                <a:gd name="T7" fmla="*/ 5 h 5"/>
                <a:gd name="T8" fmla="*/ 202 w 241"/>
                <a:gd name="T9" fmla="*/ 5 h 5"/>
                <a:gd name="T10" fmla="*/ 200 w 241"/>
                <a:gd name="T11" fmla="*/ 5 h 5"/>
                <a:gd name="T12" fmla="*/ 187 w 241"/>
                <a:gd name="T13" fmla="*/ 5 h 5"/>
                <a:gd name="T14" fmla="*/ 181 w 241"/>
                <a:gd name="T15" fmla="*/ 4 h 5"/>
                <a:gd name="T16" fmla="*/ 172 w 241"/>
                <a:gd name="T17" fmla="*/ 4 h 5"/>
                <a:gd name="T18" fmla="*/ 160 w 241"/>
                <a:gd name="T19" fmla="*/ 4 h 5"/>
                <a:gd name="T20" fmla="*/ 151 w 241"/>
                <a:gd name="T21" fmla="*/ 4 h 5"/>
                <a:gd name="T22" fmla="*/ 138 w 241"/>
                <a:gd name="T23" fmla="*/ 4 h 5"/>
                <a:gd name="T24" fmla="*/ 132 w 241"/>
                <a:gd name="T25" fmla="*/ 4 h 5"/>
                <a:gd name="T26" fmla="*/ 129 w 241"/>
                <a:gd name="T27" fmla="*/ 4 h 5"/>
                <a:gd name="T28" fmla="*/ 122 w 241"/>
                <a:gd name="T29" fmla="*/ 4 h 5"/>
                <a:gd name="T30" fmla="*/ 113 w 241"/>
                <a:gd name="T31" fmla="*/ 4 h 5"/>
                <a:gd name="T32" fmla="*/ 102 w 241"/>
                <a:gd name="T33" fmla="*/ 4 h 5"/>
                <a:gd name="T34" fmla="*/ 95 w 241"/>
                <a:gd name="T35" fmla="*/ 3 h 5"/>
                <a:gd name="T36" fmla="*/ 94 w 241"/>
                <a:gd name="T37" fmla="*/ 3 h 5"/>
                <a:gd name="T38" fmla="*/ 86 w 241"/>
                <a:gd name="T39" fmla="*/ 3 h 5"/>
                <a:gd name="T40" fmla="*/ 73 w 241"/>
                <a:gd name="T41" fmla="*/ 3 h 5"/>
                <a:gd name="T42" fmla="*/ 63 w 241"/>
                <a:gd name="T43" fmla="*/ 2 h 5"/>
                <a:gd name="T44" fmla="*/ 61 w 241"/>
                <a:gd name="T45" fmla="*/ 2 h 5"/>
                <a:gd name="T46" fmla="*/ 57 w 241"/>
                <a:gd name="T47" fmla="*/ 2 h 5"/>
                <a:gd name="T48" fmla="*/ 54 w 241"/>
                <a:gd name="T49" fmla="*/ 2 h 5"/>
                <a:gd name="T50" fmla="*/ 42 w 241"/>
                <a:gd name="T51" fmla="*/ 2 h 5"/>
                <a:gd name="T52" fmla="*/ 33 w 241"/>
                <a:gd name="T53" fmla="*/ 2 h 5"/>
                <a:gd name="T54" fmla="*/ 28 w 241"/>
                <a:gd name="T55" fmla="*/ 2 h 5"/>
                <a:gd name="T56" fmla="*/ 11 w 241"/>
                <a:gd name="T57" fmla="*/ 3 h 5"/>
                <a:gd name="T58" fmla="*/ 5 w 241"/>
                <a:gd name="T59" fmla="*/ 3 h 5"/>
                <a:gd name="T60" fmla="*/ 1 w 241"/>
                <a:gd name="T61" fmla="*/ 2 h 5"/>
                <a:gd name="T62" fmla="*/ 1 w 241"/>
                <a:gd name="T63" fmla="*/ 0 h 5"/>
                <a:gd name="T64" fmla="*/ 3 w 241"/>
                <a:gd name="T65" fmla="*/ 0 h 5"/>
                <a:gd name="T66" fmla="*/ 17 w 241"/>
                <a:gd name="T67" fmla="*/ 1 h 5"/>
                <a:gd name="T68" fmla="*/ 26 w 241"/>
                <a:gd name="T69" fmla="*/ 1 h 5"/>
                <a:gd name="T70" fmla="*/ 34 w 241"/>
                <a:gd name="T71" fmla="*/ 1 h 5"/>
                <a:gd name="T72" fmla="*/ 46 w 241"/>
                <a:gd name="T73" fmla="*/ 1 h 5"/>
                <a:gd name="T74" fmla="*/ 56 w 241"/>
                <a:gd name="T75" fmla="*/ 1 h 5"/>
                <a:gd name="T76" fmla="*/ 62 w 241"/>
                <a:gd name="T77" fmla="*/ 1 h 5"/>
                <a:gd name="T78" fmla="*/ 76 w 241"/>
                <a:gd name="T79" fmla="*/ 1 h 5"/>
                <a:gd name="T80" fmla="*/ 90 w 241"/>
                <a:gd name="T81" fmla="*/ 2 h 5"/>
                <a:gd name="T82" fmla="*/ 96 w 241"/>
                <a:gd name="T83" fmla="*/ 2 h 5"/>
                <a:gd name="T84" fmla="*/ 104 w 241"/>
                <a:gd name="T85" fmla="*/ 2 h 5"/>
                <a:gd name="T86" fmla="*/ 114 w 241"/>
                <a:gd name="T87" fmla="*/ 2 h 5"/>
                <a:gd name="T88" fmla="*/ 127 w 241"/>
                <a:gd name="T89" fmla="*/ 2 h 5"/>
                <a:gd name="T90" fmla="*/ 136 w 241"/>
                <a:gd name="T91" fmla="*/ 2 h 5"/>
                <a:gd name="T92" fmla="*/ 151 w 241"/>
                <a:gd name="T93" fmla="*/ 2 h 5"/>
                <a:gd name="T94" fmla="*/ 159 w 241"/>
                <a:gd name="T95" fmla="*/ 2 h 5"/>
                <a:gd name="T96" fmla="*/ 174 w 241"/>
                <a:gd name="T97" fmla="*/ 2 h 5"/>
                <a:gd name="T98" fmla="*/ 190 w 241"/>
                <a:gd name="T99" fmla="*/ 3 h 5"/>
                <a:gd name="T100" fmla="*/ 203 w 241"/>
                <a:gd name="T101" fmla="*/ 3 h 5"/>
                <a:gd name="T102" fmla="*/ 223 w 241"/>
                <a:gd name="T103" fmla="*/ 3 h 5"/>
                <a:gd name="T104" fmla="*/ 228 w 241"/>
                <a:gd name="T105" fmla="*/ 3 h 5"/>
                <a:gd name="T106" fmla="*/ 235 w 241"/>
                <a:gd name="T107" fmla="*/ 2 h 5"/>
                <a:gd name="T108" fmla="*/ 240 w 241"/>
                <a:gd name="T109" fmla="*/ 2 h 5"/>
                <a:gd name="T110" fmla="*/ 241 w 241"/>
                <a:gd name="T11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1" h="5">
                  <a:moveTo>
                    <a:pt x="241" y="2"/>
                  </a:moveTo>
                  <a:cubicBezTo>
                    <a:pt x="239" y="4"/>
                    <a:pt x="238" y="4"/>
                    <a:pt x="236" y="4"/>
                  </a:cubicBezTo>
                  <a:cubicBezTo>
                    <a:pt x="232" y="5"/>
                    <a:pt x="228" y="5"/>
                    <a:pt x="223" y="5"/>
                  </a:cubicBezTo>
                  <a:cubicBezTo>
                    <a:pt x="218" y="5"/>
                    <a:pt x="212" y="5"/>
                    <a:pt x="206" y="5"/>
                  </a:cubicBezTo>
                  <a:cubicBezTo>
                    <a:pt x="205" y="5"/>
                    <a:pt x="204" y="5"/>
                    <a:pt x="202" y="5"/>
                  </a:cubicBezTo>
                  <a:cubicBezTo>
                    <a:pt x="201" y="5"/>
                    <a:pt x="200" y="5"/>
                    <a:pt x="200" y="5"/>
                  </a:cubicBezTo>
                  <a:cubicBezTo>
                    <a:pt x="196" y="5"/>
                    <a:pt x="192" y="5"/>
                    <a:pt x="187" y="5"/>
                  </a:cubicBezTo>
                  <a:cubicBezTo>
                    <a:pt x="185" y="4"/>
                    <a:pt x="183" y="5"/>
                    <a:pt x="181" y="4"/>
                  </a:cubicBezTo>
                  <a:cubicBezTo>
                    <a:pt x="178" y="4"/>
                    <a:pt x="175" y="4"/>
                    <a:pt x="172" y="4"/>
                  </a:cubicBezTo>
                  <a:cubicBezTo>
                    <a:pt x="168" y="4"/>
                    <a:pt x="164" y="4"/>
                    <a:pt x="160" y="4"/>
                  </a:cubicBezTo>
                  <a:cubicBezTo>
                    <a:pt x="157" y="4"/>
                    <a:pt x="154" y="4"/>
                    <a:pt x="151" y="4"/>
                  </a:cubicBezTo>
                  <a:cubicBezTo>
                    <a:pt x="147" y="4"/>
                    <a:pt x="142" y="4"/>
                    <a:pt x="138" y="4"/>
                  </a:cubicBezTo>
                  <a:cubicBezTo>
                    <a:pt x="136" y="4"/>
                    <a:pt x="134" y="4"/>
                    <a:pt x="132" y="4"/>
                  </a:cubicBezTo>
                  <a:cubicBezTo>
                    <a:pt x="131" y="4"/>
                    <a:pt x="130" y="4"/>
                    <a:pt x="129" y="4"/>
                  </a:cubicBezTo>
                  <a:cubicBezTo>
                    <a:pt x="126" y="4"/>
                    <a:pt x="124" y="4"/>
                    <a:pt x="122" y="4"/>
                  </a:cubicBezTo>
                  <a:cubicBezTo>
                    <a:pt x="119" y="4"/>
                    <a:pt x="116" y="4"/>
                    <a:pt x="113" y="4"/>
                  </a:cubicBezTo>
                  <a:cubicBezTo>
                    <a:pt x="109" y="4"/>
                    <a:pt x="106" y="4"/>
                    <a:pt x="102" y="4"/>
                  </a:cubicBezTo>
                  <a:cubicBezTo>
                    <a:pt x="100" y="4"/>
                    <a:pt x="98" y="3"/>
                    <a:pt x="95" y="3"/>
                  </a:cubicBezTo>
                  <a:cubicBezTo>
                    <a:pt x="95" y="3"/>
                    <a:pt x="94" y="3"/>
                    <a:pt x="94" y="3"/>
                  </a:cubicBezTo>
                  <a:cubicBezTo>
                    <a:pt x="91" y="3"/>
                    <a:pt x="88" y="3"/>
                    <a:pt x="86" y="3"/>
                  </a:cubicBezTo>
                  <a:cubicBezTo>
                    <a:pt x="81" y="3"/>
                    <a:pt x="77" y="3"/>
                    <a:pt x="73" y="3"/>
                  </a:cubicBezTo>
                  <a:cubicBezTo>
                    <a:pt x="70" y="3"/>
                    <a:pt x="66" y="2"/>
                    <a:pt x="63" y="2"/>
                  </a:cubicBezTo>
                  <a:cubicBezTo>
                    <a:pt x="63" y="2"/>
                    <a:pt x="62" y="2"/>
                    <a:pt x="61" y="2"/>
                  </a:cubicBezTo>
                  <a:cubicBezTo>
                    <a:pt x="60" y="2"/>
                    <a:pt x="58" y="2"/>
                    <a:pt x="57" y="2"/>
                  </a:cubicBezTo>
                  <a:cubicBezTo>
                    <a:pt x="56" y="2"/>
                    <a:pt x="55" y="2"/>
                    <a:pt x="54" y="2"/>
                  </a:cubicBezTo>
                  <a:cubicBezTo>
                    <a:pt x="50" y="2"/>
                    <a:pt x="46" y="2"/>
                    <a:pt x="42" y="2"/>
                  </a:cubicBezTo>
                  <a:cubicBezTo>
                    <a:pt x="39" y="2"/>
                    <a:pt x="36" y="2"/>
                    <a:pt x="33" y="2"/>
                  </a:cubicBezTo>
                  <a:cubicBezTo>
                    <a:pt x="32" y="2"/>
                    <a:pt x="30" y="2"/>
                    <a:pt x="28" y="2"/>
                  </a:cubicBezTo>
                  <a:cubicBezTo>
                    <a:pt x="22" y="2"/>
                    <a:pt x="16" y="3"/>
                    <a:pt x="11" y="3"/>
                  </a:cubicBezTo>
                  <a:cubicBezTo>
                    <a:pt x="9" y="3"/>
                    <a:pt x="7" y="3"/>
                    <a:pt x="5" y="3"/>
                  </a:cubicBezTo>
                  <a:cubicBezTo>
                    <a:pt x="4" y="2"/>
                    <a:pt x="2" y="2"/>
                    <a:pt x="1" y="2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8" y="1"/>
                    <a:pt x="13" y="1"/>
                    <a:pt x="17" y="1"/>
                  </a:cubicBezTo>
                  <a:cubicBezTo>
                    <a:pt x="20" y="1"/>
                    <a:pt x="23" y="1"/>
                    <a:pt x="26" y="1"/>
                  </a:cubicBezTo>
                  <a:cubicBezTo>
                    <a:pt x="29" y="0"/>
                    <a:pt x="32" y="1"/>
                    <a:pt x="34" y="1"/>
                  </a:cubicBezTo>
                  <a:cubicBezTo>
                    <a:pt x="38" y="1"/>
                    <a:pt x="42" y="1"/>
                    <a:pt x="46" y="1"/>
                  </a:cubicBezTo>
                  <a:cubicBezTo>
                    <a:pt x="49" y="1"/>
                    <a:pt x="52" y="1"/>
                    <a:pt x="56" y="1"/>
                  </a:cubicBezTo>
                  <a:cubicBezTo>
                    <a:pt x="58" y="1"/>
                    <a:pt x="60" y="1"/>
                    <a:pt x="62" y="1"/>
                  </a:cubicBezTo>
                  <a:cubicBezTo>
                    <a:pt x="67" y="1"/>
                    <a:pt x="71" y="1"/>
                    <a:pt x="76" y="1"/>
                  </a:cubicBezTo>
                  <a:cubicBezTo>
                    <a:pt x="81" y="1"/>
                    <a:pt x="85" y="1"/>
                    <a:pt x="90" y="2"/>
                  </a:cubicBezTo>
                  <a:cubicBezTo>
                    <a:pt x="92" y="2"/>
                    <a:pt x="94" y="2"/>
                    <a:pt x="96" y="2"/>
                  </a:cubicBezTo>
                  <a:cubicBezTo>
                    <a:pt x="99" y="2"/>
                    <a:pt x="101" y="2"/>
                    <a:pt x="104" y="2"/>
                  </a:cubicBezTo>
                  <a:cubicBezTo>
                    <a:pt x="108" y="2"/>
                    <a:pt x="111" y="2"/>
                    <a:pt x="114" y="2"/>
                  </a:cubicBezTo>
                  <a:cubicBezTo>
                    <a:pt x="119" y="2"/>
                    <a:pt x="123" y="2"/>
                    <a:pt x="127" y="2"/>
                  </a:cubicBezTo>
                  <a:cubicBezTo>
                    <a:pt x="130" y="2"/>
                    <a:pt x="133" y="2"/>
                    <a:pt x="136" y="2"/>
                  </a:cubicBezTo>
                  <a:cubicBezTo>
                    <a:pt x="141" y="2"/>
                    <a:pt x="146" y="2"/>
                    <a:pt x="151" y="2"/>
                  </a:cubicBezTo>
                  <a:cubicBezTo>
                    <a:pt x="154" y="2"/>
                    <a:pt x="157" y="2"/>
                    <a:pt x="159" y="2"/>
                  </a:cubicBezTo>
                  <a:cubicBezTo>
                    <a:pt x="164" y="2"/>
                    <a:pt x="169" y="2"/>
                    <a:pt x="174" y="2"/>
                  </a:cubicBezTo>
                  <a:cubicBezTo>
                    <a:pt x="179" y="3"/>
                    <a:pt x="184" y="3"/>
                    <a:pt x="190" y="3"/>
                  </a:cubicBezTo>
                  <a:cubicBezTo>
                    <a:pt x="194" y="3"/>
                    <a:pt x="199" y="3"/>
                    <a:pt x="203" y="3"/>
                  </a:cubicBezTo>
                  <a:cubicBezTo>
                    <a:pt x="209" y="3"/>
                    <a:pt x="216" y="3"/>
                    <a:pt x="223" y="3"/>
                  </a:cubicBezTo>
                  <a:cubicBezTo>
                    <a:pt x="224" y="3"/>
                    <a:pt x="226" y="3"/>
                    <a:pt x="228" y="3"/>
                  </a:cubicBezTo>
                  <a:cubicBezTo>
                    <a:pt x="231" y="3"/>
                    <a:pt x="233" y="3"/>
                    <a:pt x="235" y="2"/>
                  </a:cubicBezTo>
                  <a:cubicBezTo>
                    <a:pt x="237" y="2"/>
                    <a:pt x="238" y="2"/>
                    <a:pt x="240" y="2"/>
                  </a:cubicBezTo>
                  <a:cubicBezTo>
                    <a:pt x="240" y="2"/>
                    <a:pt x="240" y="2"/>
                    <a:pt x="241" y="2"/>
                  </a:cubicBezTo>
                  <a:close/>
                </a:path>
              </a:pathLst>
            </a:custGeom>
            <a:grpFill/>
            <a:ln w="9525">
              <a:solidFill>
                <a:srgbClr val="5B9BD5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35" name="Freeform 605"/>
            <p:cNvSpPr>
              <a:spLocks/>
            </p:cNvSpPr>
            <p:nvPr/>
          </p:nvSpPr>
          <p:spPr bwMode="auto">
            <a:xfrm>
              <a:off x="12138026" y="5916613"/>
              <a:ext cx="17463" cy="1381125"/>
            </a:xfrm>
            <a:custGeom>
              <a:avLst/>
              <a:gdLst>
                <a:gd name="T0" fmla="*/ 3 w 4"/>
                <a:gd name="T1" fmla="*/ 319 h 319"/>
                <a:gd name="T2" fmla="*/ 3 w 4"/>
                <a:gd name="T3" fmla="*/ 305 h 319"/>
                <a:gd name="T4" fmla="*/ 3 w 4"/>
                <a:gd name="T5" fmla="*/ 291 h 319"/>
                <a:gd name="T6" fmla="*/ 3 w 4"/>
                <a:gd name="T7" fmla="*/ 278 h 319"/>
                <a:gd name="T8" fmla="*/ 3 w 4"/>
                <a:gd name="T9" fmla="*/ 255 h 319"/>
                <a:gd name="T10" fmla="*/ 3 w 4"/>
                <a:gd name="T11" fmla="*/ 241 h 319"/>
                <a:gd name="T12" fmla="*/ 2 w 4"/>
                <a:gd name="T13" fmla="*/ 214 h 319"/>
                <a:gd name="T14" fmla="*/ 1 w 4"/>
                <a:gd name="T15" fmla="*/ 191 h 319"/>
                <a:gd name="T16" fmla="*/ 0 w 4"/>
                <a:gd name="T17" fmla="*/ 173 h 319"/>
                <a:gd name="T18" fmla="*/ 0 w 4"/>
                <a:gd name="T19" fmla="*/ 158 h 319"/>
                <a:gd name="T20" fmla="*/ 0 w 4"/>
                <a:gd name="T21" fmla="*/ 145 h 319"/>
                <a:gd name="T22" fmla="*/ 0 w 4"/>
                <a:gd name="T23" fmla="*/ 138 h 319"/>
                <a:gd name="T24" fmla="*/ 0 w 4"/>
                <a:gd name="T25" fmla="*/ 120 h 319"/>
                <a:gd name="T26" fmla="*/ 0 w 4"/>
                <a:gd name="T27" fmla="*/ 98 h 319"/>
                <a:gd name="T28" fmla="*/ 1 w 4"/>
                <a:gd name="T29" fmla="*/ 78 h 319"/>
                <a:gd name="T30" fmla="*/ 1 w 4"/>
                <a:gd name="T31" fmla="*/ 53 h 319"/>
                <a:gd name="T32" fmla="*/ 1 w 4"/>
                <a:gd name="T33" fmla="*/ 36 h 319"/>
                <a:gd name="T34" fmla="*/ 1 w 4"/>
                <a:gd name="T35" fmla="*/ 20 h 319"/>
                <a:gd name="T36" fmla="*/ 1 w 4"/>
                <a:gd name="T37" fmla="*/ 1 h 319"/>
                <a:gd name="T38" fmla="*/ 3 w 4"/>
                <a:gd name="T39" fmla="*/ 5 h 319"/>
                <a:gd name="T40" fmla="*/ 3 w 4"/>
                <a:gd name="T41" fmla="*/ 18 h 319"/>
                <a:gd name="T42" fmla="*/ 3 w 4"/>
                <a:gd name="T43" fmla="*/ 27 h 319"/>
                <a:gd name="T44" fmla="*/ 2 w 4"/>
                <a:gd name="T45" fmla="*/ 41 h 319"/>
                <a:gd name="T46" fmla="*/ 2 w 4"/>
                <a:gd name="T47" fmla="*/ 60 h 319"/>
                <a:gd name="T48" fmla="*/ 2 w 4"/>
                <a:gd name="T49" fmla="*/ 87 h 319"/>
                <a:gd name="T50" fmla="*/ 2 w 4"/>
                <a:gd name="T51" fmla="*/ 106 h 319"/>
                <a:gd name="T52" fmla="*/ 2 w 4"/>
                <a:gd name="T53" fmla="*/ 133 h 319"/>
                <a:gd name="T54" fmla="*/ 2 w 4"/>
                <a:gd name="T55" fmla="*/ 147 h 319"/>
                <a:gd name="T56" fmla="*/ 2 w 4"/>
                <a:gd name="T57" fmla="*/ 166 h 319"/>
                <a:gd name="T58" fmla="*/ 2 w 4"/>
                <a:gd name="T59" fmla="*/ 182 h 319"/>
                <a:gd name="T60" fmla="*/ 2 w 4"/>
                <a:gd name="T61" fmla="*/ 199 h 319"/>
                <a:gd name="T62" fmla="*/ 3 w 4"/>
                <a:gd name="T63" fmla="*/ 221 h 319"/>
                <a:gd name="T64" fmla="*/ 4 w 4"/>
                <a:gd name="T65" fmla="*/ 243 h 319"/>
                <a:gd name="T66" fmla="*/ 4 w 4"/>
                <a:gd name="T67" fmla="*/ 258 h 319"/>
                <a:gd name="T68" fmla="*/ 4 w 4"/>
                <a:gd name="T69" fmla="*/ 269 h 319"/>
                <a:gd name="T70" fmla="*/ 4 w 4"/>
                <a:gd name="T71" fmla="*/ 298 h 319"/>
                <a:gd name="T72" fmla="*/ 3 w 4"/>
                <a:gd name="T73" fmla="*/ 31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" h="319">
                  <a:moveTo>
                    <a:pt x="3" y="319"/>
                  </a:moveTo>
                  <a:cubicBezTo>
                    <a:pt x="3" y="319"/>
                    <a:pt x="3" y="319"/>
                    <a:pt x="3" y="319"/>
                  </a:cubicBezTo>
                  <a:cubicBezTo>
                    <a:pt x="3" y="318"/>
                    <a:pt x="3" y="318"/>
                    <a:pt x="3" y="317"/>
                  </a:cubicBezTo>
                  <a:cubicBezTo>
                    <a:pt x="3" y="313"/>
                    <a:pt x="3" y="309"/>
                    <a:pt x="3" y="305"/>
                  </a:cubicBezTo>
                  <a:cubicBezTo>
                    <a:pt x="3" y="303"/>
                    <a:pt x="3" y="302"/>
                    <a:pt x="3" y="300"/>
                  </a:cubicBezTo>
                  <a:cubicBezTo>
                    <a:pt x="3" y="297"/>
                    <a:pt x="3" y="294"/>
                    <a:pt x="3" y="291"/>
                  </a:cubicBezTo>
                  <a:cubicBezTo>
                    <a:pt x="3" y="288"/>
                    <a:pt x="3" y="285"/>
                    <a:pt x="3" y="282"/>
                  </a:cubicBezTo>
                  <a:cubicBezTo>
                    <a:pt x="3" y="281"/>
                    <a:pt x="3" y="279"/>
                    <a:pt x="3" y="278"/>
                  </a:cubicBezTo>
                  <a:cubicBezTo>
                    <a:pt x="3" y="275"/>
                    <a:pt x="3" y="273"/>
                    <a:pt x="3" y="270"/>
                  </a:cubicBezTo>
                  <a:cubicBezTo>
                    <a:pt x="3" y="265"/>
                    <a:pt x="3" y="260"/>
                    <a:pt x="3" y="255"/>
                  </a:cubicBezTo>
                  <a:cubicBezTo>
                    <a:pt x="3" y="253"/>
                    <a:pt x="3" y="251"/>
                    <a:pt x="3" y="250"/>
                  </a:cubicBezTo>
                  <a:cubicBezTo>
                    <a:pt x="3" y="247"/>
                    <a:pt x="3" y="244"/>
                    <a:pt x="3" y="241"/>
                  </a:cubicBezTo>
                  <a:cubicBezTo>
                    <a:pt x="3" y="238"/>
                    <a:pt x="3" y="234"/>
                    <a:pt x="2" y="231"/>
                  </a:cubicBezTo>
                  <a:cubicBezTo>
                    <a:pt x="2" y="225"/>
                    <a:pt x="2" y="220"/>
                    <a:pt x="2" y="214"/>
                  </a:cubicBezTo>
                  <a:cubicBezTo>
                    <a:pt x="2" y="210"/>
                    <a:pt x="1" y="206"/>
                    <a:pt x="1" y="202"/>
                  </a:cubicBezTo>
                  <a:cubicBezTo>
                    <a:pt x="1" y="198"/>
                    <a:pt x="1" y="195"/>
                    <a:pt x="1" y="191"/>
                  </a:cubicBezTo>
                  <a:cubicBezTo>
                    <a:pt x="1" y="188"/>
                    <a:pt x="0" y="185"/>
                    <a:pt x="0" y="182"/>
                  </a:cubicBezTo>
                  <a:cubicBezTo>
                    <a:pt x="0" y="179"/>
                    <a:pt x="0" y="176"/>
                    <a:pt x="0" y="173"/>
                  </a:cubicBezTo>
                  <a:cubicBezTo>
                    <a:pt x="0" y="170"/>
                    <a:pt x="0" y="166"/>
                    <a:pt x="0" y="163"/>
                  </a:cubicBezTo>
                  <a:cubicBezTo>
                    <a:pt x="0" y="161"/>
                    <a:pt x="0" y="160"/>
                    <a:pt x="0" y="158"/>
                  </a:cubicBezTo>
                  <a:cubicBezTo>
                    <a:pt x="0" y="156"/>
                    <a:pt x="0" y="154"/>
                    <a:pt x="0" y="153"/>
                  </a:cubicBezTo>
                  <a:cubicBezTo>
                    <a:pt x="0" y="150"/>
                    <a:pt x="0" y="147"/>
                    <a:pt x="0" y="145"/>
                  </a:cubicBezTo>
                  <a:cubicBezTo>
                    <a:pt x="0" y="143"/>
                    <a:pt x="0" y="142"/>
                    <a:pt x="0" y="140"/>
                  </a:cubicBezTo>
                  <a:cubicBezTo>
                    <a:pt x="0" y="140"/>
                    <a:pt x="0" y="139"/>
                    <a:pt x="0" y="138"/>
                  </a:cubicBezTo>
                  <a:cubicBezTo>
                    <a:pt x="0" y="136"/>
                    <a:pt x="0" y="134"/>
                    <a:pt x="0" y="132"/>
                  </a:cubicBezTo>
                  <a:cubicBezTo>
                    <a:pt x="0" y="128"/>
                    <a:pt x="0" y="124"/>
                    <a:pt x="0" y="120"/>
                  </a:cubicBezTo>
                  <a:cubicBezTo>
                    <a:pt x="0" y="118"/>
                    <a:pt x="0" y="116"/>
                    <a:pt x="0" y="113"/>
                  </a:cubicBezTo>
                  <a:cubicBezTo>
                    <a:pt x="1" y="108"/>
                    <a:pt x="0" y="103"/>
                    <a:pt x="0" y="98"/>
                  </a:cubicBezTo>
                  <a:cubicBezTo>
                    <a:pt x="1" y="95"/>
                    <a:pt x="1" y="93"/>
                    <a:pt x="1" y="91"/>
                  </a:cubicBezTo>
                  <a:cubicBezTo>
                    <a:pt x="1" y="87"/>
                    <a:pt x="1" y="82"/>
                    <a:pt x="1" y="78"/>
                  </a:cubicBezTo>
                  <a:cubicBezTo>
                    <a:pt x="1" y="75"/>
                    <a:pt x="1" y="71"/>
                    <a:pt x="1" y="67"/>
                  </a:cubicBezTo>
                  <a:cubicBezTo>
                    <a:pt x="1" y="62"/>
                    <a:pt x="1" y="58"/>
                    <a:pt x="1" y="53"/>
                  </a:cubicBezTo>
                  <a:cubicBezTo>
                    <a:pt x="1" y="50"/>
                    <a:pt x="1" y="48"/>
                    <a:pt x="1" y="45"/>
                  </a:cubicBezTo>
                  <a:cubicBezTo>
                    <a:pt x="1" y="42"/>
                    <a:pt x="1" y="39"/>
                    <a:pt x="1" y="36"/>
                  </a:cubicBezTo>
                  <a:cubicBezTo>
                    <a:pt x="1" y="34"/>
                    <a:pt x="1" y="32"/>
                    <a:pt x="1" y="30"/>
                  </a:cubicBezTo>
                  <a:cubicBezTo>
                    <a:pt x="2" y="26"/>
                    <a:pt x="1" y="23"/>
                    <a:pt x="1" y="20"/>
                  </a:cubicBezTo>
                  <a:cubicBezTo>
                    <a:pt x="1" y="16"/>
                    <a:pt x="2" y="13"/>
                    <a:pt x="1" y="9"/>
                  </a:cubicBezTo>
                  <a:cubicBezTo>
                    <a:pt x="1" y="6"/>
                    <a:pt x="1" y="3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3" y="3"/>
                    <a:pt x="3" y="5"/>
                  </a:cubicBezTo>
                  <a:cubicBezTo>
                    <a:pt x="3" y="7"/>
                    <a:pt x="3" y="8"/>
                    <a:pt x="3" y="10"/>
                  </a:cubicBezTo>
                  <a:cubicBezTo>
                    <a:pt x="3" y="13"/>
                    <a:pt x="3" y="15"/>
                    <a:pt x="3" y="18"/>
                  </a:cubicBezTo>
                  <a:cubicBezTo>
                    <a:pt x="3" y="20"/>
                    <a:pt x="3" y="22"/>
                    <a:pt x="3" y="24"/>
                  </a:cubicBezTo>
                  <a:cubicBezTo>
                    <a:pt x="3" y="25"/>
                    <a:pt x="3" y="26"/>
                    <a:pt x="3" y="27"/>
                  </a:cubicBezTo>
                  <a:cubicBezTo>
                    <a:pt x="3" y="29"/>
                    <a:pt x="3" y="31"/>
                    <a:pt x="3" y="33"/>
                  </a:cubicBezTo>
                  <a:cubicBezTo>
                    <a:pt x="3" y="35"/>
                    <a:pt x="2" y="38"/>
                    <a:pt x="2" y="41"/>
                  </a:cubicBezTo>
                  <a:cubicBezTo>
                    <a:pt x="3" y="43"/>
                    <a:pt x="2" y="45"/>
                    <a:pt x="2" y="47"/>
                  </a:cubicBezTo>
                  <a:cubicBezTo>
                    <a:pt x="2" y="51"/>
                    <a:pt x="2" y="56"/>
                    <a:pt x="2" y="60"/>
                  </a:cubicBezTo>
                  <a:cubicBezTo>
                    <a:pt x="2" y="65"/>
                    <a:pt x="2" y="69"/>
                    <a:pt x="2" y="73"/>
                  </a:cubicBezTo>
                  <a:cubicBezTo>
                    <a:pt x="2" y="78"/>
                    <a:pt x="2" y="82"/>
                    <a:pt x="2" y="87"/>
                  </a:cubicBezTo>
                  <a:cubicBezTo>
                    <a:pt x="2" y="90"/>
                    <a:pt x="2" y="94"/>
                    <a:pt x="2" y="98"/>
                  </a:cubicBezTo>
                  <a:cubicBezTo>
                    <a:pt x="1" y="100"/>
                    <a:pt x="2" y="103"/>
                    <a:pt x="2" y="106"/>
                  </a:cubicBezTo>
                  <a:cubicBezTo>
                    <a:pt x="2" y="110"/>
                    <a:pt x="2" y="113"/>
                    <a:pt x="1" y="117"/>
                  </a:cubicBezTo>
                  <a:cubicBezTo>
                    <a:pt x="1" y="122"/>
                    <a:pt x="2" y="127"/>
                    <a:pt x="2" y="133"/>
                  </a:cubicBezTo>
                  <a:cubicBezTo>
                    <a:pt x="2" y="136"/>
                    <a:pt x="2" y="139"/>
                    <a:pt x="2" y="143"/>
                  </a:cubicBezTo>
                  <a:cubicBezTo>
                    <a:pt x="2" y="144"/>
                    <a:pt x="2" y="145"/>
                    <a:pt x="2" y="147"/>
                  </a:cubicBezTo>
                  <a:cubicBezTo>
                    <a:pt x="2" y="151"/>
                    <a:pt x="2" y="156"/>
                    <a:pt x="2" y="161"/>
                  </a:cubicBezTo>
                  <a:cubicBezTo>
                    <a:pt x="2" y="163"/>
                    <a:pt x="2" y="164"/>
                    <a:pt x="2" y="166"/>
                  </a:cubicBezTo>
                  <a:cubicBezTo>
                    <a:pt x="2" y="167"/>
                    <a:pt x="2" y="168"/>
                    <a:pt x="2" y="170"/>
                  </a:cubicBezTo>
                  <a:cubicBezTo>
                    <a:pt x="2" y="174"/>
                    <a:pt x="2" y="178"/>
                    <a:pt x="2" y="182"/>
                  </a:cubicBezTo>
                  <a:cubicBezTo>
                    <a:pt x="2" y="185"/>
                    <a:pt x="2" y="188"/>
                    <a:pt x="2" y="191"/>
                  </a:cubicBezTo>
                  <a:cubicBezTo>
                    <a:pt x="2" y="193"/>
                    <a:pt x="2" y="196"/>
                    <a:pt x="2" y="199"/>
                  </a:cubicBezTo>
                  <a:cubicBezTo>
                    <a:pt x="2" y="202"/>
                    <a:pt x="2" y="205"/>
                    <a:pt x="3" y="208"/>
                  </a:cubicBezTo>
                  <a:cubicBezTo>
                    <a:pt x="3" y="212"/>
                    <a:pt x="3" y="217"/>
                    <a:pt x="3" y="221"/>
                  </a:cubicBezTo>
                  <a:cubicBezTo>
                    <a:pt x="3" y="224"/>
                    <a:pt x="3" y="228"/>
                    <a:pt x="3" y="231"/>
                  </a:cubicBezTo>
                  <a:cubicBezTo>
                    <a:pt x="4" y="235"/>
                    <a:pt x="4" y="239"/>
                    <a:pt x="4" y="243"/>
                  </a:cubicBezTo>
                  <a:cubicBezTo>
                    <a:pt x="4" y="246"/>
                    <a:pt x="4" y="248"/>
                    <a:pt x="4" y="250"/>
                  </a:cubicBezTo>
                  <a:cubicBezTo>
                    <a:pt x="4" y="253"/>
                    <a:pt x="4" y="255"/>
                    <a:pt x="4" y="258"/>
                  </a:cubicBezTo>
                  <a:cubicBezTo>
                    <a:pt x="4" y="261"/>
                    <a:pt x="4" y="264"/>
                    <a:pt x="4" y="267"/>
                  </a:cubicBezTo>
                  <a:cubicBezTo>
                    <a:pt x="4" y="268"/>
                    <a:pt x="4" y="268"/>
                    <a:pt x="4" y="269"/>
                  </a:cubicBezTo>
                  <a:cubicBezTo>
                    <a:pt x="4" y="276"/>
                    <a:pt x="4" y="283"/>
                    <a:pt x="4" y="291"/>
                  </a:cubicBezTo>
                  <a:cubicBezTo>
                    <a:pt x="4" y="293"/>
                    <a:pt x="4" y="296"/>
                    <a:pt x="4" y="298"/>
                  </a:cubicBezTo>
                  <a:cubicBezTo>
                    <a:pt x="4" y="301"/>
                    <a:pt x="4" y="305"/>
                    <a:pt x="4" y="308"/>
                  </a:cubicBezTo>
                  <a:cubicBezTo>
                    <a:pt x="4" y="312"/>
                    <a:pt x="4" y="315"/>
                    <a:pt x="3" y="319"/>
                  </a:cubicBezTo>
                  <a:close/>
                </a:path>
              </a:pathLst>
            </a:custGeom>
            <a:grpFill/>
            <a:ln w="9525">
              <a:solidFill>
                <a:srgbClr val="5B9BD5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sp>
        <p:nvSpPr>
          <p:cNvPr id="267" name="Rectangle 157"/>
          <p:cNvSpPr>
            <a:spLocks noChangeArrowheads="1"/>
          </p:cNvSpPr>
          <p:nvPr/>
        </p:nvSpPr>
        <p:spPr bwMode="auto">
          <a:xfrm>
            <a:off x="4172219" y="1325974"/>
            <a:ext cx="13708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Fatture</a:t>
            </a:r>
            <a:r>
              <a:rPr kumimoji="0" lang="en-GB" altLang="it-IT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 </a:t>
            </a:r>
            <a:r>
              <a:rPr kumimoji="0" lang="en-GB" altLang="it-IT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Attive</a:t>
            </a:r>
            <a:endParaRPr kumimoji="0" lang="en-GB" altLang="it-IT" sz="1600" b="1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grpSp>
        <p:nvGrpSpPr>
          <p:cNvPr id="225" name="Group 224"/>
          <p:cNvGrpSpPr/>
          <p:nvPr/>
        </p:nvGrpSpPr>
        <p:grpSpPr>
          <a:xfrm>
            <a:off x="1508828" y="976977"/>
            <a:ext cx="1735217" cy="1689747"/>
            <a:chOff x="12138026" y="5800725"/>
            <a:chExt cx="1058862" cy="1547813"/>
          </a:xfrm>
          <a:solidFill>
            <a:srgbClr val="00B050"/>
          </a:solidFill>
        </p:grpSpPr>
        <p:sp>
          <p:nvSpPr>
            <p:cNvPr id="226" name="Freeform 602"/>
            <p:cNvSpPr>
              <a:spLocks noEditPoints="1"/>
            </p:cNvSpPr>
            <p:nvPr/>
          </p:nvSpPr>
          <p:spPr bwMode="auto">
            <a:xfrm>
              <a:off x="12138026" y="5800725"/>
              <a:ext cx="981075" cy="163513"/>
            </a:xfrm>
            <a:custGeom>
              <a:avLst/>
              <a:gdLst>
                <a:gd name="T0" fmla="*/ 144 w 227"/>
                <a:gd name="T1" fmla="*/ 24 h 38"/>
                <a:gd name="T2" fmla="*/ 184 w 227"/>
                <a:gd name="T3" fmla="*/ 23 h 38"/>
                <a:gd name="T4" fmla="*/ 213 w 227"/>
                <a:gd name="T5" fmla="*/ 22 h 38"/>
                <a:gd name="T6" fmla="*/ 226 w 227"/>
                <a:gd name="T7" fmla="*/ 23 h 38"/>
                <a:gd name="T8" fmla="*/ 209 w 227"/>
                <a:gd name="T9" fmla="*/ 24 h 38"/>
                <a:gd name="T10" fmla="*/ 170 w 227"/>
                <a:gd name="T11" fmla="*/ 25 h 38"/>
                <a:gd name="T12" fmla="*/ 145 w 227"/>
                <a:gd name="T13" fmla="*/ 25 h 38"/>
                <a:gd name="T14" fmla="*/ 136 w 227"/>
                <a:gd name="T15" fmla="*/ 30 h 38"/>
                <a:gd name="T16" fmla="*/ 134 w 227"/>
                <a:gd name="T17" fmla="*/ 37 h 38"/>
                <a:gd name="T18" fmla="*/ 128 w 227"/>
                <a:gd name="T19" fmla="*/ 38 h 38"/>
                <a:gd name="T20" fmla="*/ 119 w 227"/>
                <a:gd name="T21" fmla="*/ 31 h 38"/>
                <a:gd name="T22" fmla="*/ 128 w 227"/>
                <a:gd name="T23" fmla="*/ 28 h 38"/>
                <a:gd name="T24" fmla="*/ 116 w 227"/>
                <a:gd name="T25" fmla="*/ 25 h 38"/>
                <a:gd name="T26" fmla="*/ 81 w 227"/>
                <a:gd name="T27" fmla="*/ 25 h 38"/>
                <a:gd name="T28" fmla="*/ 63 w 227"/>
                <a:gd name="T29" fmla="*/ 25 h 38"/>
                <a:gd name="T30" fmla="*/ 29 w 227"/>
                <a:gd name="T31" fmla="*/ 24 h 38"/>
                <a:gd name="T32" fmla="*/ 2 w 227"/>
                <a:gd name="T33" fmla="*/ 23 h 38"/>
                <a:gd name="T34" fmla="*/ 11 w 227"/>
                <a:gd name="T35" fmla="*/ 21 h 38"/>
                <a:gd name="T36" fmla="*/ 31 w 227"/>
                <a:gd name="T37" fmla="*/ 22 h 38"/>
                <a:gd name="T38" fmla="*/ 47 w 227"/>
                <a:gd name="T39" fmla="*/ 22 h 38"/>
                <a:gd name="T40" fmla="*/ 90 w 227"/>
                <a:gd name="T41" fmla="*/ 23 h 38"/>
                <a:gd name="T42" fmla="*/ 116 w 227"/>
                <a:gd name="T43" fmla="*/ 23 h 38"/>
                <a:gd name="T44" fmla="*/ 137 w 227"/>
                <a:gd name="T45" fmla="*/ 15 h 38"/>
                <a:gd name="T46" fmla="*/ 134 w 227"/>
                <a:gd name="T47" fmla="*/ 7 h 38"/>
                <a:gd name="T48" fmla="*/ 138 w 227"/>
                <a:gd name="T49" fmla="*/ 10 h 38"/>
                <a:gd name="T50" fmla="*/ 138 w 227"/>
                <a:gd name="T51" fmla="*/ 2 h 38"/>
                <a:gd name="T52" fmla="*/ 146 w 227"/>
                <a:gd name="T53" fmla="*/ 1 h 38"/>
                <a:gd name="T54" fmla="*/ 156 w 227"/>
                <a:gd name="T55" fmla="*/ 18 h 38"/>
                <a:gd name="T56" fmla="*/ 147 w 227"/>
                <a:gd name="T57" fmla="*/ 21 h 38"/>
                <a:gd name="T58" fmla="*/ 144 w 227"/>
                <a:gd name="T59" fmla="*/ 10 h 38"/>
                <a:gd name="T60" fmla="*/ 145 w 227"/>
                <a:gd name="T61" fmla="*/ 17 h 38"/>
                <a:gd name="T62" fmla="*/ 146 w 227"/>
                <a:gd name="T63" fmla="*/ 3 h 38"/>
                <a:gd name="T64" fmla="*/ 145 w 227"/>
                <a:gd name="T65" fmla="*/ 9 h 38"/>
                <a:gd name="T66" fmla="*/ 132 w 227"/>
                <a:gd name="T67" fmla="*/ 32 h 38"/>
                <a:gd name="T68" fmla="*/ 145 w 227"/>
                <a:gd name="T69" fmla="*/ 20 h 38"/>
                <a:gd name="T70" fmla="*/ 132 w 227"/>
                <a:gd name="T71" fmla="*/ 24 h 38"/>
                <a:gd name="T72" fmla="*/ 126 w 227"/>
                <a:gd name="T73" fmla="*/ 34 h 38"/>
                <a:gd name="T74" fmla="*/ 147 w 227"/>
                <a:gd name="T75" fmla="*/ 17 h 38"/>
                <a:gd name="T76" fmla="*/ 148 w 227"/>
                <a:gd name="T77" fmla="*/ 19 h 38"/>
                <a:gd name="T78" fmla="*/ 152 w 227"/>
                <a:gd name="T79" fmla="*/ 9 h 38"/>
                <a:gd name="T80" fmla="*/ 151 w 227"/>
                <a:gd name="T81" fmla="*/ 16 h 38"/>
                <a:gd name="T82" fmla="*/ 150 w 227"/>
                <a:gd name="T83" fmla="*/ 15 h 38"/>
                <a:gd name="T84" fmla="*/ 148 w 227"/>
                <a:gd name="T85" fmla="*/ 5 h 38"/>
                <a:gd name="T86" fmla="*/ 140 w 227"/>
                <a:gd name="T87" fmla="*/ 10 h 38"/>
                <a:gd name="T88" fmla="*/ 143 w 227"/>
                <a:gd name="T89" fmla="*/ 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7" h="38">
                  <a:moveTo>
                    <a:pt x="146" y="20"/>
                  </a:moveTo>
                  <a:cubicBezTo>
                    <a:pt x="145" y="21"/>
                    <a:pt x="144" y="22"/>
                    <a:pt x="143" y="24"/>
                  </a:cubicBezTo>
                  <a:cubicBezTo>
                    <a:pt x="144" y="24"/>
                    <a:pt x="144" y="24"/>
                    <a:pt x="144" y="24"/>
                  </a:cubicBezTo>
                  <a:cubicBezTo>
                    <a:pt x="152" y="24"/>
                    <a:pt x="160" y="24"/>
                    <a:pt x="168" y="24"/>
                  </a:cubicBezTo>
                  <a:cubicBezTo>
                    <a:pt x="172" y="23"/>
                    <a:pt x="176" y="23"/>
                    <a:pt x="180" y="23"/>
                  </a:cubicBezTo>
                  <a:cubicBezTo>
                    <a:pt x="182" y="23"/>
                    <a:pt x="183" y="23"/>
                    <a:pt x="184" y="23"/>
                  </a:cubicBezTo>
                  <a:cubicBezTo>
                    <a:pt x="187" y="23"/>
                    <a:pt x="190" y="23"/>
                    <a:pt x="192" y="23"/>
                  </a:cubicBezTo>
                  <a:cubicBezTo>
                    <a:pt x="196" y="23"/>
                    <a:pt x="199" y="23"/>
                    <a:pt x="202" y="23"/>
                  </a:cubicBezTo>
                  <a:cubicBezTo>
                    <a:pt x="206" y="22"/>
                    <a:pt x="210" y="22"/>
                    <a:pt x="213" y="22"/>
                  </a:cubicBezTo>
                  <a:cubicBezTo>
                    <a:pt x="216" y="22"/>
                    <a:pt x="219" y="22"/>
                    <a:pt x="221" y="22"/>
                  </a:cubicBezTo>
                  <a:cubicBezTo>
                    <a:pt x="223" y="22"/>
                    <a:pt x="225" y="22"/>
                    <a:pt x="227" y="23"/>
                  </a:cubicBezTo>
                  <a:cubicBezTo>
                    <a:pt x="226" y="23"/>
                    <a:pt x="226" y="23"/>
                    <a:pt x="226" y="23"/>
                  </a:cubicBezTo>
                  <a:cubicBezTo>
                    <a:pt x="225" y="23"/>
                    <a:pt x="225" y="23"/>
                    <a:pt x="224" y="23"/>
                  </a:cubicBezTo>
                  <a:cubicBezTo>
                    <a:pt x="221" y="23"/>
                    <a:pt x="217" y="24"/>
                    <a:pt x="214" y="24"/>
                  </a:cubicBezTo>
                  <a:cubicBezTo>
                    <a:pt x="212" y="24"/>
                    <a:pt x="211" y="24"/>
                    <a:pt x="209" y="24"/>
                  </a:cubicBezTo>
                  <a:cubicBezTo>
                    <a:pt x="205" y="24"/>
                    <a:pt x="201" y="24"/>
                    <a:pt x="197" y="24"/>
                  </a:cubicBezTo>
                  <a:cubicBezTo>
                    <a:pt x="191" y="24"/>
                    <a:pt x="185" y="25"/>
                    <a:pt x="178" y="25"/>
                  </a:cubicBezTo>
                  <a:cubicBezTo>
                    <a:pt x="176" y="25"/>
                    <a:pt x="173" y="25"/>
                    <a:pt x="170" y="25"/>
                  </a:cubicBezTo>
                  <a:cubicBezTo>
                    <a:pt x="167" y="25"/>
                    <a:pt x="164" y="25"/>
                    <a:pt x="162" y="25"/>
                  </a:cubicBezTo>
                  <a:cubicBezTo>
                    <a:pt x="160" y="25"/>
                    <a:pt x="158" y="25"/>
                    <a:pt x="156" y="25"/>
                  </a:cubicBezTo>
                  <a:cubicBezTo>
                    <a:pt x="152" y="25"/>
                    <a:pt x="149" y="25"/>
                    <a:pt x="145" y="25"/>
                  </a:cubicBezTo>
                  <a:cubicBezTo>
                    <a:pt x="144" y="25"/>
                    <a:pt x="143" y="25"/>
                    <a:pt x="142" y="25"/>
                  </a:cubicBezTo>
                  <a:cubicBezTo>
                    <a:pt x="141" y="25"/>
                    <a:pt x="141" y="26"/>
                    <a:pt x="141" y="26"/>
                  </a:cubicBezTo>
                  <a:cubicBezTo>
                    <a:pt x="139" y="27"/>
                    <a:pt x="138" y="29"/>
                    <a:pt x="136" y="30"/>
                  </a:cubicBezTo>
                  <a:cubicBezTo>
                    <a:pt x="135" y="31"/>
                    <a:pt x="134" y="32"/>
                    <a:pt x="133" y="33"/>
                  </a:cubicBezTo>
                  <a:cubicBezTo>
                    <a:pt x="132" y="34"/>
                    <a:pt x="132" y="35"/>
                    <a:pt x="131" y="35"/>
                  </a:cubicBezTo>
                  <a:cubicBezTo>
                    <a:pt x="132" y="36"/>
                    <a:pt x="134" y="36"/>
                    <a:pt x="134" y="37"/>
                  </a:cubicBezTo>
                  <a:cubicBezTo>
                    <a:pt x="133" y="38"/>
                    <a:pt x="132" y="37"/>
                    <a:pt x="130" y="37"/>
                  </a:cubicBezTo>
                  <a:cubicBezTo>
                    <a:pt x="130" y="38"/>
                    <a:pt x="129" y="38"/>
                    <a:pt x="129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6"/>
                    <a:pt x="126" y="36"/>
                    <a:pt x="125" y="36"/>
                  </a:cubicBezTo>
                  <a:cubicBezTo>
                    <a:pt x="123" y="35"/>
                    <a:pt x="121" y="34"/>
                    <a:pt x="119" y="33"/>
                  </a:cubicBezTo>
                  <a:cubicBezTo>
                    <a:pt x="119" y="33"/>
                    <a:pt x="119" y="32"/>
                    <a:pt x="119" y="31"/>
                  </a:cubicBezTo>
                  <a:cubicBezTo>
                    <a:pt x="120" y="32"/>
                    <a:pt x="122" y="33"/>
                    <a:pt x="123" y="33"/>
                  </a:cubicBezTo>
                  <a:cubicBezTo>
                    <a:pt x="124" y="34"/>
                    <a:pt x="124" y="34"/>
                    <a:pt x="125" y="33"/>
                  </a:cubicBezTo>
                  <a:cubicBezTo>
                    <a:pt x="126" y="31"/>
                    <a:pt x="127" y="29"/>
                    <a:pt x="128" y="28"/>
                  </a:cubicBezTo>
                  <a:cubicBezTo>
                    <a:pt x="128" y="27"/>
                    <a:pt x="129" y="26"/>
                    <a:pt x="129" y="26"/>
                  </a:cubicBezTo>
                  <a:cubicBezTo>
                    <a:pt x="129" y="25"/>
                    <a:pt x="129" y="25"/>
                    <a:pt x="128" y="25"/>
                  </a:cubicBezTo>
                  <a:cubicBezTo>
                    <a:pt x="124" y="25"/>
                    <a:pt x="120" y="25"/>
                    <a:pt x="116" y="25"/>
                  </a:cubicBezTo>
                  <a:cubicBezTo>
                    <a:pt x="111" y="25"/>
                    <a:pt x="106" y="25"/>
                    <a:pt x="102" y="25"/>
                  </a:cubicBezTo>
                  <a:cubicBezTo>
                    <a:pt x="99" y="25"/>
                    <a:pt x="97" y="25"/>
                    <a:pt x="94" y="25"/>
                  </a:cubicBezTo>
                  <a:cubicBezTo>
                    <a:pt x="90" y="25"/>
                    <a:pt x="86" y="25"/>
                    <a:pt x="81" y="25"/>
                  </a:cubicBezTo>
                  <a:cubicBezTo>
                    <a:pt x="80" y="25"/>
                    <a:pt x="79" y="25"/>
                    <a:pt x="78" y="25"/>
                  </a:cubicBezTo>
                  <a:cubicBezTo>
                    <a:pt x="76" y="25"/>
                    <a:pt x="75" y="25"/>
                    <a:pt x="73" y="25"/>
                  </a:cubicBezTo>
                  <a:cubicBezTo>
                    <a:pt x="70" y="25"/>
                    <a:pt x="66" y="25"/>
                    <a:pt x="63" y="25"/>
                  </a:cubicBezTo>
                  <a:cubicBezTo>
                    <a:pt x="60" y="24"/>
                    <a:pt x="58" y="24"/>
                    <a:pt x="55" y="24"/>
                  </a:cubicBezTo>
                  <a:cubicBezTo>
                    <a:pt x="53" y="24"/>
                    <a:pt x="51" y="24"/>
                    <a:pt x="48" y="24"/>
                  </a:cubicBezTo>
                  <a:cubicBezTo>
                    <a:pt x="42" y="24"/>
                    <a:pt x="36" y="24"/>
                    <a:pt x="29" y="24"/>
                  </a:cubicBezTo>
                  <a:cubicBezTo>
                    <a:pt x="24" y="24"/>
                    <a:pt x="19" y="24"/>
                    <a:pt x="13" y="23"/>
                  </a:cubicBezTo>
                  <a:cubicBezTo>
                    <a:pt x="11" y="23"/>
                    <a:pt x="9" y="24"/>
                    <a:pt x="7" y="24"/>
                  </a:cubicBezTo>
                  <a:cubicBezTo>
                    <a:pt x="5" y="24"/>
                    <a:pt x="3" y="23"/>
                    <a:pt x="2" y="23"/>
                  </a:cubicBezTo>
                  <a:cubicBezTo>
                    <a:pt x="1" y="23"/>
                    <a:pt x="1" y="23"/>
                    <a:pt x="0" y="22"/>
                  </a:cubicBezTo>
                  <a:cubicBezTo>
                    <a:pt x="2" y="22"/>
                    <a:pt x="3" y="22"/>
                    <a:pt x="5" y="22"/>
                  </a:cubicBezTo>
                  <a:cubicBezTo>
                    <a:pt x="7" y="22"/>
                    <a:pt x="9" y="22"/>
                    <a:pt x="11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2" y="22"/>
                    <a:pt x="14" y="22"/>
                    <a:pt x="15" y="22"/>
                  </a:cubicBezTo>
                  <a:cubicBezTo>
                    <a:pt x="20" y="22"/>
                    <a:pt x="26" y="22"/>
                    <a:pt x="31" y="22"/>
                  </a:cubicBezTo>
                  <a:cubicBezTo>
                    <a:pt x="35" y="22"/>
                    <a:pt x="38" y="22"/>
                    <a:pt x="41" y="22"/>
                  </a:cubicBezTo>
                  <a:cubicBezTo>
                    <a:pt x="42" y="22"/>
                    <a:pt x="43" y="22"/>
                    <a:pt x="44" y="22"/>
                  </a:cubicBezTo>
                  <a:cubicBezTo>
                    <a:pt x="45" y="22"/>
                    <a:pt x="46" y="22"/>
                    <a:pt x="47" y="22"/>
                  </a:cubicBezTo>
                  <a:cubicBezTo>
                    <a:pt x="53" y="23"/>
                    <a:pt x="58" y="23"/>
                    <a:pt x="64" y="23"/>
                  </a:cubicBezTo>
                  <a:cubicBezTo>
                    <a:pt x="69" y="23"/>
                    <a:pt x="74" y="23"/>
                    <a:pt x="80" y="23"/>
                  </a:cubicBezTo>
                  <a:cubicBezTo>
                    <a:pt x="83" y="23"/>
                    <a:pt x="87" y="23"/>
                    <a:pt x="90" y="23"/>
                  </a:cubicBezTo>
                  <a:cubicBezTo>
                    <a:pt x="94" y="23"/>
                    <a:pt x="97" y="23"/>
                    <a:pt x="101" y="23"/>
                  </a:cubicBezTo>
                  <a:cubicBezTo>
                    <a:pt x="104" y="23"/>
                    <a:pt x="107" y="23"/>
                    <a:pt x="110" y="23"/>
                  </a:cubicBezTo>
                  <a:cubicBezTo>
                    <a:pt x="112" y="23"/>
                    <a:pt x="114" y="23"/>
                    <a:pt x="116" y="23"/>
                  </a:cubicBezTo>
                  <a:cubicBezTo>
                    <a:pt x="121" y="23"/>
                    <a:pt x="125" y="23"/>
                    <a:pt x="129" y="24"/>
                  </a:cubicBezTo>
                  <a:cubicBezTo>
                    <a:pt x="130" y="24"/>
                    <a:pt x="131" y="23"/>
                    <a:pt x="132" y="22"/>
                  </a:cubicBezTo>
                  <a:cubicBezTo>
                    <a:pt x="134" y="20"/>
                    <a:pt x="135" y="17"/>
                    <a:pt x="137" y="15"/>
                  </a:cubicBezTo>
                  <a:cubicBezTo>
                    <a:pt x="138" y="15"/>
                    <a:pt x="138" y="14"/>
                    <a:pt x="138" y="14"/>
                  </a:cubicBezTo>
                  <a:cubicBezTo>
                    <a:pt x="138" y="13"/>
                    <a:pt x="137" y="11"/>
                    <a:pt x="136" y="10"/>
                  </a:cubicBezTo>
                  <a:cubicBezTo>
                    <a:pt x="135" y="9"/>
                    <a:pt x="135" y="8"/>
                    <a:pt x="134" y="7"/>
                  </a:cubicBezTo>
                  <a:cubicBezTo>
                    <a:pt x="134" y="6"/>
                    <a:pt x="134" y="6"/>
                    <a:pt x="135" y="5"/>
                  </a:cubicBezTo>
                  <a:cubicBezTo>
                    <a:pt x="136" y="5"/>
                    <a:pt x="136" y="5"/>
                    <a:pt x="136" y="6"/>
                  </a:cubicBezTo>
                  <a:cubicBezTo>
                    <a:pt x="137" y="7"/>
                    <a:pt x="137" y="8"/>
                    <a:pt x="138" y="10"/>
                  </a:cubicBezTo>
                  <a:cubicBezTo>
                    <a:pt x="139" y="7"/>
                    <a:pt x="139" y="4"/>
                    <a:pt x="140" y="1"/>
                  </a:cubicBezTo>
                  <a:cubicBezTo>
                    <a:pt x="139" y="2"/>
                    <a:pt x="139" y="2"/>
                    <a:pt x="139" y="2"/>
                  </a:cubicBezTo>
                  <a:cubicBezTo>
                    <a:pt x="138" y="2"/>
                    <a:pt x="138" y="2"/>
                    <a:pt x="138" y="2"/>
                  </a:cubicBezTo>
                  <a:cubicBezTo>
                    <a:pt x="137" y="1"/>
                    <a:pt x="137" y="1"/>
                    <a:pt x="138" y="0"/>
                  </a:cubicBezTo>
                  <a:cubicBezTo>
                    <a:pt x="139" y="0"/>
                    <a:pt x="140" y="0"/>
                    <a:pt x="141" y="0"/>
                  </a:cubicBezTo>
                  <a:cubicBezTo>
                    <a:pt x="143" y="0"/>
                    <a:pt x="145" y="1"/>
                    <a:pt x="146" y="1"/>
                  </a:cubicBezTo>
                  <a:cubicBezTo>
                    <a:pt x="147" y="2"/>
                    <a:pt x="148" y="2"/>
                    <a:pt x="149" y="3"/>
                  </a:cubicBezTo>
                  <a:cubicBezTo>
                    <a:pt x="152" y="5"/>
                    <a:pt x="154" y="8"/>
                    <a:pt x="155" y="12"/>
                  </a:cubicBezTo>
                  <a:cubicBezTo>
                    <a:pt x="156" y="14"/>
                    <a:pt x="156" y="16"/>
                    <a:pt x="156" y="18"/>
                  </a:cubicBezTo>
                  <a:cubicBezTo>
                    <a:pt x="156" y="19"/>
                    <a:pt x="156" y="20"/>
                    <a:pt x="155" y="21"/>
                  </a:cubicBezTo>
                  <a:cubicBezTo>
                    <a:pt x="154" y="23"/>
                    <a:pt x="153" y="24"/>
                    <a:pt x="151" y="23"/>
                  </a:cubicBezTo>
                  <a:cubicBezTo>
                    <a:pt x="150" y="23"/>
                    <a:pt x="149" y="22"/>
                    <a:pt x="147" y="21"/>
                  </a:cubicBezTo>
                  <a:cubicBezTo>
                    <a:pt x="147" y="21"/>
                    <a:pt x="146" y="21"/>
                    <a:pt x="146" y="20"/>
                  </a:cubicBezTo>
                  <a:close/>
                  <a:moveTo>
                    <a:pt x="145" y="9"/>
                  </a:moveTo>
                  <a:cubicBezTo>
                    <a:pt x="145" y="9"/>
                    <a:pt x="145" y="10"/>
                    <a:pt x="144" y="10"/>
                  </a:cubicBezTo>
                  <a:cubicBezTo>
                    <a:pt x="143" y="11"/>
                    <a:pt x="142" y="12"/>
                    <a:pt x="143" y="14"/>
                  </a:cubicBezTo>
                  <a:cubicBezTo>
                    <a:pt x="142" y="14"/>
                    <a:pt x="142" y="14"/>
                    <a:pt x="142" y="15"/>
                  </a:cubicBezTo>
                  <a:cubicBezTo>
                    <a:pt x="143" y="16"/>
                    <a:pt x="144" y="16"/>
                    <a:pt x="145" y="17"/>
                  </a:cubicBezTo>
                  <a:cubicBezTo>
                    <a:pt x="145" y="14"/>
                    <a:pt x="145" y="12"/>
                    <a:pt x="146" y="9"/>
                  </a:cubicBezTo>
                  <a:cubicBezTo>
                    <a:pt x="146" y="9"/>
                    <a:pt x="146" y="8"/>
                    <a:pt x="146" y="8"/>
                  </a:cubicBezTo>
                  <a:cubicBezTo>
                    <a:pt x="146" y="6"/>
                    <a:pt x="146" y="5"/>
                    <a:pt x="146" y="3"/>
                  </a:cubicBezTo>
                  <a:cubicBezTo>
                    <a:pt x="146" y="3"/>
                    <a:pt x="145" y="3"/>
                    <a:pt x="145" y="3"/>
                  </a:cubicBezTo>
                  <a:cubicBezTo>
                    <a:pt x="144" y="5"/>
                    <a:pt x="144" y="7"/>
                    <a:pt x="143" y="9"/>
                  </a:cubicBezTo>
                  <a:cubicBezTo>
                    <a:pt x="144" y="9"/>
                    <a:pt x="145" y="8"/>
                    <a:pt x="145" y="9"/>
                  </a:cubicBezTo>
                  <a:close/>
                  <a:moveTo>
                    <a:pt x="126" y="34"/>
                  </a:moveTo>
                  <a:cubicBezTo>
                    <a:pt x="128" y="35"/>
                    <a:pt x="129" y="35"/>
                    <a:pt x="130" y="34"/>
                  </a:cubicBezTo>
                  <a:cubicBezTo>
                    <a:pt x="130" y="33"/>
                    <a:pt x="131" y="32"/>
                    <a:pt x="132" y="32"/>
                  </a:cubicBezTo>
                  <a:cubicBezTo>
                    <a:pt x="134" y="30"/>
                    <a:pt x="135" y="28"/>
                    <a:pt x="137" y="27"/>
                  </a:cubicBezTo>
                  <a:cubicBezTo>
                    <a:pt x="138" y="26"/>
                    <a:pt x="138" y="25"/>
                    <a:pt x="139" y="24"/>
                  </a:cubicBezTo>
                  <a:cubicBezTo>
                    <a:pt x="141" y="23"/>
                    <a:pt x="143" y="21"/>
                    <a:pt x="145" y="20"/>
                  </a:cubicBezTo>
                  <a:cubicBezTo>
                    <a:pt x="143" y="18"/>
                    <a:pt x="141" y="17"/>
                    <a:pt x="139" y="15"/>
                  </a:cubicBezTo>
                  <a:cubicBezTo>
                    <a:pt x="139" y="16"/>
                    <a:pt x="138" y="16"/>
                    <a:pt x="138" y="16"/>
                  </a:cubicBezTo>
                  <a:cubicBezTo>
                    <a:pt x="136" y="19"/>
                    <a:pt x="134" y="22"/>
                    <a:pt x="132" y="24"/>
                  </a:cubicBezTo>
                  <a:cubicBezTo>
                    <a:pt x="132" y="24"/>
                    <a:pt x="132" y="24"/>
                    <a:pt x="132" y="25"/>
                  </a:cubicBezTo>
                  <a:cubicBezTo>
                    <a:pt x="131" y="26"/>
                    <a:pt x="130" y="27"/>
                    <a:pt x="129" y="29"/>
                  </a:cubicBezTo>
                  <a:cubicBezTo>
                    <a:pt x="128" y="31"/>
                    <a:pt x="127" y="32"/>
                    <a:pt x="126" y="34"/>
                  </a:cubicBezTo>
                  <a:close/>
                  <a:moveTo>
                    <a:pt x="148" y="5"/>
                  </a:moveTo>
                  <a:cubicBezTo>
                    <a:pt x="148" y="7"/>
                    <a:pt x="147" y="9"/>
                    <a:pt x="147" y="11"/>
                  </a:cubicBezTo>
                  <a:cubicBezTo>
                    <a:pt x="147" y="13"/>
                    <a:pt x="147" y="15"/>
                    <a:pt x="147" y="17"/>
                  </a:cubicBezTo>
                  <a:cubicBezTo>
                    <a:pt x="146" y="17"/>
                    <a:pt x="146" y="17"/>
                    <a:pt x="146" y="18"/>
                  </a:cubicBezTo>
                  <a:cubicBezTo>
                    <a:pt x="146" y="18"/>
                    <a:pt x="147" y="18"/>
                    <a:pt x="147" y="18"/>
                  </a:cubicBezTo>
                  <a:cubicBezTo>
                    <a:pt x="148" y="18"/>
                    <a:pt x="148" y="19"/>
                    <a:pt x="148" y="19"/>
                  </a:cubicBezTo>
                  <a:cubicBezTo>
                    <a:pt x="149" y="20"/>
                    <a:pt x="150" y="20"/>
                    <a:pt x="151" y="21"/>
                  </a:cubicBezTo>
                  <a:cubicBezTo>
                    <a:pt x="153" y="21"/>
                    <a:pt x="154" y="21"/>
                    <a:pt x="154" y="19"/>
                  </a:cubicBezTo>
                  <a:cubicBezTo>
                    <a:pt x="155" y="15"/>
                    <a:pt x="154" y="12"/>
                    <a:pt x="152" y="9"/>
                  </a:cubicBezTo>
                  <a:cubicBezTo>
                    <a:pt x="152" y="9"/>
                    <a:pt x="152" y="9"/>
                    <a:pt x="152" y="9"/>
                  </a:cubicBezTo>
                  <a:cubicBezTo>
                    <a:pt x="152" y="10"/>
                    <a:pt x="152" y="11"/>
                    <a:pt x="152" y="12"/>
                  </a:cubicBezTo>
                  <a:cubicBezTo>
                    <a:pt x="152" y="13"/>
                    <a:pt x="152" y="14"/>
                    <a:pt x="151" y="16"/>
                  </a:cubicBezTo>
                  <a:cubicBezTo>
                    <a:pt x="151" y="16"/>
                    <a:pt x="151" y="16"/>
                    <a:pt x="151" y="16"/>
                  </a:cubicBezTo>
                  <a:cubicBezTo>
                    <a:pt x="151" y="16"/>
                    <a:pt x="150" y="16"/>
                    <a:pt x="150" y="16"/>
                  </a:cubicBezTo>
                  <a:cubicBezTo>
                    <a:pt x="150" y="16"/>
                    <a:pt x="150" y="15"/>
                    <a:pt x="150" y="15"/>
                  </a:cubicBezTo>
                  <a:cubicBezTo>
                    <a:pt x="150" y="14"/>
                    <a:pt x="150" y="12"/>
                    <a:pt x="150" y="11"/>
                  </a:cubicBezTo>
                  <a:cubicBezTo>
                    <a:pt x="149" y="9"/>
                    <a:pt x="150" y="8"/>
                    <a:pt x="151" y="7"/>
                  </a:cubicBezTo>
                  <a:cubicBezTo>
                    <a:pt x="150" y="6"/>
                    <a:pt x="149" y="6"/>
                    <a:pt x="148" y="5"/>
                  </a:cubicBezTo>
                  <a:close/>
                  <a:moveTo>
                    <a:pt x="141" y="2"/>
                  </a:moveTo>
                  <a:cubicBezTo>
                    <a:pt x="141" y="4"/>
                    <a:pt x="141" y="6"/>
                    <a:pt x="141" y="8"/>
                  </a:cubicBezTo>
                  <a:cubicBezTo>
                    <a:pt x="141" y="8"/>
                    <a:pt x="140" y="9"/>
                    <a:pt x="140" y="10"/>
                  </a:cubicBezTo>
                  <a:cubicBezTo>
                    <a:pt x="140" y="10"/>
                    <a:pt x="141" y="10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ubicBezTo>
                    <a:pt x="142" y="8"/>
                    <a:pt x="142" y="5"/>
                    <a:pt x="143" y="2"/>
                  </a:cubicBezTo>
                  <a:cubicBezTo>
                    <a:pt x="143" y="1"/>
                    <a:pt x="142" y="1"/>
                    <a:pt x="141" y="2"/>
                  </a:cubicBezTo>
                  <a:close/>
                </a:path>
              </a:pathLst>
            </a:custGeom>
            <a:grpFill/>
            <a:ln w="9525">
              <a:solidFill>
                <a:srgbClr val="5B9BD5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27" name="Freeform 603"/>
            <p:cNvSpPr>
              <a:spLocks/>
            </p:cNvSpPr>
            <p:nvPr/>
          </p:nvSpPr>
          <p:spPr bwMode="auto">
            <a:xfrm>
              <a:off x="13161963" y="5903913"/>
              <a:ext cx="34925" cy="1423988"/>
            </a:xfrm>
            <a:custGeom>
              <a:avLst/>
              <a:gdLst>
                <a:gd name="T0" fmla="*/ 7 w 8"/>
                <a:gd name="T1" fmla="*/ 327 h 329"/>
                <a:gd name="T2" fmla="*/ 5 w 8"/>
                <a:gd name="T3" fmla="*/ 309 h 329"/>
                <a:gd name="T4" fmla="*/ 4 w 8"/>
                <a:gd name="T5" fmla="*/ 293 h 329"/>
                <a:gd name="T6" fmla="*/ 3 w 8"/>
                <a:gd name="T7" fmla="*/ 276 h 329"/>
                <a:gd name="T8" fmla="*/ 1 w 8"/>
                <a:gd name="T9" fmla="*/ 255 h 329"/>
                <a:gd name="T10" fmla="*/ 1 w 8"/>
                <a:gd name="T11" fmla="*/ 232 h 329"/>
                <a:gd name="T12" fmla="*/ 1 w 8"/>
                <a:gd name="T13" fmla="*/ 212 h 329"/>
                <a:gd name="T14" fmla="*/ 0 w 8"/>
                <a:gd name="T15" fmla="*/ 184 h 329"/>
                <a:gd name="T16" fmla="*/ 1 w 8"/>
                <a:gd name="T17" fmla="*/ 174 h 329"/>
                <a:gd name="T18" fmla="*/ 0 w 8"/>
                <a:gd name="T19" fmla="*/ 165 h 329"/>
                <a:gd name="T20" fmla="*/ 1 w 8"/>
                <a:gd name="T21" fmla="*/ 146 h 329"/>
                <a:gd name="T22" fmla="*/ 0 w 8"/>
                <a:gd name="T23" fmla="*/ 137 h 329"/>
                <a:gd name="T24" fmla="*/ 0 w 8"/>
                <a:gd name="T25" fmla="*/ 119 h 329"/>
                <a:gd name="T26" fmla="*/ 0 w 8"/>
                <a:gd name="T27" fmla="*/ 112 h 329"/>
                <a:gd name="T28" fmla="*/ 0 w 8"/>
                <a:gd name="T29" fmla="*/ 93 h 329"/>
                <a:gd name="T30" fmla="*/ 1 w 8"/>
                <a:gd name="T31" fmla="*/ 70 h 329"/>
                <a:gd name="T32" fmla="*/ 2 w 8"/>
                <a:gd name="T33" fmla="*/ 52 h 329"/>
                <a:gd name="T34" fmla="*/ 4 w 8"/>
                <a:gd name="T35" fmla="*/ 38 h 329"/>
                <a:gd name="T36" fmla="*/ 6 w 8"/>
                <a:gd name="T37" fmla="*/ 15 h 329"/>
                <a:gd name="T38" fmla="*/ 7 w 8"/>
                <a:gd name="T39" fmla="*/ 1 h 329"/>
                <a:gd name="T40" fmla="*/ 8 w 8"/>
                <a:gd name="T41" fmla="*/ 4 h 329"/>
                <a:gd name="T42" fmla="*/ 7 w 8"/>
                <a:gd name="T43" fmla="*/ 23 h 329"/>
                <a:gd name="T44" fmla="*/ 5 w 8"/>
                <a:gd name="T45" fmla="*/ 39 h 329"/>
                <a:gd name="T46" fmla="*/ 4 w 8"/>
                <a:gd name="T47" fmla="*/ 49 h 329"/>
                <a:gd name="T48" fmla="*/ 3 w 8"/>
                <a:gd name="T49" fmla="*/ 64 h 329"/>
                <a:gd name="T50" fmla="*/ 2 w 8"/>
                <a:gd name="T51" fmla="*/ 94 h 329"/>
                <a:gd name="T52" fmla="*/ 2 w 8"/>
                <a:gd name="T53" fmla="*/ 117 h 329"/>
                <a:gd name="T54" fmla="*/ 2 w 8"/>
                <a:gd name="T55" fmla="*/ 141 h 329"/>
                <a:gd name="T56" fmla="*/ 2 w 8"/>
                <a:gd name="T57" fmla="*/ 160 h 329"/>
                <a:gd name="T58" fmla="*/ 2 w 8"/>
                <a:gd name="T59" fmla="*/ 175 h 329"/>
                <a:gd name="T60" fmla="*/ 2 w 8"/>
                <a:gd name="T61" fmla="*/ 191 h 329"/>
                <a:gd name="T62" fmla="*/ 2 w 8"/>
                <a:gd name="T63" fmla="*/ 207 h 329"/>
                <a:gd name="T64" fmla="*/ 3 w 8"/>
                <a:gd name="T65" fmla="*/ 239 h 329"/>
                <a:gd name="T66" fmla="*/ 3 w 8"/>
                <a:gd name="T67" fmla="*/ 261 h 329"/>
                <a:gd name="T68" fmla="*/ 5 w 8"/>
                <a:gd name="T69" fmla="*/ 283 h 329"/>
                <a:gd name="T70" fmla="*/ 6 w 8"/>
                <a:gd name="T71" fmla="*/ 300 h 329"/>
                <a:gd name="T72" fmla="*/ 8 w 8"/>
                <a:gd name="T73" fmla="*/ 325 h 329"/>
                <a:gd name="T74" fmla="*/ 7 w 8"/>
                <a:gd name="T75" fmla="*/ 32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" h="329">
                  <a:moveTo>
                    <a:pt x="7" y="329"/>
                  </a:moveTo>
                  <a:cubicBezTo>
                    <a:pt x="7" y="328"/>
                    <a:pt x="7" y="328"/>
                    <a:pt x="7" y="327"/>
                  </a:cubicBezTo>
                  <a:cubicBezTo>
                    <a:pt x="7" y="324"/>
                    <a:pt x="7" y="321"/>
                    <a:pt x="6" y="318"/>
                  </a:cubicBezTo>
                  <a:cubicBezTo>
                    <a:pt x="6" y="315"/>
                    <a:pt x="6" y="312"/>
                    <a:pt x="5" y="309"/>
                  </a:cubicBezTo>
                  <a:cubicBezTo>
                    <a:pt x="5" y="307"/>
                    <a:pt x="5" y="304"/>
                    <a:pt x="5" y="301"/>
                  </a:cubicBezTo>
                  <a:cubicBezTo>
                    <a:pt x="4" y="298"/>
                    <a:pt x="4" y="296"/>
                    <a:pt x="4" y="293"/>
                  </a:cubicBezTo>
                  <a:cubicBezTo>
                    <a:pt x="4" y="289"/>
                    <a:pt x="4" y="286"/>
                    <a:pt x="3" y="282"/>
                  </a:cubicBezTo>
                  <a:cubicBezTo>
                    <a:pt x="3" y="280"/>
                    <a:pt x="3" y="278"/>
                    <a:pt x="3" y="276"/>
                  </a:cubicBezTo>
                  <a:cubicBezTo>
                    <a:pt x="2" y="272"/>
                    <a:pt x="2" y="268"/>
                    <a:pt x="2" y="264"/>
                  </a:cubicBezTo>
                  <a:cubicBezTo>
                    <a:pt x="1" y="261"/>
                    <a:pt x="1" y="258"/>
                    <a:pt x="1" y="255"/>
                  </a:cubicBezTo>
                  <a:cubicBezTo>
                    <a:pt x="1" y="250"/>
                    <a:pt x="1" y="246"/>
                    <a:pt x="1" y="242"/>
                  </a:cubicBezTo>
                  <a:cubicBezTo>
                    <a:pt x="1" y="238"/>
                    <a:pt x="1" y="235"/>
                    <a:pt x="1" y="232"/>
                  </a:cubicBezTo>
                  <a:cubicBezTo>
                    <a:pt x="1" y="229"/>
                    <a:pt x="1" y="225"/>
                    <a:pt x="1" y="222"/>
                  </a:cubicBezTo>
                  <a:cubicBezTo>
                    <a:pt x="1" y="219"/>
                    <a:pt x="1" y="216"/>
                    <a:pt x="1" y="212"/>
                  </a:cubicBezTo>
                  <a:cubicBezTo>
                    <a:pt x="1" y="208"/>
                    <a:pt x="1" y="203"/>
                    <a:pt x="1" y="199"/>
                  </a:cubicBezTo>
                  <a:cubicBezTo>
                    <a:pt x="1" y="194"/>
                    <a:pt x="0" y="189"/>
                    <a:pt x="0" y="184"/>
                  </a:cubicBezTo>
                  <a:cubicBezTo>
                    <a:pt x="0" y="182"/>
                    <a:pt x="1" y="181"/>
                    <a:pt x="1" y="179"/>
                  </a:cubicBezTo>
                  <a:cubicBezTo>
                    <a:pt x="1" y="178"/>
                    <a:pt x="1" y="176"/>
                    <a:pt x="1" y="174"/>
                  </a:cubicBezTo>
                  <a:cubicBezTo>
                    <a:pt x="1" y="174"/>
                    <a:pt x="1" y="173"/>
                    <a:pt x="1" y="173"/>
                  </a:cubicBezTo>
                  <a:cubicBezTo>
                    <a:pt x="1" y="170"/>
                    <a:pt x="0" y="167"/>
                    <a:pt x="0" y="165"/>
                  </a:cubicBezTo>
                  <a:cubicBezTo>
                    <a:pt x="0" y="161"/>
                    <a:pt x="0" y="157"/>
                    <a:pt x="0" y="153"/>
                  </a:cubicBezTo>
                  <a:cubicBezTo>
                    <a:pt x="0" y="151"/>
                    <a:pt x="1" y="148"/>
                    <a:pt x="1" y="146"/>
                  </a:cubicBezTo>
                  <a:cubicBezTo>
                    <a:pt x="1" y="146"/>
                    <a:pt x="0" y="145"/>
                    <a:pt x="0" y="145"/>
                  </a:cubicBezTo>
                  <a:cubicBezTo>
                    <a:pt x="0" y="142"/>
                    <a:pt x="0" y="140"/>
                    <a:pt x="0" y="137"/>
                  </a:cubicBezTo>
                  <a:cubicBezTo>
                    <a:pt x="0" y="134"/>
                    <a:pt x="0" y="132"/>
                    <a:pt x="0" y="129"/>
                  </a:cubicBezTo>
                  <a:cubicBezTo>
                    <a:pt x="0" y="125"/>
                    <a:pt x="0" y="122"/>
                    <a:pt x="0" y="119"/>
                  </a:cubicBezTo>
                  <a:cubicBezTo>
                    <a:pt x="0" y="117"/>
                    <a:pt x="0" y="116"/>
                    <a:pt x="0" y="115"/>
                  </a:cubicBezTo>
                  <a:cubicBezTo>
                    <a:pt x="0" y="114"/>
                    <a:pt x="0" y="113"/>
                    <a:pt x="0" y="112"/>
                  </a:cubicBezTo>
                  <a:cubicBezTo>
                    <a:pt x="0" y="110"/>
                    <a:pt x="0" y="107"/>
                    <a:pt x="0" y="105"/>
                  </a:cubicBezTo>
                  <a:cubicBezTo>
                    <a:pt x="0" y="101"/>
                    <a:pt x="0" y="97"/>
                    <a:pt x="0" y="93"/>
                  </a:cubicBezTo>
                  <a:cubicBezTo>
                    <a:pt x="0" y="88"/>
                    <a:pt x="0" y="84"/>
                    <a:pt x="1" y="79"/>
                  </a:cubicBezTo>
                  <a:cubicBezTo>
                    <a:pt x="1" y="76"/>
                    <a:pt x="1" y="73"/>
                    <a:pt x="1" y="70"/>
                  </a:cubicBezTo>
                  <a:cubicBezTo>
                    <a:pt x="1" y="66"/>
                    <a:pt x="2" y="63"/>
                    <a:pt x="2" y="60"/>
                  </a:cubicBezTo>
                  <a:cubicBezTo>
                    <a:pt x="2" y="57"/>
                    <a:pt x="2" y="55"/>
                    <a:pt x="2" y="52"/>
                  </a:cubicBezTo>
                  <a:cubicBezTo>
                    <a:pt x="2" y="50"/>
                    <a:pt x="2" y="48"/>
                    <a:pt x="3" y="47"/>
                  </a:cubicBezTo>
                  <a:cubicBezTo>
                    <a:pt x="4" y="44"/>
                    <a:pt x="3" y="40"/>
                    <a:pt x="4" y="38"/>
                  </a:cubicBezTo>
                  <a:cubicBezTo>
                    <a:pt x="4" y="34"/>
                    <a:pt x="4" y="31"/>
                    <a:pt x="5" y="28"/>
                  </a:cubicBezTo>
                  <a:cubicBezTo>
                    <a:pt x="5" y="24"/>
                    <a:pt x="5" y="19"/>
                    <a:pt x="6" y="15"/>
                  </a:cubicBezTo>
                  <a:cubicBezTo>
                    <a:pt x="6" y="12"/>
                    <a:pt x="6" y="9"/>
                    <a:pt x="6" y="6"/>
                  </a:cubicBezTo>
                  <a:cubicBezTo>
                    <a:pt x="6" y="4"/>
                    <a:pt x="6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1"/>
                    <a:pt x="8" y="2"/>
                    <a:pt x="8" y="4"/>
                  </a:cubicBezTo>
                  <a:cubicBezTo>
                    <a:pt x="8" y="6"/>
                    <a:pt x="8" y="8"/>
                    <a:pt x="8" y="10"/>
                  </a:cubicBezTo>
                  <a:cubicBezTo>
                    <a:pt x="7" y="14"/>
                    <a:pt x="7" y="18"/>
                    <a:pt x="7" y="23"/>
                  </a:cubicBezTo>
                  <a:cubicBezTo>
                    <a:pt x="6" y="26"/>
                    <a:pt x="6" y="29"/>
                    <a:pt x="6" y="32"/>
                  </a:cubicBezTo>
                  <a:cubicBezTo>
                    <a:pt x="5" y="35"/>
                    <a:pt x="5" y="37"/>
                    <a:pt x="5" y="39"/>
                  </a:cubicBezTo>
                  <a:cubicBezTo>
                    <a:pt x="5" y="41"/>
                    <a:pt x="5" y="43"/>
                    <a:pt x="5" y="44"/>
                  </a:cubicBezTo>
                  <a:cubicBezTo>
                    <a:pt x="4" y="46"/>
                    <a:pt x="4" y="48"/>
                    <a:pt x="4" y="49"/>
                  </a:cubicBezTo>
                  <a:cubicBezTo>
                    <a:pt x="4" y="53"/>
                    <a:pt x="4" y="57"/>
                    <a:pt x="3" y="61"/>
                  </a:cubicBezTo>
                  <a:cubicBezTo>
                    <a:pt x="3" y="62"/>
                    <a:pt x="3" y="63"/>
                    <a:pt x="3" y="64"/>
                  </a:cubicBezTo>
                  <a:cubicBezTo>
                    <a:pt x="3" y="70"/>
                    <a:pt x="2" y="76"/>
                    <a:pt x="2" y="81"/>
                  </a:cubicBezTo>
                  <a:cubicBezTo>
                    <a:pt x="2" y="86"/>
                    <a:pt x="2" y="90"/>
                    <a:pt x="2" y="94"/>
                  </a:cubicBezTo>
                  <a:cubicBezTo>
                    <a:pt x="1" y="98"/>
                    <a:pt x="2" y="103"/>
                    <a:pt x="2" y="107"/>
                  </a:cubicBezTo>
                  <a:cubicBezTo>
                    <a:pt x="2" y="110"/>
                    <a:pt x="2" y="114"/>
                    <a:pt x="2" y="117"/>
                  </a:cubicBezTo>
                  <a:cubicBezTo>
                    <a:pt x="2" y="121"/>
                    <a:pt x="2" y="125"/>
                    <a:pt x="2" y="129"/>
                  </a:cubicBezTo>
                  <a:cubicBezTo>
                    <a:pt x="2" y="133"/>
                    <a:pt x="2" y="137"/>
                    <a:pt x="2" y="141"/>
                  </a:cubicBezTo>
                  <a:cubicBezTo>
                    <a:pt x="2" y="145"/>
                    <a:pt x="2" y="149"/>
                    <a:pt x="2" y="152"/>
                  </a:cubicBezTo>
                  <a:cubicBezTo>
                    <a:pt x="2" y="155"/>
                    <a:pt x="2" y="158"/>
                    <a:pt x="2" y="160"/>
                  </a:cubicBezTo>
                  <a:cubicBezTo>
                    <a:pt x="2" y="163"/>
                    <a:pt x="2" y="165"/>
                    <a:pt x="2" y="167"/>
                  </a:cubicBezTo>
                  <a:cubicBezTo>
                    <a:pt x="2" y="170"/>
                    <a:pt x="2" y="173"/>
                    <a:pt x="2" y="175"/>
                  </a:cubicBezTo>
                  <a:cubicBezTo>
                    <a:pt x="2" y="178"/>
                    <a:pt x="2" y="182"/>
                    <a:pt x="2" y="185"/>
                  </a:cubicBezTo>
                  <a:cubicBezTo>
                    <a:pt x="2" y="187"/>
                    <a:pt x="2" y="189"/>
                    <a:pt x="2" y="191"/>
                  </a:cubicBezTo>
                  <a:cubicBezTo>
                    <a:pt x="2" y="193"/>
                    <a:pt x="2" y="195"/>
                    <a:pt x="2" y="197"/>
                  </a:cubicBezTo>
                  <a:cubicBezTo>
                    <a:pt x="2" y="201"/>
                    <a:pt x="2" y="204"/>
                    <a:pt x="2" y="207"/>
                  </a:cubicBezTo>
                  <a:cubicBezTo>
                    <a:pt x="3" y="214"/>
                    <a:pt x="3" y="221"/>
                    <a:pt x="3" y="227"/>
                  </a:cubicBezTo>
                  <a:cubicBezTo>
                    <a:pt x="3" y="231"/>
                    <a:pt x="3" y="235"/>
                    <a:pt x="3" y="239"/>
                  </a:cubicBezTo>
                  <a:cubicBezTo>
                    <a:pt x="3" y="242"/>
                    <a:pt x="3" y="246"/>
                    <a:pt x="3" y="249"/>
                  </a:cubicBezTo>
                  <a:cubicBezTo>
                    <a:pt x="3" y="253"/>
                    <a:pt x="3" y="257"/>
                    <a:pt x="3" y="261"/>
                  </a:cubicBezTo>
                  <a:cubicBezTo>
                    <a:pt x="3" y="264"/>
                    <a:pt x="3" y="268"/>
                    <a:pt x="4" y="271"/>
                  </a:cubicBezTo>
                  <a:cubicBezTo>
                    <a:pt x="4" y="275"/>
                    <a:pt x="4" y="279"/>
                    <a:pt x="5" y="283"/>
                  </a:cubicBezTo>
                  <a:cubicBezTo>
                    <a:pt x="5" y="285"/>
                    <a:pt x="5" y="288"/>
                    <a:pt x="5" y="290"/>
                  </a:cubicBezTo>
                  <a:cubicBezTo>
                    <a:pt x="6" y="294"/>
                    <a:pt x="6" y="297"/>
                    <a:pt x="6" y="300"/>
                  </a:cubicBezTo>
                  <a:cubicBezTo>
                    <a:pt x="7" y="305"/>
                    <a:pt x="7" y="310"/>
                    <a:pt x="8" y="316"/>
                  </a:cubicBezTo>
                  <a:cubicBezTo>
                    <a:pt x="8" y="319"/>
                    <a:pt x="8" y="322"/>
                    <a:pt x="8" y="325"/>
                  </a:cubicBezTo>
                  <a:cubicBezTo>
                    <a:pt x="8" y="326"/>
                    <a:pt x="8" y="327"/>
                    <a:pt x="8" y="329"/>
                  </a:cubicBezTo>
                  <a:cubicBezTo>
                    <a:pt x="8" y="329"/>
                    <a:pt x="7" y="329"/>
                    <a:pt x="7" y="329"/>
                  </a:cubicBezTo>
                  <a:cubicBezTo>
                    <a:pt x="7" y="329"/>
                    <a:pt x="7" y="329"/>
                    <a:pt x="7" y="329"/>
                  </a:cubicBezTo>
                  <a:close/>
                </a:path>
              </a:pathLst>
            </a:custGeom>
            <a:grpFill/>
            <a:ln w="9525">
              <a:solidFill>
                <a:srgbClr val="5B9BD5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28" name="Freeform 604"/>
            <p:cNvSpPr>
              <a:spLocks/>
            </p:cNvSpPr>
            <p:nvPr/>
          </p:nvSpPr>
          <p:spPr bwMode="auto">
            <a:xfrm>
              <a:off x="12150726" y="7327900"/>
              <a:ext cx="1042988" cy="20638"/>
            </a:xfrm>
            <a:custGeom>
              <a:avLst/>
              <a:gdLst>
                <a:gd name="T0" fmla="*/ 241 w 241"/>
                <a:gd name="T1" fmla="*/ 2 h 5"/>
                <a:gd name="T2" fmla="*/ 236 w 241"/>
                <a:gd name="T3" fmla="*/ 4 h 5"/>
                <a:gd name="T4" fmla="*/ 223 w 241"/>
                <a:gd name="T5" fmla="*/ 5 h 5"/>
                <a:gd name="T6" fmla="*/ 206 w 241"/>
                <a:gd name="T7" fmla="*/ 5 h 5"/>
                <a:gd name="T8" fmla="*/ 202 w 241"/>
                <a:gd name="T9" fmla="*/ 5 h 5"/>
                <a:gd name="T10" fmla="*/ 200 w 241"/>
                <a:gd name="T11" fmla="*/ 5 h 5"/>
                <a:gd name="T12" fmla="*/ 187 w 241"/>
                <a:gd name="T13" fmla="*/ 5 h 5"/>
                <a:gd name="T14" fmla="*/ 181 w 241"/>
                <a:gd name="T15" fmla="*/ 4 h 5"/>
                <a:gd name="T16" fmla="*/ 172 w 241"/>
                <a:gd name="T17" fmla="*/ 4 h 5"/>
                <a:gd name="T18" fmla="*/ 160 w 241"/>
                <a:gd name="T19" fmla="*/ 4 h 5"/>
                <a:gd name="T20" fmla="*/ 151 w 241"/>
                <a:gd name="T21" fmla="*/ 4 h 5"/>
                <a:gd name="T22" fmla="*/ 138 w 241"/>
                <a:gd name="T23" fmla="*/ 4 h 5"/>
                <a:gd name="T24" fmla="*/ 132 w 241"/>
                <a:gd name="T25" fmla="*/ 4 h 5"/>
                <a:gd name="T26" fmla="*/ 129 w 241"/>
                <a:gd name="T27" fmla="*/ 4 h 5"/>
                <a:gd name="T28" fmla="*/ 122 w 241"/>
                <a:gd name="T29" fmla="*/ 4 h 5"/>
                <a:gd name="T30" fmla="*/ 113 w 241"/>
                <a:gd name="T31" fmla="*/ 4 h 5"/>
                <a:gd name="T32" fmla="*/ 102 w 241"/>
                <a:gd name="T33" fmla="*/ 4 h 5"/>
                <a:gd name="T34" fmla="*/ 95 w 241"/>
                <a:gd name="T35" fmla="*/ 3 h 5"/>
                <a:gd name="T36" fmla="*/ 94 w 241"/>
                <a:gd name="T37" fmla="*/ 3 h 5"/>
                <a:gd name="T38" fmla="*/ 86 w 241"/>
                <a:gd name="T39" fmla="*/ 3 h 5"/>
                <a:gd name="T40" fmla="*/ 73 w 241"/>
                <a:gd name="T41" fmla="*/ 3 h 5"/>
                <a:gd name="T42" fmla="*/ 63 w 241"/>
                <a:gd name="T43" fmla="*/ 2 h 5"/>
                <a:gd name="T44" fmla="*/ 61 w 241"/>
                <a:gd name="T45" fmla="*/ 2 h 5"/>
                <a:gd name="T46" fmla="*/ 57 w 241"/>
                <a:gd name="T47" fmla="*/ 2 h 5"/>
                <a:gd name="T48" fmla="*/ 54 w 241"/>
                <a:gd name="T49" fmla="*/ 2 h 5"/>
                <a:gd name="T50" fmla="*/ 42 w 241"/>
                <a:gd name="T51" fmla="*/ 2 h 5"/>
                <a:gd name="T52" fmla="*/ 33 w 241"/>
                <a:gd name="T53" fmla="*/ 2 h 5"/>
                <a:gd name="T54" fmla="*/ 28 w 241"/>
                <a:gd name="T55" fmla="*/ 2 h 5"/>
                <a:gd name="T56" fmla="*/ 11 w 241"/>
                <a:gd name="T57" fmla="*/ 3 h 5"/>
                <a:gd name="T58" fmla="*/ 5 w 241"/>
                <a:gd name="T59" fmla="*/ 3 h 5"/>
                <a:gd name="T60" fmla="*/ 1 w 241"/>
                <a:gd name="T61" fmla="*/ 2 h 5"/>
                <a:gd name="T62" fmla="*/ 1 w 241"/>
                <a:gd name="T63" fmla="*/ 0 h 5"/>
                <a:gd name="T64" fmla="*/ 3 w 241"/>
                <a:gd name="T65" fmla="*/ 0 h 5"/>
                <a:gd name="T66" fmla="*/ 17 w 241"/>
                <a:gd name="T67" fmla="*/ 1 h 5"/>
                <a:gd name="T68" fmla="*/ 26 w 241"/>
                <a:gd name="T69" fmla="*/ 1 h 5"/>
                <a:gd name="T70" fmla="*/ 34 w 241"/>
                <a:gd name="T71" fmla="*/ 1 h 5"/>
                <a:gd name="T72" fmla="*/ 46 w 241"/>
                <a:gd name="T73" fmla="*/ 1 h 5"/>
                <a:gd name="T74" fmla="*/ 56 w 241"/>
                <a:gd name="T75" fmla="*/ 1 h 5"/>
                <a:gd name="T76" fmla="*/ 62 w 241"/>
                <a:gd name="T77" fmla="*/ 1 h 5"/>
                <a:gd name="T78" fmla="*/ 76 w 241"/>
                <a:gd name="T79" fmla="*/ 1 h 5"/>
                <a:gd name="T80" fmla="*/ 90 w 241"/>
                <a:gd name="T81" fmla="*/ 2 h 5"/>
                <a:gd name="T82" fmla="*/ 96 w 241"/>
                <a:gd name="T83" fmla="*/ 2 h 5"/>
                <a:gd name="T84" fmla="*/ 104 w 241"/>
                <a:gd name="T85" fmla="*/ 2 h 5"/>
                <a:gd name="T86" fmla="*/ 114 w 241"/>
                <a:gd name="T87" fmla="*/ 2 h 5"/>
                <a:gd name="T88" fmla="*/ 127 w 241"/>
                <a:gd name="T89" fmla="*/ 2 h 5"/>
                <a:gd name="T90" fmla="*/ 136 w 241"/>
                <a:gd name="T91" fmla="*/ 2 h 5"/>
                <a:gd name="T92" fmla="*/ 151 w 241"/>
                <a:gd name="T93" fmla="*/ 2 h 5"/>
                <a:gd name="T94" fmla="*/ 159 w 241"/>
                <a:gd name="T95" fmla="*/ 2 h 5"/>
                <a:gd name="T96" fmla="*/ 174 w 241"/>
                <a:gd name="T97" fmla="*/ 2 h 5"/>
                <a:gd name="T98" fmla="*/ 190 w 241"/>
                <a:gd name="T99" fmla="*/ 3 h 5"/>
                <a:gd name="T100" fmla="*/ 203 w 241"/>
                <a:gd name="T101" fmla="*/ 3 h 5"/>
                <a:gd name="T102" fmla="*/ 223 w 241"/>
                <a:gd name="T103" fmla="*/ 3 h 5"/>
                <a:gd name="T104" fmla="*/ 228 w 241"/>
                <a:gd name="T105" fmla="*/ 3 h 5"/>
                <a:gd name="T106" fmla="*/ 235 w 241"/>
                <a:gd name="T107" fmla="*/ 2 h 5"/>
                <a:gd name="T108" fmla="*/ 240 w 241"/>
                <a:gd name="T109" fmla="*/ 2 h 5"/>
                <a:gd name="T110" fmla="*/ 241 w 241"/>
                <a:gd name="T11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1" h="5">
                  <a:moveTo>
                    <a:pt x="241" y="2"/>
                  </a:moveTo>
                  <a:cubicBezTo>
                    <a:pt x="239" y="4"/>
                    <a:pt x="238" y="4"/>
                    <a:pt x="236" y="4"/>
                  </a:cubicBezTo>
                  <a:cubicBezTo>
                    <a:pt x="232" y="5"/>
                    <a:pt x="228" y="5"/>
                    <a:pt x="223" y="5"/>
                  </a:cubicBezTo>
                  <a:cubicBezTo>
                    <a:pt x="218" y="5"/>
                    <a:pt x="212" y="5"/>
                    <a:pt x="206" y="5"/>
                  </a:cubicBezTo>
                  <a:cubicBezTo>
                    <a:pt x="205" y="5"/>
                    <a:pt x="204" y="5"/>
                    <a:pt x="202" y="5"/>
                  </a:cubicBezTo>
                  <a:cubicBezTo>
                    <a:pt x="201" y="5"/>
                    <a:pt x="200" y="5"/>
                    <a:pt x="200" y="5"/>
                  </a:cubicBezTo>
                  <a:cubicBezTo>
                    <a:pt x="196" y="5"/>
                    <a:pt x="192" y="5"/>
                    <a:pt x="187" y="5"/>
                  </a:cubicBezTo>
                  <a:cubicBezTo>
                    <a:pt x="185" y="4"/>
                    <a:pt x="183" y="5"/>
                    <a:pt x="181" y="4"/>
                  </a:cubicBezTo>
                  <a:cubicBezTo>
                    <a:pt x="178" y="4"/>
                    <a:pt x="175" y="4"/>
                    <a:pt x="172" y="4"/>
                  </a:cubicBezTo>
                  <a:cubicBezTo>
                    <a:pt x="168" y="4"/>
                    <a:pt x="164" y="4"/>
                    <a:pt x="160" y="4"/>
                  </a:cubicBezTo>
                  <a:cubicBezTo>
                    <a:pt x="157" y="4"/>
                    <a:pt x="154" y="4"/>
                    <a:pt x="151" y="4"/>
                  </a:cubicBezTo>
                  <a:cubicBezTo>
                    <a:pt x="147" y="4"/>
                    <a:pt x="142" y="4"/>
                    <a:pt x="138" y="4"/>
                  </a:cubicBezTo>
                  <a:cubicBezTo>
                    <a:pt x="136" y="4"/>
                    <a:pt x="134" y="4"/>
                    <a:pt x="132" y="4"/>
                  </a:cubicBezTo>
                  <a:cubicBezTo>
                    <a:pt x="131" y="4"/>
                    <a:pt x="130" y="4"/>
                    <a:pt x="129" y="4"/>
                  </a:cubicBezTo>
                  <a:cubicBezTo>
                    <a:pt x="126" y="4"/>
                    <a:pt x="124" y="4"/>
                    <a:pt x="122" y="4"/>
                  </a:cubicBezTo>
                  <a:cubicBezTo>
                    <a:pt x="119" y="4"/>
                    <a:pt x="116" y="4"/>
                    <a:pt x="113" y="4"/>
                  </a:cubicBezTo>
                  <a:cubicBezTo>
                    <a:pt x="109" y="4"/>
                    <a:pt x="106" y="4"/>
                    <a:pt x="102" y="4"/>
                  </a:cubicBezTo>
                  <a:cubicBezTo>
                    <a:pt x="100" y="4"/>
                    <a:pt x="98" y="3"/>
                    <a:pt x="95" y="3"/>
                  </a:cubicBezTo>
                  <a:cubicBezTo>
                    <a:pt x="95" y="3"/>
                    <a:pt x="94" y="3"/>
                    <a:pt x="94" y="3"/>
                  </a:cubicBezTo>
                  <a:cubicBezTo>
                    <a:pt x="91" y="3"/>
                    <a:pt x="88" y="3"/>
                    <a:pt x="86" y="3"/>
                  </a:cubicBezTo>
                  <a:cubicBezTo>
                    <a:pt x="81" y="3"/>
                    <a:pt x="77" y="3"/>
                    <a:pt x="73" y="3"/>
                  </a:cubicBezTo>
                  <a:cubicBezTo>
                    <a:pt x="70" y="3"/>
                    <a:pt x="66" y="2"/>
                    <a:pt x="63" y="2"/>
                  </a:cubicBezTo>
                  <a:cubicBezTo>
                    <a:pt x="63" y="2"/>
                    <a:pt x="62" y="2"/>
                    <a:pt x="61" y="2"/>
                  </a:cubicBezTo>
                  <a:cubicBezTo>
                    <a:pt x="60" y="2"/>
                    <a:pt x="58" y="2"/>
                    <a:pt x="57" y="2"/>
                  </a:cubicBezTo>
                  <a:cubicBezTo>
                    <a:pt x="56" y="2"/>
                    <a:pt x="55" y="2"/>
                    <a:pt x="54" y="2"/>
                  </a:cubicBezTo>
                  <a:cubicBezTo>
                    <a:pt x="50" y="2"/>
                    <a:pt x="46" y="2"/>
                    <a:pt x="42" y="2"/>
                  </a:cubicBezTo>
                  <a:cubicBezTo>
                    <a:pt x="39" y="2"/>
                    <a:pt x="36" y="2"/>
                    <a:pt x="33" y="2"/>
                  </a:cubicBezTo>
                  <a:cubicBezTo>
                    <a:pt x="32" y="2"/>
                    <a:pt x="30" y="2"/>
                    <a:pt x="28" y="2"/>
                  </a:cubicBezTo>
                  <a:cubicBezTo>
                    <a:pt x="22" y="2"/>
                    <a:pt x="16" y="3"/>
                    <a:pt x="11" y="3"/>
                  </a:cubicBezTo>
                  <a:cubicBezTo>
                    <a:pt x="9" y="3"/>
                    <a:pt x="7" y="3"/>
                    <a:pt x="5" y="3"/>
                  </a:cubicBezTo>
                  <a:cubicBezTo>
                    <a:pt x="4" y="2"/>
                    <a:pt x="2" y="2"/>
                    <a:pt x="1" y="2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8" y="1"/>
                    <a:pt x="13" y="1"/>
                    <a:pt x="17" y="1"/>
                  </a:cubicBezTo>
                  <a:cubicBezTo>
                    <a:pt x="20" y="1"/>
                    <a:pt x="23" y="1"/>
                    <a:pt x="26" y="1"/>
                  </a:cubicBezTo>
                  <a:cubicBezTo>
                    <a:pt x="29" y="0"/>
                    <a:pt x="32" y="1"/>
                    <a:pt x="34" y="1"/>
                  </a:cubicBezTo>
                  <a:cubicBezTo>
                    <a:pt x="38" y="1"/>
                    <a:pt x="42" y="1"/>
                    <a:pt x="46" y="1"/>
                  </a:cubicBezTo>
                  <a:cubicBezTo>
                    <a:pt x="49" y="1"/>
                    <a:pt x="52" y="1"/>
                    <a:pt x="56" y="1"/>
                  </a:cubicBezTo>
                  <a:cubicBezTo>
                    <a:pt x="58" y="1"/>
                    <a:pt x="60" y="1"/>
                    <a:pt x="62" y="1"/>
                  </a:cubicBezTo>
                  <a:cubicBezTo>
                    <a:pt x="67" y="1"/>
                    <a:pt x="71" y="1"/>
                    <a:pt x="76" y="1"/>
                  </a:cubicBezTo>
                  <a:cubicBezTo>
                    <a:pt x="81" y="1"/>
                    <a:pt x="85" y="1"/>
                    <a:pt x="90" y="2"/>
                  </a:cubicBezTo>
                  <a:cubicBezTo>
                    <a:pt x="92" y="2"/>
                    <a:pt x="94" y="2"/>
                    <a:pt x="96" y="2"/>
                  </a:cubicBezTo>
                  <a:cubicBezTo>
                    <a:pt x="99" y="2"/>
                    <a:pt x="101" y="2"/>
                    <a:pt x="104" y="2"/>
                  </a:cubicBezTo>
                  <a:cubicBezTo>
                    <a:pt x="108" y="2"/>
                    <a:pt x="111" y="2"/>
                    <a:pt x="114" y="2"/>
                  </a:cubicBezTo>
                  <a:cubicBezTo>
                    <a:pt x="119" y="2"/>
                    <a:pt x="123" y="2"/>
                    <a:pt x="127" y="2"/>
                  </a:cubicBezTo>
                  <a:cubicBezTo>
                    <a:pt x="130" y="2"/>
                    <a:pt x="133" y="2"/>
                    <a:pt x="136" y="2"/>
                  </a:cubicBezTo>
                  <a:cubicBezTo>
                    <a:pt x="141" y="2"/>
                    <a:pt x="146" y="2"/>
                    <a:pt x="151" y="2"/>
                  </a:cubicBezTo>
                  <a:cubicBezTo>
                    <a:pt x="154" y="2"/>
                    <a:pt x="157" y="2"/>
                    <a:pt x="159" y="2"/>
                  </a:cubicBezTo>
                  <a:cubicBezTo>
                    <a:pt x="164" y="2"/>
                    <a:pt x="169" y="2"/>
                    <a:pt x="174" y="2"/>
                  </a:cubicBezTo>
                  <a:cubicBezTo>
                    <a:pt x="179" y="3"/>
                    <a:pt x="184" y="3"/>
                    <a:pt x="190" y="3"/>
                  </a:cubicBezTo>
                  <a:cubicBezTo>
                    <a:pt x="194" y="3"/>
                    <a:pt x="199" y="3"/>
                    <a:pt x="203" y="3"/>
                  </a:cubicBezTo>
                  <a:cubicBezTo>
                    <a:pt x="209" y="3"/>
                    <a:pt x="216" y="3"/>
                    <a:pt x="223" y="3"/>
                  </a:cubicBezTo>
                  <a:cubicBezTo>
                    <a:pt x="224" y="3"/>
                    <a:pt x="226" y="3"/>
                    <a:pt x="228" y="3"/>
                  </a:cubicBezTo>
                  <a:cubicBezTo>
                    <a:pt x="231" y="3"/>
                    <a:pt x="233" y="3"/>
                    <a:pt x="235" y="2"/>
                  </a:cubicBezTo>
                  <a:cubicBezTo>
                    <a:pt x="237" y="2"/>
                    <a:pt x="238" y="2"/>
                    <a:pt x="240" y="2"/>
                  </a:cubicBezTo>
                  <a:cubicBezTo>
                    <a:pt x="240" y="2"/>
                    <a:pt x="240" y="2"/>
                    <a:pt x="241" y="2"/>
                  </a:cubicBezTo>
                  <a:close/>
                </a:path>
              </a:pathLst>
            </a:custGeom>
            <a:grpFill/>
            <a:ln w="9525">
              <a:solidFill>
                <a:srgbClr val="5B9BD5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29" name="Freeform 605"/>
            <p:cNvSpPr>
              <a:spLocks/>
            </p:cNvSpPr>
            <p:nvPr/>
          </p:nvSpPr>
          <p:spPr bwMode="auto">
            <a:xfrm>
              <a:off x="12138026" y="5916613"/>
              <a:ext cx="17463" cy="1381125"/>
            </a:xfrm>
            <a:custGeom>
              <a:avLst/>
              <a:gdLst>
                <a:gd name="T0" fmla="*/ 3 w 4"/>
                <a:gd name="T1" fmla="*/ 319 h 319"/>
                <a:gd name="T2" fmla="*/ 3 w 4"/>
                <a:gd name="T3" fmla="*/ 305 h 319"/>
                <a:gd name="T4" fmla="*/ 3 w 4"/>
                <a:gd name="T5" fmla="*/ 291 h 319"/>
                <a:gd name="T6" fmla="*/ 3 w 4"/>
                <a:gd name="T7" fmla="*/ 278 h 319"/>
                <a:gd name="T8" fmla="*/ 3 w 4"/>
                <a:gd name="T9" fmla="*/ 255 h 319"/>
                <a:gd name="T10" fmla="*/ 3 w 4"/>
                <a:gd name="T11" fmla="*/ 241 h 319"/>
                <a:gd name="T12" fmla="*/ 2 w 4"/>
                <a:gd name="T13" fmla="*/ 214 h 319"/>
                <a:gd name="T14" fmla="*/ 1 w 4"/>
                <a:gd name="T15" fmla="*/ 191 h 319"/>
                <a:gd name="T16" fmla="*/ 0 w 4"/>
                <a:gd name="T17" fmla="*/ 173 h 319"/>
                <a:gd name="T18" fmla="*/ 0 w 4"/>
                <a:gd name="T19" fmla="*/ 158 h 319"/>
                <a:gd name="T20" fmla="*/ 0 w 4"/>
                <a:gd name="T21" fmla="*/ 145 h 319"/>
                <a:gd name="T22" fmla="*/ 0 w 4"/>
                <a:gd name="T23" fmla="*/ 138 h 319"/>
                <a:gd name="T24" fmla="*/ 0 w 4"/>
                <a:gd name="T25" fmla="*/ 120 h 319"/>
                <a:gd name="T26" fmla="*/ 0 w 4"/>
                <a:gd name="T27" fmla="*/ 98 h 319"/>
                <a:gd name="T28" fmla="*/ 1 w 4"/>
                <a:gd name="T29" fmla="*/ 78 h 319"/>
                <a:gd name="T30" fmla="*/ 1 w 4"/>
                <a:gd name="T31" fmla="*/ 53 h 319"/>
                <a:gd name="T32" fmla="*/ 1 w 4"/>
                <a:gd name="T33" fmla="*/ 36 h 319"/>
                <a:gd name="T34" fmla="*/ 1 w 4"/>
                <a:gd name="T35" fmla="*/ 20 h 319"/>
                <a:gd name="T36" fmla="*/ 1 w 4"/>
                <a:gd name="T37" fmla="*/ 1 h 319"/>
                <a:gd name="T38" fmla="*/ 3 w 4"/>
                <a:gd name="T39" fmla="*/ 5 h 319"/>
                <a:gd name="T40" fmla="*/ 3 w 4"/>
                <a:gd name="T41" fmla="*/ 18 h 319"/>
                <a:gd name="T42" fmla="*/ 3 w 4"/>
                <a:gd name="T43" fmla="*/ 27 h 319"/>
                <a:gd name="T44" fmla="*/ 2 w 4"/>
                <a:gd name="T45" fmla="*/ 41 h 319"/>
                <a:gd name="T46" fmla="*/ 2 w 4"/>
                <a:gd name="T47" fmla="*/ 60 h 319"/>
                <a:gd name="T48" fmla="*/ 2 w 4"/>
                <a:gd name="T49" fmla="*/ 87 h 319"/>
                <a:gd name="T50" fmla="*/ 2 w 4"/>
                <a:gd name="T51" fmla="*/ 106 h 319"/>
                <a:gd name="T52" fmla="*/ 2 w 4"/>
                <a:gd name="T53" fmla="*/ 133 h 319"/>
                <a:gd name="T54" fmla="*/ 2 w 4"/>
                <a:gd name="T55" fmla="*/ 147 h 319"/>
                <a:gd name="T56" fmla="*/ 2 w 4"/>
                <a:gd name="T57" fmla="*/ 166 h 319"/>
                <a:gd name="T58" fmla="*/ 2 w 4"/>
                <a:gd name="T59" fmla="*/ 182 h 319"/>
                <a:gd name="T60" fmla="*/ 2 w 4"/>
                <a:gd name="T61" fmla="*/ 199 h 319"/>
                <a:gd name="T62" fmla="*/ 3 w 4"/>
                <a:gd name="T63" fmla="*/ 221 h 319"/>
                <a:gd name="T64" fmla="*/ 4 w 4"/>
                <a:gd name="T65" fmla="*/ 243 h 319"/>
                <a:gd name="T66" fmla="*/ 4 w 4"/>
                <a:gd name="T67" fmla="*/ 258 h 319"/>
                <a:gd name="T68" fmla="*/ 4 w 4"/>
                <a:gd name="T69" fmla="*/ 269 h 319"/>
                <a:gd name="T70" fmla="*/ 4 w 4"/>
                <a:gd name="T71" fmla="*/ 298 h 319"/>
                <a:gd name="T72" fmla="*/ 3 w 4"/>
                <a:gd name="T73" fmla="*/ 31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" h="319">
                  <a:moveTo>
                    <a:pt x="3" y="319"/>
                  </a:moveTo>
                  <a:cubicBezTo>
                    <a:pt x="3" y="319"/>
                    <a:pt x="3" y="319"/>
                    <a:pt x="3" y="319"/>
                  </a:cubicBezTo>
                  <a:cubicBezTo>
                    <a:pt x="3" y="318"/>
                    <a:pt x="3" y="318"/>
                    <a:pt x="3" y="317"/>
                  </a:cubicBezTo>
                  <a:cubicBezTo>
                    <a:pt x="3" y="313"/>
                    <a:pt x="3" y="309"/>
                    <a:pt x="3" y="305"/>
                  </a:cubicBezTo>
                  <a:cubicBezTo>
                    <a:pt x="3" y="303"/>
                    <a:pt x="3" y="302"/>
                    <a:pt x="3" y="300"/>
                  </a:cubicBezTo>
                  <a:cubicBezTo>
                    <a:pt x="3" y="297"/>
                    <a:pt x="3" y="294"/>
                    <a:pt x="3" y="291"/>
                  </a:cubicBezTo>
                  <a:cubicBezTo>
                    <a:pt x="3" y="288"/>
                    <a:pt x="3" y="285"/>
                    <a:pt x="3" y="282"/>
                  </a:cubicBezTo>
                  <a:cubicBezTo>
                    <a:pt x="3" y="281"/>
                    <a:pt x="3" y="279"/>
                    <a:pt x="3" y="278"/>
                  </a:cubicBezTo>
                  <a:cubicBezTo>
                    <a:pt x="3" y="275"/>
                    <a:pt x="3" y="273"/>
                    <a:pt x="3" y="270"/>
                  </a:cubicBezTo>
                  <a:cubicBezTo>
                    <a:pt x="3" y="265"/>
                    <a:pt x="3" y="260"/>
                    <a:pt x="3" y="255"/>
                  </a:cubicBezTo>
                  <a:cubicBezTo>
                    <a:pt x="3" y="253"/>
                    <a:pt x="3" y="251"/>
                    <a:pt x="3" y="250"/>
                  </a:cubicBezTo>
                  <a:cubicBezTo>
                    <a:pt x="3" y="247"/>
                    <a:pt x="3" y="244"/>
                    <a:pt x="3" y="241"/>
                  </a:cubicBezTo>
                  <a:cubicBezTo>
                    <a:pt x="3" y="238"/>
                    <a:pt x="3" y="234"/>
                    <a:pt x="2" y="231"/>
                  </a:cubicBezTo>
                  <a:cubicBezTo>
                    <a:pt x="2" y="225"/>
                    <a:pt x="2" y="220"/>
                    <a:pt x="2" y="214"/>
                  </a:cubicBezTo>
                  <a:cubicBezTo>
                    <a:pt x="2" y="210"/>
                    <a:pt x="1" y="206"/>
                    <a:pt x="1" y="202"/>
                  </a:cubicBezTo>
                  <a:cubicBezTo>
                    <a:pt x="1" y="198"/>
                    <a:pt x="1" y="195"/>
                    <a:pt x="1" y="191"/>
                  </a:cubicBezTo>
                  <a:cubicBezTo>
                    <a:pt x="1" y="188"/>
                    <a:pt x="0" y="185"/>
                    <a:pt x="0" y="182"/>
                  </a:cubicBezTo>
                  <a:cubicBezTo>
                    <a:pt x="0" y="179"/>
                    <a:pt x="0" y="176"/>
                    <a:pt x="0" y="173"/>
                  </a:cubicBezTo>
                  <a:cubicBezTo>
                    <a:pt x="0" y="170"/>
                    <a:pt x="0" y="166"/>
                    <a:pt x="0" y="163"/>
                  </a:cubicBezTo>
                  <a:cubicBezTo>
                    <a:pt x="0" y="161"/>
                    <a:pt x="0" y="160"/>
                    <a:pt x="0" y="158"/>
                  </a:cubicBezTo>
                  <a:cubicBezTo>
                    <a:pt x="0" y="156"/>
                    <a:pt x="0" y="154"/>
                    <a:pt x="0" y="153"/>
                  </a:cubicBezTo>
                  <a:cubicBezTo>
                    <a:pt x="0" y="150"/>
                    <a:pt x="0" y="147"/>
                    <a:pt x="0" y="145"/>
                  </a:cubicBezTo>
                  <a:cubicBezTo>
                    <a:pt x="0" y="143"/>
                    <a:pt x="0" y="142"/>
                    <a:pt x="0" y="140"/>
                  </a:cubicBezTo>
                  <a:cubicBezTo>
                    <a:pt x="0" y="140"/>
                    <a:pt x="0" y="139"/>
                    <a:pt x="0" y="138"/>
                  </a:cubicBezTo>
                  <a:cubicBezTo>
                    <a:pt x="0" y="136"/>
                    <a:pt x="0" y="134"/>
                    <a:pt x="0" y="132"/>
                  </a:cubicBezTo>
                  <a:cubicBezTo>
                    <a:pt x="0" y="128"/>
                    <a:pt x="0" y="124"/>
                    <a:pt x="0" y="120"/>
                  </a:cubicBezTo>
                  <a:cubicBezTo>
                    <a:pt x="0" y="118"/>
                    <a:pt x="0" y="116"/>
                    <a:pt x="0" y="113"/>
                  </a:cubicBezTo>
                  <a:cubicBezTo>
                    <a:pt x="1" y="108"/>
                    <a:pt x="0" y="103"/>
                    <a:pt x="0" y="98"/>
                  </a:cubicBezTo>
                  <a:cubicBezTo>
                    <a:pt x="1" y="95"/>
                    <a:pt x="1" y="93"/>
                    <a:pt x="1" y="91"/>
                  </a:cubicBezTo>
                  <a:cubicBezTo>
                    <a:pt x="1" y="87"/>
                    <a:pt x="1" y="82"/>
                    <a:pt x="1" y="78"/>
                  </a:cubicBezTo>
                  <a:cubicBezTo>
                    <a:pt x="1" y="75"/>
                    <a:pt x="1" y="71"/>
                    <a:pt x="1" y="67"/>
                  </a:cubicBezTo>
                  <a:cubicBezTo>
                    <a:pt x="1" y="62"/>
                    <a:pt x="1" y="58"/>
                    <a:pt x="1" y="53"/>
                  </a:cubicBezTo>
                  <a:cubicBezTo>
                    <a:pt x="1" y="50"/>
                    <a:pt x="1" y="48"/>
                    <a:pt x="1" y="45"/>
                  </a:cubicBezTo>
                  <a:cubicBezTo>
                    <a:pt x="1" y="42"/>
                    <a:pt x="1" y="39"/>
                    <a:pt x="1" y="36"/>
                  </a:cubicBezTo>
                  <a:cubicBezTo>
                    <a:pt x="1" y="34"/>
                    <a:pt x="1" y="32"/>
                    <a:pt x="1" y="30"/>
                  </a:cubicBezTo>
                  <a:cubicBezTo>
                    <a:pt x="2" y="26"/>
                    <a:pt x="1" y="23"/>
                    <a:pt x="1" y="20"/>
                  </a:cubicBezTo>
                  <a:cubicBezTo>
                    <a:pt x="1" y="16"/>
                    <a:pt x="2" y="13"/>
                    <a:pt x="1" y="9"/>
                  </a:cubicBezTo>
                  <a:cubicBezTo>
                    <a:pt x="1" y="6"/>
                    <a:pt x="1" y="3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3" y="3"/>
                    <a:pt x="3" y="5"/>
                  </a:cubicBezTo>
                  <a:cubicBezTo>
                    <a:pt x="3" y="7"/>
                    <a:pt x="3" y="8"/>
                    <a:pt x="3" y="10"/>
                  </a:cubicBezTo>
                  <a:cubicBezTo>
                    <a:pt x="3" y="13"/>
                    <a:pt x="3" y="15"/>
                    <a:pt x="3" y="18"/>
                  </a:cubicBezTo>
                  <a:cubicBezTo>
                    <a:pt x="3" y="20"/>
                    <a:pt x="3" y="22"/>
                    <a:pt x="3" y="24"/>
                  </a:cubicBezTo>
                  <a:cubicBezTo>
                    <a:pt x="3" y="25"/>
                    <a:pt x="3" y="26"/>
                    <a:pt x="3" y="27"/>
                  </a:cubicBezTo>
                  <a:cubicBezTo>
                    <a:pt x="3" y="29"/>
                    <a:pt x="3" y="31"/>
                    <a:pt x="3" y="33"/>
                  </a:cubicBezTo>
                  <a:cubicBezTo>
                    <a:pt x="3" y="35"/>
                    <a:pt x="2" y="38"/>
                    <a:pt x="2" y="41"/>
                  </a:cubicBezTo>
                  <a:cubicBezTo>
                    <a:pt x="3" y="43"/>
                    <a:pt x="2" y="45"/>
                    <a:pt x="2" y="47"/>
                  </a:cubicBezTo>
                  <a:cubicBezTo>
                    <a:pt x="2" y="51"/>
                    <a:pt x="2" y="56"/>
                    <a:pt x="2" y="60"/>
                  </a:cubicBezTo>
                  <a:cubicBezTo>
                    <a:pt x="2" y="65"/>
                    <a:pt x="2" y="69"/>
                    <a:pt x="2" y="73"/>
                  </a:cubicBezTo>
                  <a:cubicBezTo>
                    <a:pt x="2" y="78"/>
                    <a:pt x="2" y="82"/>
                    <a:pt x="2" y="87"/>
                  </a:cubicBezTo>
                  <a:cubicBezTo>
                    <a:pt x="2" y="90"/>
                    <a:pt x="2" y="94"/>
                    <a:pt x="2" y="98"/>
                  </a:cubicBezTo>
                  <a:cubicBezTo>
                    <a:pt x="1" y="100"/>
                    <a:pt x="2" y="103"/>
                    <a:pt x="2" y="106"/>
                  </a:cubicBezTo>
                  <a:cubicBezTo>
                    <a:pt x="2" y="110"/>
                    <a:pt x="2" y="113"/>
                    <a:pt x="1" y="117"/>
                  </a:cubicBezTo>
                  <a:cubicBezTo>
                    <a:pt x="1" y="122"/>
                    <a:pt x="2" y="127"/>
                    <a:pt x="2" y="133"/>
                  </a:cubicBezTo>
                  <a:cubicBezTo>
                    <a:pt x="2" y="136"/>
                    <a:pt x="2" y="139"/>
                    <a:pt x="2" y="143"/>
                  </a:cubicBezTo>
                  <a:cubicBezTo>
                    <a:pt x="2" y="144"/>
                    <a:pt x="2" y="145"/>
                    <a:pt x="2" y="147"/>
                  </a:cubicBezTo>
                  <a:cubicBezTo>
                    <a:pt x="2" y="151"/>
                    <a:pt x="2" y="156"/>
                    <a:pt x="2" y="161"/>
                  </a:cubicBezTo>
                  <a:cubicBezTo>
                    <a:pt x="2" y="163"/>
                    <a:pt x="2" y="164"/>
                    <a:pt x="2" y="166"/>
                  </a:cubicBezTo>
                  <a:cubicBezTo>
                    <a:pt x="2" y="167"/>
                    <a:pt x="2" y="168"/>
                    <a:pt x="2" y="170"/>
                  </a:cubicBezTo>
                  <a:cubicBezTo>
                    <a:pt x="2" y="174"/>
                    <a:pt x="2" y="178"/>
                    <a:pt x="2" y="182"/>
                  </a:cubicBezTo>
                  <a:cubicBezTo>
                    <a:pt x="2" y="185"/>
                    <a:pt x="2" y="188"/>
                    <a:pt x="2" y="191"/>
                  </a:cubicBezTo>
                  <a:cubicBezTo>
                    <a:pt x="2" y="193"/>
                    <a:pt x="2" y="196"/>
                    <a:pt x="2" y="199"/>
                  </a:cubicBezTo>
                  <a:cubicBezTo>
                    <a:pt x="2" y="202"/>
                    <a:pt x="2" y="205"/>
                    <a:pt x="3" y="208"/>
                  </a:cubicBezTo>
                  <a:cubicBezTo>
                    <a:pt x="3" y="212"/>
                    <a:pt x="3" y="217"/>
                    <a:pt x="3" y="221"/>
                  </a:cubicBezTo>
                  <a:cubicBezTo>
                    <a:pt x="3" y="224"/>
                    <a:pt x="3" y="228"/>
                    <a:pt x="3" y="231"/>
                  </a:cubicBezTo>
                  <a:cubicBezTo>
                    <a:pt x="4" y="235"/>
                    <a:pt x="4" y="239"/>
                    <a:pt x="4" y="243"/>
                  </a:cubicBezTo>
                  <a:cubicBezTo>
                    <a:pt x="4" y="246"/>
                    <a:pt x="4" y="248"/>
                    <a:pt x="4" y="250"/>
                  </a:cubicBezTo>
                  <a:cubicBezTo>
                    <a:pt x="4" y="253"/>
                    <a:pt x="4" y="255"/>
                    <a:pt x="4" y="258"/>
                  </a:cubicBezTo>
                  <a:cubicBezTo>
                    <a:pt x="4" y="261"/>
                    <a:pt x="4" y="264"/>
                    <a:pt x="4" y="267"/>
                  </a:cubicBezTo>
                  <a:cubicBezTo>
                    <a:pt x="4" y="268"/>
                    <a:pt x="4" y="268"/>
                    <a:pt x="4" y="269"/>
                  </a:cubicBezTo>
                  <a:cubicBezTo>
                    <a:pt x="4" y="276"/>
                    <a:pt x="4" y="283"/>
                    <a:pt x="4" y="291"/>
                  </a:cubicBezTo>
                  <a:cubicBezTo>
                    <a:pt x="4" y="293"/>
                    <a:pt x="4" y="296"/>
                    <a:pt x="4" y="298"/>
                  </a:cubicBezTo>
                  <a:cubicBezTo>
                    <a:pt x="4" y="301"/>
                    <a:pt x="4" y="305"/>
                    <a:pt x="4" y="308"/>
                  </a:cubicBezTo>
                  <a:cubicBezTo>
                    <a:pt x="4" y="312"/>
                    <a:pt x="4" y="315"/>
                    <a:pt x="3" y="319"/>
                  </a:cubicBezTo>
                  <a:close/>
                </a:path>
              </a:pathLst>
            </a:custGeom>
            <a:grpFill/>
            <a:ln w="9525">
              <a:solidFill>
                <a:srgbClr val="5B9BD5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sp>
        <p:nvSpPr>
          <p:cNvPr id="230" name="Rectangle 8"/>
          <p:cNvSpPr>
            <a:spLocks noChangeArrowheads="1"/>
          </p:cNvSpPr>
          <p:nvPr/>
        </p:nvSpPr>
        <p:spPr bwMode="auto">
          <a:xfrm>
            <a:off x="1597885" y="1325974"/>
            <a:ext cx="148309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Fatture</a:t>
            </a:r>
            <a:r>
              <a:rPr kumimoji="0" lang="en-GB" altLang="it-IT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 Passive</a:t>
            </a:r>
          </a:p>
        </p:txBody>
      </p:sp>
      <p:sp>
        <p:nvSpPr>
          <p:cNvPr id="270" name="Rectangle 160"/>
          <p:cNvSpPr>
            <a:spLocks noChangeArrowheads="1"/>
          </p:cNvSpPr>
          <p:nvPr/>
        </p:nvSpPr>
        <p:spPr bwMode="auto">
          <a:xfrm>
            <a:off x="1647997" y="1672695"/>
            <a:ext cx="143661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altLang="it-IT" sz="2400" b="1" i="1" kern="0" dirty="0" smtClean="0">
                <a:solidFill>
                  <a:prstClr val="black"/>
                </a:solidFill>
              </a:rPr>
              <a:t>3.919.996</a:t>
            </a:r>
            <a:endParaRPr kumimoji="0" lang="it-IT" altLang="it-IT" sz="2400" b="1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272" name="Rectangle 162"/>
          <p:cNvSpPr>
            <a:spLocks noChangeArrowheads="1"/>
          </p:cNvSpPr>
          <p:nvPr/>
        </p:nvSpPr>
        <p:spPr bwMode="auto">
          <a:xfrm>
            <a:off x="4331647" y="1672695"/>
            <a:ext cx="119936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altLang="it-IT" sz="2400" b="1" i="1" kern="0" dirty="0" smtClean="0">
                <a:solidFill>
                  <a:prstClr val="black"/>
                </a:solidFill>
              </a:rPr>
              <a:t>167.143</a:t>
            </a:r>
            <a:endParaRPr kumimoji="0" lang="it-IT" altLang="it-IT" sz="2400" b="1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grpSp>
        <p:nvGrpSpPr>
          <p:cNvPr id="236" name="Group 235"/>
          <p:cNvGrpSpPr/>
          <p:nvPr/>
        </p:nvGrpSpPr>
        <p:grpSpPr>
          <a:xfrm>
            <a:off x="445287" y="4199126"/>
            <a:ext cx="1688968" cy="1643879"/>
            <a:chOff x="12138026" y="5800725"/>
            <a:chExt cx="1058862" cy="1547813"/>
          </a:xfrm>
          <a:solidFill>
            <a:srgbClr val="00B050"/>
          </a:solidFill>
        </p:grpSpPr>
        <p:sp>
          <p:nvSpPr>
            <p:cNvPr id="237" name="Freeform 602"/>
            <p:cNvSpPr>
              <a:spLocks noEditPoints="1"/>
            </p:cNvSpPr>
            <p:nvPr/>
          </p:nvSpPr>
          <p:spPr bwMode="auto">
            <a:xfrm>
              <a:off x="12138026" y="5800725"/>
              <a:ext cx="981075" cy="163513"/>
            </a:xfrm>
            <a:custGeom>
              <a:avLst/>
              <a:gdLst>
                <a:gd name="T0" fmla="*/ 144 w 227"/>
                <a:gd name="T1" fmla="*/ 24 h 38"/>
                <a:gd name="T2" fmla="*/ 184 w 227"/>
                <a:gd name="T3" fmla="*/ 23 h 38"/>
                <a:gd name="T4" fmla="*/ 213 w 227"/>
                <a:gd name="T5" fmla="*/ 22 h 38"/>
                <a:gd name="T6" fmla="*/ 226 w 227"/>
                <a:gd name="T7" fmla="*/ 23 h 38"/>
                <a:gd name="T8" fmla="*/ 209 w 227"/>
                <a:gd name="T9" fmla="*/ 24 h 38"/>
                <a:gd name="T10" fmla="*/ 170 w 227"/>
                <a:gd name="T11" fmla="*/ 25 h 38"/>
                <a:gd name="T12" fmla="*/ 145 w 227"/>
                <a:gd name="T13" fmla="*/ 25 h 38"/>
                <a:gd name="T14" fmla="*/ 136 w 227"/>
                <a:gd name="T15" fmla="*/ 30 h 38"/>
                <a:gd name="T16" fmla="*/ 134 w 227"/>
                <a:gd name="T17" fmla="*/ 37 h 38"/>
                <a:gd name="T18" fmla="*/ 128 w 227"/>
                <a:gd name="T19" fmla="*/ 38 h 38"/>
                <a:gd name="T20" fmla="*/ 119 w 227"/>
                <a:gd name="T21" fmla="*/ 31 h 38"/>
                <a:gd name="T22" fmla="*/ 128 w 227"/>
                <a:gd name="T23" fmla="*/ 28 h 38"/>
                <a:gd name="T24" fmla="*/ 116 w 227"/>
                <a:gd name="T25" fmla="*/ 25 h 38"/>
                <a:gd name="T26" fmla="*/ 81 w 227"/>
                <a:gd name="T27" fmla="*/ 25 h 38"/>
                <a:gd name="T28" fmla="*/ 63 w 227"/>
                <a:gd name="T29" fmla="*/ 25 h 38"/>
                <a:gd name="T30" fmla="*/ 29 w 227"/>
                <a:gd name="T31" fmla="*/ 24 h 38"/>
                <a:gd name="T32" fmla="*/ 2 w 227"/>
                <a:gd name="T33" fmla="*/ 23 h 38"/>
                <a:gd name="T34" fmla="*/ 11 w 227"/>
                <a:gd name="T35" fmla="*/ 21 h 38"/>
                <a:gd name="T36" fmla="*/ 31 w 227"/>
                <a:gd name="T37" fmla="*/ 22 h 38"/>
                <a:gd name="T38" fmla="*/ 47 w 227"/>
                <a:gd name="T39" fmla="*/ 22 h 38"/>
                <a:gd name="T40" fmla="*/ 90 w 227"/>
                <a:gd name="T41" fmla="*/ 23 h 38"/>
                <a:gd name="T42" fmla="*/ 116 w 227"/>
                <a:gd name="T43" fmla="*/ 23 h 38"/>
                <a:gd name="T44" fmla="*/ 137 w 227"/>
                <a:gd name="T45" fmla="*/ 15 h 38"/>
                <a:gd name="T46" fmla="*/ 134 w 227"/>
                <a:gd name="T47" fmla="*/ 7 h 38"/>
                <a:gd name="T48" fmla="*/ 138 w 227"/>
                <a:gd name="T49" fmla="*/ 10 h 38"/>
                <a:gd name="T50" fmla="*/ 138 w 227"/>
                <a:gd name="T51" fmla="*/ 2 h 38"/>
                <a:gd name="T52" fmla="*/ 146 w 227"/>
                <a:gd name="T53" fmla="*/ 1 h 38"/>
                <a:gd name="T54" fmla="*/ 156 w 227"/>
                <a:gd name="T55" fmla="*/ 18 h 38"/>
                <a:gd name="T56" fmla="*/ 147 w 227"/>
                <a:gd name="T57" fmla="*/ 21 h 38"/>
                <a:gd name="T58" fmla="*/ 144 w 227"/>
                <a:gd name="T59" fmla="*/ 10 h 38"/>
                <a:gd name="T60" fmla="*/ 145 w 227"/>
                <a:gd name="T61" fmla="*/ 17 h 38"/>
                <a:gd name="T62" fmla="*/ 146 w 227"/>
                <a:gd name="T63" fmla="*/ 3 h 38"/>
                <a:gd name="T64" fmla="*/ 145 w 227"/>
                <a:gd name="T65" fmla="*/ 9 h 38"/>
                <a:gd name="T66" fmla="*/ 132 w 227"/>
                <a:gd name="T67" fmla="*/ 32 h 38"/>
                <a:gd name="T68" fmla="*/ 145 w 227"/>
                <a:gd name="T69" fmla="*/ 20 h 38"/>
                <a:gd name="T70" fmla="*/ 132 w 227"/>
                <a:gd name="T71" fmla="*/ 24 h 38"/>
                <a:gd name="T72" fmla="*/ 126 w 227"/>
                <a:gd name="T73" fmla="*/ 34 h 38"/>
                <a:gd name="T74" fmla="*/ 147 w 227"/>
                <a:gd name="T75" fmla="*/ 17 h 38"/>
                <a:gd name="T76" fmla="*/ 148 w 227"/>
                <a:gd name="T77" fmla="*/ 19 h 38"/>
                <a:gd name="T78" fmla="*/ 152 w 227"/>
                <a:gd name="T79" fmla="*/ 9 h 38"/>
                <a:gd name="T80" fmla="*/ 151 w 227"/>
                <a:gd name="T81" fmla="*/ 16 h 38"/>
                <a:gd name="T82" fmla="*/ 150 w 227"/>
                <a:gd name="T83" fmla="*/ 15 h 38"/>
                <a:gd name="T84" fmla="*/ 148 w 227"/>
                <a:gd name="T85" fmla="*/ 5 h 38"/>
                <a:gd name="T86" fmla="*/ 140 w 227"/>
                <a:gd name="T87" fmla="*/ 10 h 38"/>
                <a:gd name="T88" fmla="*/ 143 w 227"/>
                <a:gd name="T89" fmla="*/ 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7" h="38">
                  <a:moveTo>
                    <a:pt x="146" y="20"/>
                  </a:moveTo>
                  <a:cubicBezTo>
                    <a:pt x="145" y="21"/>
                    <a:pt x="144" y="22"/>
                    <a:pt x="143" y="24"/>
                  </a:cubicBezTo>
                  <a:cubicBezTo>
                    <a:pt x="144" y="24"/>
                    <a:pt x="144" y="24"/>
                    <a:pt x="144" y="24"/>
                  </a:cubicBezTo>
                  <a:cubicBezTo>
                    <a:pt x="152" y="24"/>
                    <a:pt x="160" y="24"/>
                    <a:pt x="168" y="24"/>
                  </a:cubicBezTo>
                  <a:cubicBezTo>
                    <a:pt x="172" y="23"/>
                    <a:pt x="176" y="23"/>
                    <a:pt x="180" y="23"/>
                  </a:cubicBezTo>
                  <a:cubicBezTo>
                    <a:pt x="182" y="23"/>
                    <a:pt x="183" y="23"/>
                    <a:pt x="184" y="23"/>
                  </a:cubicBezTo>
                  <a:cubicBezTo>
                    <a:pt x="187" y="23"/>
                    <a:pt x="190" y="23"/>
                    <a:pt x="192" y="23"/>
                  </a:cubicBezTo>
                  <a:cubicBezTo>
                    <a:pt x="196" y="23"/>
                    <a:pt x="199" y="23"/>
                    <a:pt x="202" y="23"/>
                  </a:cubicBezTo>
                  <a:cubicBezTo>
                    <a:pt x="206" y="22"/>
                    <a:pt x="210" y="22"/>
                    <a:pt x="213" y="22"/>
                  </a:cubicBezTo>
                  <a:cubicBezTo>
                    <a:pt x="216" y="22"/>
                    <a:pt x="219" y="22"/>
                    <a:pt x="221" y="22"/>
                  </a:cubicBezTo>
                  <a:cubicBezTo>
                    <a:pt x="223" y="22"/>
                    <a:pt x="225" y="22"/>
                    <a:pt x="227" y="23"/>
                  </a:cubicBezTo>
                  <a:cubicBezTo>
                    <a:pt x="226" y="23"/>
                    <a:pt x="226" y="23"/>
                    <a:pt x="226" y="23"/>
                  </a:cubicBezTo>
                  <a:cubicBezTo>
                    <a:pt x="225" y="23"/>
                    <a:pt x="225" y="23"/>
                    <a:pt x="224" y="23"/>
                  </a:cubicBezTo>
                  <a:cubicBezTo>
                    <a:pt x="221" y="23"/>
                    <a:pt x="217" y="24"/>
                    <a:pt x="214" y="24"/>
                  </a:cubicBezTo>
                  <a:cubicBezTo>
                    <a:pt x="212" y="24"/>
                    <a:pt x="211" y="24"/>
                    <a:pt x="209" y="24"/>
                  </a:cubicBezTo>
                  <a:cubicBezTo>
                    <a:pt x="205" y="24"/>
                    <a:pt x="201" y="24"/>
                    <a:pt x="197" y="24"/>
                  </a:cubicBezTo>
                  <a:cubicBezTo>
                    <a:pt x="191" y="24"/>
                    <a:pt x="185" y="25"/>
                    <a:pt x="178" y="25"/>
                  </a:cubicBezTo>
                  <a:cubicBezTo>
                    <a:pt x="176" y="25"/>
                    <a:pt x="173" y="25"/>
                    <a:pt x="170" y="25"/>
                  </a:cubicBezTo>
                  <a:cubicBezTo>
                    <a:pt x="167" y="25"/>
                    <a:pt x="164" y="25"/>
                    <a:pt x="162" y="25"/>
                  </a:cubicBezTo>
                  <a:cubicBezTo>
                    <a:pt x="160" y="25"/>
                    <a:pt x="158" y="25"/>
                    <a:pt x="156" y="25"/>
                  </a:cubicBezTo>
                  <a:cubicBezTo>
                    <a:pt x="152" y="25"/>
                    <a:pt x="149" y="25"/>
                    <a:pt x="145" y="25"/>
                  </a:cubicBezTo>
                  <a:cubicBezTo>
                    <a:pt x="144" y="25"/>
                    <a:pt x="143" y="25"/>
                    <a:pt x="142" y="25"/>
                  </a:cubicBezTo>
                  <a:cubicBezTo>
                    <a:pt x="141" y="25"/>
                    <a:pt x="141" y="26"/>
                    <a:pt x="141" y="26"/>
                  </a:cubicBezTo>
                  <a:cubicBezTo>
                    <a:pt x="139" y="27"/>
                    <a:pt x="138" y="29"/>
                    <a:pt x="136" y="30"/>
                  </a:cubicBezTo>
                  <a:cubicBezTo>
                    <a:pt x="135" y="31"/>
                    <a:pt x="134" y="32"/>
                    <a:pt x="133" y="33"/>
                  </a:cubicBezTo>
                  <a:cubicBezTo>
                    <a:pt x="132" y="34"/>
                    <a:pt x="132" y="35"/>
                    <a:pt x="131" y="35"/>
                  </a:cubicBezTo>
                  <a:cubicBezTo>
                    <a:pt x="132" y="36"/>
                    <a:pt x="134" y="36"/>
                    <a:pt x="134" y="37"/>
                  </a:cubicBezTo>
                  <a:cubicBezTo>
                    <a:pt x="133" y="38"/>
                    <a:pt x="132" y="37"/>
                    <a:pt x="130" y="37"/>
                  </a:cubicBezTo>
                  <a:cubicBezTo>
                    <a:pt x="130" y="38"/>
                    <a:pt x="129" y="38"/>
                    <a:pt x="129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6"/>
                    <a:pt x="126" y="36"/>
                    <a:pt x="125" y="36"/>
                  </a:cubicBezTo>
                  <a:cubicBezTo>
                    <a:pt x="123" y="35"/>
                    <a:pt x="121" y="34"/>
                    <a:pt x="119" y="33"/>
                  </a:cubicBezTo>
                  <a:cubicBezTo>
                    <a:pt x="119" y="33"/>
                    <a:pt x="119" y="32"/>
                    <a:pt x="119" y="31"/>
                  </a:cubicBezTo>
                  <a:cubicBezTo>
                    <a:pt x="120" y="32"/>
                    <a:pt x="122" y="33"/>
                    <a:pt x="123" y="33"/>
                  </a:cubicBezTo>
                  <a:cubicBezTo>
                    <a:pt x="124" y="34"/>
                    <a:pt x="124" y="34"/>
                    <a:pt x="125" y="33"/>
                  </a:cubicBezTo>
                  <a:cubicBezTo>
                    <a:pt x="126" y="31"/>
                    <a:pt x="127" y="29"/>
                    <a:pt x="128" y="28"/>
                  </a:cubicBezTo>
                  <a:cubicBezTo>
                    <a:pt x="128" y="27"/>
                    <a:pt x="129" y="26"/>
                    <a:pt x="129" y="26"/>
                  </a:cubicBezTo>
                  <a:cubicBezTo>
                    <a:pt x="129" y="25"/>
                    <a:pt x="129" y="25"/>
                    <a:pt x="128" y="25"/>
                  </a:cubicBezTo>
                  <a:cubicBezTo>
                    <a:pt x="124" y="25"/>
                    <a:pt x="120" y="25"/>
                    <a:pt x="116" y="25"/>
                  </a:cubicBezTo>
                  <a:cubicBezTo>
                    <a:pt x="111" y="25"/>
                    <a:pt x="106" y="25"/>
                    <a:pt x="102" y="25"/>
                  </a:cubicBezTo>
                  <a:cubicBezTo>
                    <a:pt x="99" y="25"/>
                    <a:pt x="97" y="25"/>
                    <a:pt x="94" y="25"/>
                  </a:cubicBezTo>
                  <a:cubicBezTo>
                    <a:pt x="90" y="25"/>
                    <a:pt x="86" y="25"/>
                    <a:pt x="81" y="25"/>
                  </a:cubicBezTo>
                  <a:cubicBezTo>
                    <a:pt x="80" y="25"/>
                    <a:pt x="79" y="25"/>
                    <a:pt x="78" y="25"/>
                  </a:cubicBezTo>
                  <a:cubicBezTo>
                    <a:pt x="76" y="25"/>
                    <a:pt x="75" y="25"/>
                    <a:pt x="73" y="25"/>
                  </a:cubicBezTo>
                  <a:cubicBezTo>
                    <a:pt x="70" y="25"/>
                    <a:pt x="66" y="25"/>
                    <a:pt x="63" y="25"/>
                  </a:cubicBezTo>
                  <a:cubicBezTo>
                    <a:pt x="60" y="24"/>
                    <a:pt x="58" y="24"/>
                    <a:pt x="55" y="24"/>
                  </a:cubicBezTo>
                  <a:cubicBezTo>
                    <a:pt x="53" y="24"/>
                    <a:pt x="51" y="24"/>
                    <a:pt x="48" y="24"/>
                  </a:cubicBezTo>
                  <a:cubicBezTo>
                    <a:pt x="42" y="24"/>
                    <a:pt x="36" y="24"/>
                    <a:pt x="29" y="24"/>
                  </a:cubicBezTo>
                  <a:cubicBezTo>
                    <a:pt x="24" y="24"/>
                    <a:pt x="19" y="24"/>
                    <a:pt x="13" y="23"/>
                  </a:cubicBezTo>
                  <a:cubicBezTo>
                    <a:pt x="11" y="23"/>
                    <a:pt x="9" y="24"/>
                    <a:pt x="7" y="24"/>
                  </a:cubicBezTo>
                  <a:cubicBezTo>
                    <a:pt x="5" y="24"/>
                    <a:pt x="3" y="23"/>
                    <a:pt x="2" y="23"/>
                  </a:cubicBezTo>
                  <a:cubicBezTo>
                    <a:pt x="1" y="23"/>
                    <a:pt x="1" y="23"/>
                    <a:pt x="0" y="22"/>
                  </a:cubicBezTo>
                  <a:cubicBezTo>
                    <a:pt x="2" y="22"/>
                    <a:pt x="3" y="22"/>
                    <a:pt x="5" y="22"/>
                  </a:cubicBezTo>
                  <a:cubicBezTo>
                    <a:pt x="7" y="22"/>
                    <a:pt x="9" y="22"/>
                    <a:pt x="11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2" y="22"/>
                    <a:pt x="14" y="22"/>
                    <a:pt x="15" y="22"/>
                  </a:cubicBezTo>
                  <a:cubicBezTo>
                    <a:pt x="20" y="22"/>
                    <a:pt x="26" y="22"/>
                    <a:pt x="31" y="22"/>
                  </a:cubicBezTo>
                  <a:cubicBezTo>
                    <a:pt x="35" y="22"/>
                    <a:pt x="38" y="22"/>
                    <a:pt x="41" y="22"/>
                  </a:cubicBezTo>
                  <a:cubicBezTo>
                    <a:pt x="42" y="22"/>
                    <a:pt x="43" y="22"/>
                    <a:pt x="44" y="22"/>
                  </a:cubicBezTo>
                  <a:cubicBezTo>
                    <a:pt x="45" y="22"/>
                    <a:pt x="46" y="22"/>
                    <a:pt x="47" y="22"/>
                  </a:cubicBezTo>
                  <a:cubicBezTo>
                    <a:pt x="53" y="23"/>
                    <a:pt x="58" y="23"/>
                    <a:pt x="64" y="23"/>
                  </a:cubicBezTo>
                  <a:cubicBezTo>
                    <a:pt x="69" y="23"/>
                    <a:pt x="74" y="23"/>
                    <a:pt x="80" y="23"/>
                  </a:cubicBezTo>
                  <a:cubicBezTo>
                    <a:pt x="83" y="23"/>
                    <a:pt x="87" y="23"/>
                    <a:pt x="90" y="23"/>
                  </a:cubicBezTo>
                  <a:cubicBezTo>
                    <a:pt x="94" y="23"/>
                    <a:pt x="97" y="23"/>
                    <a:pt x="101" y="23"/>
                  </a:cubicBezTo>
                  <a:cubicBezTo>
                    <a:pt x="104" y="23"/>
                    <a:pt x="107" y="23"/>
                    <a:pt x="110" y="23"/>
                  </a:cubicBezTo>
                  <a:cubicBezTo>
                    <a:pt x="112" y="23"/>
                    <a:pt x="114" y="23"/>
                    <a:pt x="116" y="23"/>
                  </a:cubicBezTo>
                  <a:cubicBezTo>
                    <a:pt x="121" y="23"/>
                    <a:pt x="125" y="23"/>
                    <a:pt x="129" y="24"/>
                  </a:cubicBezTo>
                  <a:cubicBezTo>
                    <a:pt x="130" y="24"/>
                    <a:pt x="131" y="23"/>
                    <a:pt x="132" y="22"/>
                  </a:cubicBezTo>
                  <a:cubicBezTo>
                    <a:pt x="134" y="20"/>
                    <a:pt x="135" y="17"/>
                    <a:pt x="137" y="15"/>
                  </a:cubicBezTo>
                  <a:cubicBezTo>
                    <a:pt x="138" y="15"/>
                    <a:pt x="138" y="14"/>
                    <a:pt x="138" y="14"/>
                  </a:cubicBezTo>
                  <a:cubicBezTo>
                    <a:pt x="138" y="13"/>
                    <a:pt x="137" y="11"/>
                    <a:pt x="136" y="10"/>
                  </a:cubicBezTo>
                  <a:cubicBezTo>
                    <a:pt x="135" y="9"/>
                    <a:pt x="135" y="8"/>
                    <a:pt x="134" y="7"/>
                  </a:cubicBezTo>
                  <a:cubicBezTo>
                    <a:pt x="134" y="6"/>
                    <a:pt x="134" y="6"/>
                    <a:pt x="135" y="5"/>
                  </a:cubicBezTo>
                  <a:cubicBezTo>
                    <a:pt x="136" y="5"/>
                    <a:pt x="136" y="5"/>
                    <a:pt x="136" y="6"/>
                  </a:cubicBezTo>
                  <a:cubicBezTo>
                    <a:pt x="137" y="7"/>
                    <a:pt x="137" y="8"/>
                    <a:pt x="138" y="10"/>
                  </a:cubicBezTo>
                  <a:cubicBezTo>
                    <a:pt x="139" y="7"/>
                    <a:pt x="139" y="4"/>
                    <a:pt x="140" y="1"/>
                  </a:cubicBezTo>
                  <a:cubicBezTo>
                    <a:pt x="139" y="2"/>
                    <a:pt x="139" y="2"/>
                    <a:pt x="139" y="2"/>
                  </a:cubicBezTo>
                  <a:cubicBezTo>
                    <a:pt x="138" y="2"/>
                    <a:pt x="138" y="2"/>
                    <a:pt x="138" y="2"/>
                  </a:cubicBezTo>
                  <a:cubicBezTo>
                    <a:pt x="137" y="1"/>
                    <a:pt x="137" y="1"/>
                    <a:pt x="138" y="0"/>
                  </a:cubicBezTo>
                  <a:cubicBezTo>
                    <a:pt x="139" y="0"/>
                    <a:pt x="140" y="0"/>
                    <a:pt x="141" y="0"/>
                  </a:cubicBezTo>
                  <a:cubicBezTo>
                    <a:pt x="143" y="0"/>
                    <a:pt x="145" y="1"/>
                    <a:pt x="146" y="1"/>
                  </a:cubicBezTo>
                  <a:cubicBezTo>
                    <a:pt x="147" y="2"/>
                    <a:pt x="148" y="2"/>
                    <a:pt x="149" y="3"/>
                  </a:cubicBezTo>
                  <a:cubicBezTo>
                    <a:pt x="152" y="5"/>
                    <a:pt x="154" y="8"/>
                    <a:pt x="155" y="12"/>
                  </a:cubicBezTo>
                  <a:cubicBezTo>
                    <a:pt x="156" y="14"/>
                    <a:pt x="156" y="16"/>
                    <a:pt x="156" y="18"/>
                  </a:cubicBezTo>
                  <a:cubicBezTo>
                    <a:pt x="156" y="19"/>
                    <a:pt x="156" y="20"/>
                    <a:pt x="155" y="21"/>
                  </a:cubicBezTo>
                  <a:cubicBezTo>
                    <a:pt x="154" y="23"/>
                    <a:pt x="153" y="24"/>
                    <a:pt x="151" y="23"/>
                  </a:cubicBezTo>
                  <a:cubicBezTo>
                    <a:pt x="150" y="23"/>
                    <a:pt x="149" y="22"/>
                    <a:pt x="147" y="21"/>
                  </a:cubicBezTo>
                  <a:cubicBezTo>
                    <a:pt x="147" y="21"/>
                    <a:pt x="146" y="21"/>
                    <a:pt x="146" y="20"/>
                  </a:cubicBezTo>
                  <a:close/>
                  <a:moveTo>
                    <a:pt x="145" y="9"/>
                  </a:moveTo>
                  <a:cubicBezTo>
                    <a:pt x="145" y="9"/>
                    <a:pt x="145" y="10"/>
                    <a:pt x="144" y="10"/>
                  </a:cubicBezTo>
                  <a:cubicBezTo>
                    <a:pt x="143" y="11"/>
                    <a:pt x="142" y="12"/>
                    <a:pt x="143" y="14"/>
                  </a:cubicBezTo>
                  <a:cubicBezTo>
                    <a:pt x="142" y="14"/>
                    <a:pt x="142" y="14"/>
                    <a:pt x="142" y="15"/>
                  </a:cubicBezTo>
                  <a:cubicBezTo>
                    <a:pt x="143" y="16"/>
                    <a:pt x="144" y="16"/>
                    <a:pt x="145" y="17"/>
                  </a:cubicBezTo>
                  <a:cubicBezTo>
                    <a:pt x="145" y="14"/>
                    <a:pt x="145" y="12"/>
                    <a:pt x="146" y="9"/>
                  </a:cubicBezTo>
                  <a:cubicBezTo>
                    <a:pt x="146" y="9"/>
                    <a:pt x="146" y="8"/>
                    <a:pt x="146" y="8"/>
                  </a:cubicBezTo>
                  <a:cubicBezTo>
                    <a:pt x="146" y="6"/>
                    <a:pt x="146" y="5"/>
                    <a:pt x="146" y="3"/>
                  </a:cubicBezTo>
                  <a:cubicBezTo>
                    <a:pt x="146" y="3"/>
                    <a:pt x="145" y="3"/>
                    <a:pt x="145" y="3"/>
                  </a:cubicBezTo>
                  <a:cubicBezTo>
                    <a:pt x="144" y="5"/>
                    <a:pt x="144" y="7"/>
                    <a:pt x="143" y="9"/>
                  </a:cubicBezTo>
                  <a:cubicBezTo>
                    <a:pt x="144" y="9"/>
                    <a:pt x="145" y="8"/>
                    <a:pt x="145" y="9"/>
                  </a:cubicBezTo>
                  <a:close/>
                  <a:moveTo>
                    <a:pt x="126" y="34"/>
                  </a:moveTo>
                  <a:cubicBezTo>
                    <a:pt x="128" y="35"/>
                    <a:pt x="129" y="35"/>
                    <a:pt x="130" y="34"/>
                  </a:cubicBezTo>
                  <a:cubicBezTo>
                    <a:pt x="130" y="33"/>
                    <a:pt x="131" y="32"/>
                    <a:pt x="132" y="32"/>
                  </a:cubicBezTo>
                  <a:cubicBezTo>
                    <a:pt x="134" y="30"/>
                    <a:pt x="135" y="28"/>
                    <a:pt x="137" y="27"/>
                  </a:cubicBezTo>
                  <a:cubicBezTo>
                    <a:pt x="138" y="26"/>
                    <a:pt x="138" y="25"/>
                    <a:pt x="139" y="24"/>
                  </a:cubicBezTo>
                  <a:cubicBezTo>
                    <a:pt x="141" y="23"/>
                    <a:pt x="143" y="21"/>
                    <a:pt x="145" y="20"/>
                  </a:cubicBezTo>
                  <a:cubicBezTo>
                    <a:pt x="143" y="18"/>
                    <a:pt x="141" y="17"/>
                    <a:pt x="139" y="15"/>
                  </a:cubicBezTo>
                  <a:cubicBezTo>
                    <a:pt x="139" y="16"/>
                    <a:pt x="138" y="16"/>
                    <a:pt x="138" y="16"/>
                  </a:cubicBezTo>
                  <a:cubicBezTo>
                    <a:pt x="136" y="19"/>
                    <a:pt x="134" y="22"/>
                    <a:pt x="132" y="24"/>
                  </a:cubicBezTo>
                  <a:cubicBezTo>
                    <a:pt x="132" y="24"/>
                    <a:pt x="132" y="24"/>
                    <a:pt x="132" y="25"/>
                  </a:cubicBezTo>
                  <a:cubicBezTo>
                    <a:pt x="131" y="26"/>
                    <a:pt x="130" y="27"/>
                    <a:pt x="129" y="29"/>
                  </a:cubicBezTo>
                  <a:cubicBezTo>
                    <a:pt x="128" y="31"/>
                    <a:pt x="127" y="32"/>
                    <a:pt x="126" y="34"/>
                  </a:cubicBezTo>
                  <a:close/>
                  <a:moveTo>
                    <a:pt x="148" y="5"/>
                  </a:moveTo>
                  <a:cubicBezTo>
                    <a:pt x="148" y="7"/>
                    <a:pt x="147" y="9"/>
                    <a:pt x="147" y="11"/>
                  </a:cubicBezTo>
                  <a:cubicBezTo>
                    <a:pt x="147" y="13"/>
                    <a:pt x="147" y="15"/>
                    <a:pt x="147" y="17"/>
                  </a:cubicBezTo>
                  <a:cubicBezTo>
                    <a:pt x="146" y="17"/>
                    <a:pt x="146" y="17"/>
                    <a:pt x="146" y="18"/>
                  </a:cubicBezTo>
                  <a:cubicBezTo>
                    <a:pt x="146" y="18"/>
                    <a:pt x="147" y="18"/>
                    <a:pt x="147" y="18"/>
                  </a:cubicBezTo>
                  <a:cubicBezTo>
                    <a:pt x="148" y="18"/>
                    <a:pt x="148" y="19"/>
                    <a:pt x="148" y="19"/>
                  </a:cubicBezTo>
                  <a:cubicBezTo>
                    <a:pt x="149" y="20"/>
                    <a:pt x="150" y="20"/>
                    <a:pt x="151" y="21"/>
                  </a:cubicBezTo>
                  <a:cubicBezTo>
                    <a:pt x="153" y="21"/>
                    <a:pt x="154" y="21"/>
                    <a:pt x="154" y="19"/>
                  </a:cubicBezTo>
                  <a:cubicBezTo>
                    <a:pt x="155" y="15"/>
                    <a:pt x="154" y="12"/>
                    <a:pt x="152" y="9"/>
                  </a:cubicBezTo>
                  <a:cubicBezTo>
                    <a:pt x="152" y="9"/>
                    <a:pt x="152" y="9"/>
                    <a:pt x="152" y="9"/>
                  </a:cubicBezTo>
                  <a:cubicBezTo>
                    <a:pt x="152" y="10"/>
                    <a:pt x="152" y="11"/>
                    <a:pt x="152" y="12"/>
                  </a:cubicBezTo>
                  <a:cubicBezTo>
                    <a:pt x="152" y="13"/>
                    <a:pt x="152" y="14"/>
                    <a:pt x="151" y="16"/>
                  </a:cubicBezTo>
                  <a:cubicBezTo>
                    <a:pt x="151" y="16"/>
                    <a:pt x="151" y="16"/>
                    <a:pt x="151" y="16"/>
                  </a:cubicBezTo>
                  <a:cubicBezTo>
                    <a:pt x="151" y="16"/>
                    <a:pt x="150" y="16"/>
                    <a:pt x="150" y="16"/>
                  </a:cubicBezTo>
                  <a:cubicBezTo>
                    <a:pt x="150" y="16"/>
                    <a:pt x="150" y="15"/>
                    <a:pt x="150" y="15"/>
                  </a:cubicBezTo>
                  <a:cubicBezTo>
                    <a:pt x="150" y="14"/>
                    <a:pt x="150" y="12"/>
                    <a:pt x="150" y="11"/>
                  </a:cubicBezTo>
                  <a:cubicBezTo>
                    <a:pt x="149" y="9"/>
                    <a:pt x="150" y="8"/>
                    <a:pt x="151" y="7"/>
                  </a:cubicBezTo>
                  <a:cubicBezTo>
                    <a:pt x="150" y="6"/>
                    <a:pt x="149" y="6"/>
                    <a:pt x="148" y="5"/>
                  </a:cubicBezTo>
                  <a:close/>
                  <a:moveTo>
                    <a:pt x="141" y="2"/>
                  </a:moveTo>
                  <a:cubicBezTo>
                    <a:pt x="141" y="4"/>
                    <a:pt x="141" y="6"/>
                    <a:pt x="141" y="8"/>
                  </a:cubicBezTo>
                  <a:cubicBezTo>
                    <a:pt x="141" y="8"/>
                    <a:pt x="140" y="9"/>
                    <a:pt x="140" y="10"/>
                  </a:cubicBezTo>
                  <a:cubicBezTo>
                    <a:pt x="140" y="10"/>
                    <a:pt x="141" y="10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ubicBezTo>
                    <a:pt x="142" y="8"/>
                    <a:pt x="142" y="5"/>
                    <a:pt x="143" y="2"/>
                  </a:cubicBezTo>
                  <a:cubicBezTo>
                    <a:pt x="143" y="1"/>
                    <a:pt x="142" y="1"/>
                    <a:pt x="141" y="2"/>
                  </a:cubicBezTo>
                  <a:close/>
                </a:path>
              </a:pathLst>
            </a:custGeom>
            <a:grpFill/>
            <a:ln w="9525">
              <a:solidFill>
                <a:srgbClr val="5B9BD5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38" name="Freeform 603"/>
            <p:cNvSpPr>
              <a:spLocks/>
            </p:cNvSpPr>
            <p:nvPr/>
          </p:nvSpPr>
          <p:spPr bwMode="auto">
            <a:xfrm>
              <a:off x="13161963" y="5903913"/>
              <a:ext cx="34925" cy="1423988"/>
            </a:xfrm>
            <a:custGeom>
              <a:avLst/>
              <a:gdLst>
                <a:gd name="T0" fmla="*/ 7 w 8"/>
                <a:gd name="T1" fmla="*/ 327 h 329"/>
                <a:gd name="T2" fmla="*/ 5 w 8"/>
                <a:gd name="T3" fmla="*/ 309 h 329"/>
                <a:gd name="T4" fmla="*/ 4 w 8"/>
                <a:gd name="T5" fmla="*/ 293 h 329"/>
                <a:gd name="T6" fmla="*/ 3 w 8"/>
                <a:gd name="T7" fmla="*/ 276 h 329"/>
                <a:gd name="T8" fmla="*/ 1 w 8"/>
                <a:gd name="T9" fmla="*/ 255 h 329"/>
                <a:gd name="T10" fmla="*/ 1 w 8"/>
                <a:gd name="T11" fmla="*/ 232 h 329"/>
                <a:gd name="T12" fmla="*/ 1 w 8"/>
                <a:gd name="T13" fmla="*/ 212 h 329"/>
                <a:gd name="T14" fmla="*/ 0 w 8"/>
                <a:gd name="T15" fmla="*/ 184 h 329"/>
                <a:gd name="T16" fmla="*/ 1 w 8"/>
                <a:gd name="T17" fmla="*/ 174 h 329"/>
                <a:gd name="T18" fmla="*/ 0 w 8"/>
                <a:gd name="T19" fmla="*/ 165 h 329"/>
                <a:gd name="T20" fmla="*/ 1 w 8"/>
                <a:gd name="T21" fmla="*/ 146 h 329"/>
                <a:gd name="T22" fmla="*/ 0 w 8"/>
                <a:gd name="T23" fmla="*/ 137 h 329"/>
                <a:gd name="T24" fmla="*/ 0 w 8"/>
                <a:gd name="T25" fmla="*/ 119 h 329"/>
                <a:gd name="T26" fmla="*/ 0 w 8"/>
                <a:gd name="T27" fmla="*/ 112 h 329"/>
                <a:gd name="T28" fmla="*/ 0 w 8"/>
                <a:gd name="T29" fmla="*/ 93 h 329"/>
                <a:gd name="T30" fmla="*/ 1 w 8"/>
                <a:gd name="T31" fmla="*/ 70 h 329"/>
                <a:gd name="T32" fmla="*/ 2 w 8"/>
                <a:gd name="T33" fmla="*/ 52 h 329"/>
                <a:gd name="T34" fmla="*/ 4 w 8"/>
                <a:gd name="T35" fmla="*/ 38 h 329"/>
                <a:gd name="T36" fmla="*/ 6 w 8"/>
                <a:gd name="T37" fmla="*/ 15 h 329"/>
                <a:gd name="T38" fmla="*/ 7 w 8"/>
                <a:gd name="T39" fmla="*/ 1 h 329"/>
                <a:gd name="T40" fmla="*/ 8 w 8"/>
                <a:gd name="T41" fmla="*/ 4 h 329"/>
                <a:gd name="T42" fmla="*/ 7 w 8"/>
                <a:gd name="T43" fmla="*/ 23 h 329"/>
                <a:gd name="T44" fmla="*/ 5 w 8"/>
                <a:gd name="T45" fmla="*/ 39 h 329"/>
                <a:gd name="T46" fmla="*/ 4 w 8"/>
                <a:gd name="T47" fmla="*/ 49 h 329"/>
                <a:gd name="T48" fmla="*/ 3 w 8"/>
                <a:gd name="T49" fmla="*/ 64 h 329"/>
                <a:gd name="T50" fmla="*/ 2 w 8"/>
                <a:gd name="T51" fmla="*/ 94 h 329"/>
                <a:gd name="T52" fmla="*/ 2 w 8"/>
                <a:gd name="T53" fmla="*/ 117 h 329"/>
                <a:gd name="T54" fmla="*/ 2 w 8"/>
                <a:gd name="T55" fmla="*/ 141 h 329"/>
                <a:gd name="T56" fmla="*/ 2 w 8"/>
                <a:gd name="T57" fmla="*/ 160 h 329"/>
                <a:gd name="T58" fmla="*/ 2 w 8"/>
                <a:gd name="T59" fmla="*/ 175 h 329"/>
                <a:gd name="T60" fmla="*/ 2 w 8"/>
                <a:gd name="T61" fmla="*/ 191 h 329"/>
                <a:gd name="T62" fmla="*/ 2 w 8"/>
                <a:gd name="T63" fmla="*/ 207 h 329"/>
                <a:gd name="T64" fmla="*/ 3 w 8"/>
                <a:gd name="T65" fmla="*/ 239 h 329"/>
                <a:gd name="T66" fmla="*/ 3 w 8"/>
                <a:gd name="T67" fmla="*/ 261 h 329"/>
                <a:gd name="T68" fmla="*/ 5 w 8"/>
                <a:gd name="T69" fmla="*/ 283 h 329"/>
                <a:gd name="T70" fmla="*/ 6 w 8"/>
                <a:gd name="T71" fmla="*/ 300 h 329"/>
                <a:gd name="T72" fmla="*/ 8 w 8"/>
                <a:gd name="T73" fmla="*/ 325 h 329"/>
                <a:gd name="T74" fmla="*/ 7 w 8"/>
                <a:gd name="T75" fmla="*/ 32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" h="329">
                  <a:moveTo>
                    <a:pt x="7" y="329"/>
                  </a:moveTo>
                  <a:cubicBezTo>
                    <a:pt x="7" y="328"/>
                    <a:pt x="7" y="328"/>
                    <a:pt x="7" y="327"/>
                  </a:cubicBezTo>
                  <a:cubicBezTo>
                    <a:pt x="7" y="324"/>
                    <a:pt x="7" y="321"/>
                    <a:pt x="6" y="318"/>
                  </a:cubicBezTo>
                  <a:cubicBezTo>
                    <a:pt x="6" y="315"/>
                    <a:pt x="6" y="312"/>
                    <a:pt x="5" y="309"/>
                  </a:cubicBezTo>
                  <a:cubicBezTo>
                    <a:pt x="5" y="307"/>
                    <a:pt x="5" y="304"/>
                    <a:pt x="5" y="301"/>
                  </a:cubicBezTo>
                  <a:cubicBezTo>
                    <a:pt x="4" y="298"/>
                    <a:pt x="4" y="296"/>
                    <a:pt x="4" y="293"/>
                  </a:cubicBezTo>
                  <a:cubicBezTo>
                    <a:pt x="4" y="289"/>
                    <a:pt x="4" y="286"/>
                    <a:pt x="3" y="282"/>
                  </a:cubicBezTo>
                  <a:cubicBezTo>
                    <a:pt x="3" y="280"/>
                    <a:pt x="3" y="278"/>
                    <a:pt x="3" y="276"/>
                  </a:cubicBezTo>
                  <a:cubicBezTo>
                    <a:pt x="2" y="272"/>
                    <a:pt x="2" y="268"/>
                    <a:pt x="2" y="264"/>
                  </a:cubicBezTo>
                  <a:cubicBezTo>
                    <a:pt x="1" y="261"/>
                    <a:pt x="1" y="258"/>
                    <a:pt x="1" y="255"/>
                  </a:cubicBezTo>
                  <a:cubicBezTo>
                    <a:pt x="1" y="250"/>
                    <a:pt x="1" y="246"/>
                    <a:pt x="1" y="242"/>
                  </a:cubicBezTo>
                  <a:cubicBezTo>
                    <a:pt x="1" y="238"/>
                    <a:pt x="1" y="235"/>
                    <a:pt x="1" y="232"/>
                  </a:cubicBezTo>
                  <a:cubicBezTo>
                    <a:pt x="1" y="229"/>
                    <a:pt x="1" y="225"/>
                    <a:pt x="1" y="222"/>
                  </a:cubicBezTo>
                  <a:cubicBezTo>
                    <a:pt x="1" y="219"/>
                    <a:pt x="1" y="216"/>
                    <a:pt x="1" y="212"/>
                  </a:cubicBezTo>
                  <a:cubicBezTo>
                    <a:pt x="1" y="208"/>
                    <a:pt x="1" y="203"/>
                    <a:pt x="1" y="199"/>
                  </a:cubicBezTo>
                  <a:cubicBezTo>
                    <a:pt x="1" y="194"/>
                    <a:pt x="0" y="189"/>
                    <a:pt x="0" y="184"/>
                  </a:cubicBezTo>
                  <a:cubicBezTo>
                    <a:pt x="0" y="182"/>
                    <a:pt x="1" y="181"/>
                    <a:pt x="1" y="179"/>
                  </a:cubicBezTo>
                  <a:cubicBezTo>
                    <a:pt x="1" y="178"/>
                    <a:pt x="1" y="176"/>
                    <a:pt x="1" y="174"/>
                  </a:cubicBezTo>
                  <a:cubicBezTo>
                    <a:pt x="1" y="174"/>
                    <a:pt x="1" y="173"/>
                    <a:pt x="1" y="173"/>
                  </a:cubicBezTo>
                  <a:cubicBezTo>
                    <a:pt x="1" y="170"/>
                    <a:pt x="0" y="167"/>
                    <a:pt x="0" y="165"/>
                  </a:cubicBezTo>
                  <a:cubicBezTo>
                    <a:pt x="0" y="161"/>
                    <a:pt x="0" y="157"/>
                    <a:pt x="0" y="153"/>
                  </a:cubicBezTo>
                  <a:cubicBezTo>
                    <a:pt x="0" y="151"/>
                    <a:pt x="1" y="148"/>
                    <a:pt x="1" y="146"/>
                  </a:cubicBezTo>
                  <a:cubicBezTo>
                    <a:pt x="1" y="146"/>
                    <a:pt x="0" y="145"/>
                    <a:pt x="0" y="145"/>
                  </a:cubicBezTo>
                  <a:cubicBezTo>
                    <a:pt x="0" y="142"/>
                    <a:pt x="0" y="140"/>
                    <a:pt x="0" y="137"/>
                  </a:cubicBezTo>
                  <a:cubicBezTo>
                    <a:pt x="0" y="134"/>
                    <a:pt x="0" y="132"/>
                    <a:pt x="0" y="129"/>
                  </a:cubicBezTo>
                  <a:cubicBezTo>
                    <a:pt x="0" y="125"/>
                    <a:pt x="0" y="122"/>
                    <a:pt x="0" y="119"/>
                  </a:cubicBezTo>
                  <a:cubicBezTo>
                    <a:pt x="0" y="117"/>
                    <a:pt x="0" y="116"/>
                    <a:pt x="0" y="115"/>
                  </a:cubicBezTo>
                  <a:cubicBezTo>
                    <a:pt x="0" y="114"/>
                    <a:pt x="0" y="113"/>
                    <a:pt x="0" y="112"/>
                  </a:cubicBezTo>
                  <a:cubicBezTo>
                    <a:pt x="0" y="110"/>
                    <a:pt x="0" y="107"/>
                    <a:pt x="0" y="105"/>
                  </a:cubicBezTo>
                  <a:cubicBezTo>
                    <a:pt x="0" y="101"/>
                    <a:pt x="0" y="97"/>
                    <a:pt x="0" y="93"/>
                  </a:cubicBezTo>
                  <a:cubicBezTo>
                    <a:pt x="0" y="88"/>
                    <a:pt x="0" y="84"/>
                    <a:pt x="1" y="79"/>
                  </a:cubicBezTo>
                  <a:cubicBezTo>
                    <a:pt x="1" y="76"/>
                    <a:pt x="1" y="73"/>
                    <a:pt x="1" y="70"/>
                  </a:cubicBezTo>
                  <a:cubicBezTo>
                    <a:pt x="1" y="66"/>
                    <a:pt x="2" y="63"/>
                    <a:pt x="2" y="60"/>
                  </a:cubicBezTo>
                  <a:cubicBezTo>
                    <a:pt x="2" y="57"/>
                    <a:pt x="2" y="55"/>
                    <a:pt x="2" y="52"/>
                  </a:cubicBezTo>
                  <a:cubicBezTo>
                    <a:pt x="2" y="50"/>
                    <a:pt x="2" y="48"/>
                    <a:pt x="3" y="47"/>
                  </a:cubicBezTo>
                  <a:cubicBezTo>
                    <a:pt x="4" y="44"/>
                    <a:pt x="3" y="40"/>
                    <a:pt x="4" y="38"/>
                  </a:cubicBezTo>
                  <a:cubicBezTo>
                    <a:pt x="4" y="34"/>
                    <a:pt x="4" y="31"/>
                    <a:pt x="5" y="28"/>
                  </a:cubicBezTo>
                  <a:cubicBezTo>
                    <a:pt x="5" y="24"/>
                    <a:pt x="5" y="19"/>
                    <a:pt x="6" y="15"/>
                  </a:cubicBezTo>
                  <a:cubicBezTo>
                    <a:pt x="6" y="12"/>
                    <a:pt x="6" y="9"/>
                    <a:pt x="6" y="6"/>
                  </a:cubicBezTo>
                  <a:cubicBezTo>
                    <a:pt x="6" y="4"/>
                    <a:pt x="6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1"/>
                    <a:pt x="8" y="2"/>
                    <a:pt x="8" y="4"/>
                  </a:cubicBezTo>
                  <a:cubicBezTo>
                    <a:pt x="8" y="6"/>
                    <a:pt x="8" y="8"/>
                    <a:pt x="8" y="10"/>
                  </a:cubicBezTo>
                  <a:cubicBezTo>
                    <a:pt x="7" y="14"/>
                    <a:pt x="7" y="18"/>
                    <a:pt x="7" y="23"/>
                  </a:cubicBezTo>
                  <a:cubicBezTo>
                    <a:pt x="6" y="26"/>
                    <a:pt x="6" y="29"/>
                    <a:pt x="6" y="32"/>
                  </a:cubicBezTo>
                  <a:cubicBezTo>
                    <a:pt x="5" y="35"/>
                    <a:pt x="5" y="37"/>
                    <a:pt x="5" y="39"/>
                  </a:cubicBezTo>
                  <a:cubicBezTo>
                    <a:pt x="5" y="41"/>
                    <a:pt x="5" y="43"/>
                    <a:pt x="5" y="44"/>
                  </a:cubicBezTo>
                  <a:cubicBezTo>
                    <a:pt x="4" y="46"/>
                    <a:pt x="4" y="48"/>
                    <a:pt x="4" y="49"/>
                  </a:cubicBezTo>
                  <a:cubicBezTo>
                    <a:pt x="4" y="53"/>
                    <a:pt x="4" y="57"/>
                    <a:pt x="3" y="61"/>
                  </a:cubicBezTo>
                  <a:cubicBezTo>
                    <a:pt x="3" y="62"/>
                    <a:pt x="3" y="63"/>
                    <a:pt x="3" y="64"/>
                  </a:cubicBezTo>
                  <a:cubicBezTo>
                    <a:pt x="3" y="70"/>
                    <a:pt x="2" y="76"/>
                    <a:pt x="2" y="81"/>
                  </a:cubicBezTo>
                  <a:cubicBezTo>
                    <a:pt x="2" y="86"/>
                    <a:pt x="2" y="90"/>
                    <a:pt x="2" y="94"/>
                  </a:cubicBezTo>
                  <a:cubicBezTo>
                    <a:pt x="1" y="98"/>
                    <a:pt x="2" y="103"/>
                    <a:pt x="2" y="107"/>
                  </a:cubicBezTo>
                  <a:cubicBezTo>
                    <a:pt x="2" y="110"/>
                    <a:pt x="2" y="114"/>
                    <a:pt x="2" y="117"/>
                  </a:cubicBezTo>
                  <a:cubicBezTo>
                    <a:pt x="2" y="121"/>
                    <a:pt x="2" y="125"/>
                    <a:pt x="2" y="129"/>
                  </a:cubicBezTo>
                  <a:cubicBezTo>
                    <a:pt x="2" y="133"/>
                    <a:pt x="2" y="137"/>
                    <a:pt x="2" y="141"/>
                  </a:cubicBezTo>
                  <a:cubicBezTo>
                    <a:pt x="2" y="145"/>
                    <a:pt x="2" y="149"/>
                    <a:pt x="2" y="152"/>
                  </a:cubicBezTo>
                  <a:cubicBezTo>
                    <a:pt x="2" y="155"/>
                    <a:pt x="2" y="158"/>
                    <a:pt x="2" y="160"/>
                  </a:cubicBezTo>
                  <a:cubicBezTo>
                    <a:pt x="2" y="163"/>
                    <a:pt x="2" y="165"/>
                    <a:pt x="2" y="167"/>
                  </a:cubicBezTo>
                  <a:cubicBezTo>
                    <a:pt x="2" y="170"/>
                    <a:pt x="2" y="173"/>
                    <a:pt x="2" y="175"/>
                  </a:cubicBezTo>
                  <a:cubicBezTo>
                    <a:pt x="2" y="178"/>
                    <a:pt x="2" y="182"/>
                    <a:pt x="2" y="185"/>
                  </a:cubicBezTo>
                  <a:cubicBezTo>
                    <a:pt x="2" y="187"/>
                    <a:pt x="2" y="189"/>
                    <a:pt x="2" y="191"/>
                  </a:cubicBezTo>
                  <a:cubicBezTo>
                    <a:pt x="2" y="193"/>
                    <a:pt x="2" y="195"/>
                    <a:pt x="2" y="197"/>
                  </a:cubicBezTo>
                  <a:cubicBezTo>
                    <a:pt x="2" y="201"/>
                    <a:pt x="2" y="204"/>
                    <a:pt x="2" y="207"/>
                  </a:cubicBezTo>
                  <a:cubicBezTo>
                    <a:pt x="3" y="214"/>
                    <a:pt x="3" y="221"/>
                    <a:pt x="3" y="227"/>
                  </a:cubicBezTo>
                  <a:cubicBezTo>
                    <a:pt x="3" y="231"/>
                    <a:pt x="3" y="235"/>
                    <a:pt x="3" y="239"/>
                  </a:cubicBezTo>
                  <a:cubicBezTo>
                    <a:pt x="3" y="242"/>
                    <a:pt x="3" y="246"/>
                    <a:pt x="3" y="249"/>
                  </a:cubicBezTo>
                  <a:cubicBezTo>
                    <a:pt x="3" y="253"/>
                    <a:pt x="3" y="257"/>
                    <a:pt x="3" y="261"/>
                  </a:cubicBezTo>
                  <a:cubicBezTo>
                    <a:pt x="3" y="264"/>
                    <a:pt x="3" y="268"/>
                    <a:pt x="4" y="271"/>
                  </a:cubicBezTo>
                  <a:cubicBezTo>
                    <a:pt x="4" y="275"/>
                    <a:pt x="4" y="279"/>
                    <a:pt x="5" y="283"/>
                  </a:cubicBezTo>
                  <a:cubicBezTo>
                    <a:pt x="5" y="285"/>
                    <a:pt x="5" y="288"/>
                    <a:pt x="5" y="290"/>
                  </a:cubicBezTo>
                  <a:cubicBezTo>
                    <a:pt x="6" y="294"/>
                    <a:pt x="6" y="297"/>
                    <a:pt x="6" y="300"/>
                  </a:cubicBezTo>
                  <a:cubicBezTo>
                    <a:pt x="7" y="305"/>
                    <a:pt x="7" y="310"/>
                    <a:pt x="8" y="316"/>
                  </a:cubicBezTo>
                  <a:cubicBezTo>
                    <a:pt x="8" y="319"/>
                    <a:pt x="8" y="322"/>
                    <a:pt x="8" y="325"/>
                  </a:cubicBezTo>
                  <a:cubicBezTo>
                    <a:pt x="8" y="326"/>
                    <a:pt x="8" y="327"/>
                    <a:pt x="8" y="329"/>
                  </a:cubicBezTo>
                  <a:cubicBezTo>
                    <a:pt x="8" y="329"/>
                    <a:pt x="7" y="329"/>
                    <a:pt x="7" y="329"/>
                  </a:cubicBezTo>
                  <a:cubicBezTo>
                    <a:pt x="7" y="329"/>
                    <a:pt x="7" y="329"/>
                    <a:pt x="7" y="329"/>
                  </a:cubicBezTo>
                  <a:close/>
                </a:path>
              </a:pathLst>
            </a:custGeom>
            <a:grpFill/>
            <a:ln w="9525">
              <a:solidFill>
                <a:srgbClr val="5B9BD5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39" name="Freeform 604"/>
            <p:cNvSpPr>
              <a:spLocks/>
            </p:cNvSpPr>
            <p:nvPr/>
          </p:nvSpPr>
          <p:spPr bwMode="auto">
            <a:xfrm>
              <a:off x="12150726" y="7327900"/>
              <a:ext cx="1042988" cy="20638"/>
            </a:xfrm>
            <a:custGeom>
              <a:avLst/>
              <a:gdLst>
                <a:gd name="T0" fmla="*/ 241 w 241"/>
                <a:gd name="T1" fmla="*/ 2 h 5"/>
                <a:gd name="T2" fmla="*/ 236 w 241"/>
                <a:gd name="T3" fmla="*/ 4 h 5"/>
                <a:gd name="T4" fmla="*/ 223 w 241"/>
                <a:gd name="T5" fmla="*/ 5 h 5"/>
                <a:gd name="T6" fmla="*/ 206 w 241"/>
                <a:gd name="T7" fmla="*/ 5 h 5"/>
                <a:gd name="T8" fmla="*/ 202 w 241"/>
                <a:gd name="T9" fmla="*/ 5 h 5"/>
                <a:gd name="T10" fmla="*/ 200 w 241"/>
                <a:gd name="T11" fmla="*/ 5 h 5"/>
                <a:gd name="T12" fmla="*/ 187 w 241"/>
                <a:gd name="T13" fmla="*/ 5 h 5"/>
                <a:gd name="T14" fmla="*/ 181 w 241"/>
                <a:gd name="T15" fmla="*/ 4 h 5"/>
                <a:gd name="T16" fmla="*/ 172 w 241"/>
                <a:gd name="T17" fmla="*/ 4 h 5"/>
                <a:gd name="T18" fmla="*/ 160 w 241"/>
                <a:gd name="T19" fmla="*/ 4 h 5"/>
                <a:gd name="T20" fmla="*/ 151 w 241"/>
                <a:gd name="T21" fmla="*/ 4 h 5"/>
                <a:gd name="T22" fmla="*/ 138 w 241"/>
                <a:gd name="T23" fmla="*/ 4 h 5"/>
                <a:gd name="T24" fmla="*/ 132 w 241"/>
                <a:gd name="T25" fmla="*/ 4 h 5"/>
                <a:gd name="T26" fmla="*/ 129 w 241"/>
                <a:gd name="T27" fmla="*/ 4 h 5"/>
                <a:gd name="T28" fmla="*/ 122 w 241"/>
                <a:gd name="T29" fmla="*/ 4 h 5"/>
                <a:gd name="T30" fmla="*/ 113 w 241"/>
                <a:gd name="T31" fmla="*/ 4 h 5"/>
                <a:gd name="T32" fmla="*/ 102 w 241"/>
                <a:gd name="T33" fmla="*/ 4 h 5"/>
                <a:gd name="T34" fmla="*/ 95 w 241"/>
                <a:gd name="T35" fmla="*/ 3 h 5"/>
                <a:gd name="T36" fmla="*/ 94 w 241"/>
                <a:gd name="T37" fmla="*/ 3 h 5"/>
                <a:gd name="T38" fmla="*/ 86 w 241"/>
                <a:gd name="T39" fmla="*/ 3 h 5"/>
                <a:gd name="T40" fmla="*/ 73 w 241"/>
                <a:gd name="T41" fmla="*/ 3 h 5"/>
                <a:gd name="T42" fmla="*/ 63 w 241"/>
                <a:gd name="T43" fmla="*/ 2 h 5"/>
                <a:gd name="T44" fmla="*/ 61 w 241"/>
                <a:gd name="T45" fmla="*/ 2 h 5"/>
                <a:gd name="T46" fmla="*/ 57 w 241"/>
                <a:gd name="T47" fmla="*/ 2 h 5"/>
                <a:gd name="T48" fmla="*/ 54 w 241"/>
                <a:gd name="T49" fmla="*/ 2 h 5"/>
                <a:gd name="T50" fmla="*/ 42 w 241"/>
                <a:gd name="T51" fmla="*/ 2 h 5"/>
                <a:gd name="T52" fmla="*/ 33 w 241"/>
                <a:gd name="T53" fmla="*/ 2 h 5"/>
                <a:gd name="T54" fmla="*/ 28 w 241"/>
                <a:gd name="T55" fmla="*/ 2 h 5"/>
                <a:gd name="T56" fmla="*/ 11 w 241"/>
                <a:gd name="T57" fmla="*/ 3 h 5"/>
                <a:gd name="T58" fmla="*/ 5 w 241"/>
                <a:gd name="T59" fmla="*/ 3 h 5"/>
                <a:gd name="T60" fmla="*/ 1 w 241"/>
                <a:gd name="T61" fmla="*/ 2 h 5"/>
                <a:gd name="T62" fmla="*/ 1 w 241"/>
                <a:gd name="T63" fmla="*/ 0 h 5"/>
                <a:gd name="T64" fmla="*/ 3 w 241"/>
                <a:gd name="T65" fmla="*/ 0 h 5"/>
                <a:gd name="T66" fmla="*/ 17 w 241"/>
                <a:gd name="T67" fmla="*/ 1 h 5"/>
                <a:gd name="T68" fmla="*/ 26 w 241"/>
                <a:gd name="T69" fmla="*/ 1 h 5"/>
                <a:gd name="T70" fmla="*/ 34 w 241"/>
                <a:gd name="T71" fmla="*/ 1 h 5"/>
                <a:gd name="T72" fmla="*/ 46 w 241"/>
                <a:gd name="T73" fmla="*/ 1 h 5"/>
                <a:gd name="T74" fmla="*/ 56 w 241"/>
                <a:gd name="T75" fmla="*/ 1 h 5"/>
                <a:gd name="T76" fmla="*/ 62 w 241"/>
                <a:gd name="T77" fmla="*/ 1 h 5"/>
                <a:gd name="T78" fmla="*/ 76 w 241"/>
                <a:gd name="T79" fmla="*/ 1 h 5"/>
                <a:gd name="T80" fmla="*/ 90 w 241"/>
                <a:gd name="T81" fmla="*/ 2 h 5"/>
                <a:gd name="T82" fmla="*/ 96 w 241"/>
                <a:gd name="T83" fmla="*/ 2 h 5"/>
                <a:gd name="T84" fmla="*/ 104 w 241"/>
                <a:gd name="T85" fmla="*/ 2 h 5"/>
                <a:gd name="T86" fmla="*/ 114 w 241"/>
                <a:gd name="T87" fmla="*/ 2 h 5"/>
                <a:gd name="T88" fmla="*/ 127 w 241"/>
                <a:gd name="T89" fmla="*/ 2 h 5"/>
                <a:gd name="T90" fmla="*/ 136 w 241"/>
                <a:gd name="T91" fmla="*/ 2 h 5"/>
                <a:gd name="T92" fmla="*/ 151 w 241"/>
                <a:gd name="T93" fmla="*/ 2 h 5"/>
                <a:gd name="T94" fmla="*/ 159 w 241"/>
                <a:gd name="T95" fmla="*/ 2 h 5"/>
                <a:gd name="T96" fmla="*/ 174 w 241"/>
                <a:gd name="T97" fmla="*/ 2 h 5"/>
                <a:gd name="T98" fmla="*/ 190 w 241"/>
                <a:gd name="T99" fmla="*/ 3 h 5"/>
                <a:gd name="T100" fmla="*/ 203 w 241"/>
                <a:gd name="T101" fmla="*/ 3 h 5"/>
                <a:gd name="T102" fmla="*/ 223 w 241"/>
                <a:gd name="T103" fmla="*/ 3 h 5"/>
                <a:gd name="T104" fmla="*/ 228 w 241"/>
                <a:gd name="T105" fmla="*/ 3 h 5"/>
                <a:gd name="T106" fmla="*/ 235 w 241"/>
                <a:gd name="T107" fmla="*/ 2 h 5"/>
                <a:gd name="T108" fmla="*/ 240 w 241"/>
                <a:gd name="T109" fmla="*/ 2 h 5"/>
                <a:gd name="T110" fmla="*/ 241 w 241"/>
                <a:gd name="T11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1" h="5">
                  <a:moveTo>
                    <a:pt x="241" y="2"/>
                  </a:moveTo>
                  <a:cubicBezTo>
                    <a:pt x="239" y="4"/>
                    <a:pt x="238" y="4"/>
                    <a:pt x="236" y="4"/>
                  </a:cubicBezTo>
                  <a:cubicBezTo>
                    <a:pt x="232" y="5"/>
                    <a:pt x="228" y="5"/>
                    <a:pt x="223" y="5"/>
                  </a:cubicBezTo>
                  <a:cubicBezTo>
                    <a:pt x="218" y="5"/>
                    <a:pt x="212" y="5"/>
                    <a:pt x="206" y="5"/>
                  </a:cubicBezTo>
                  <a:cubicBezTo>
                    <a:pt x="205" y="5"/>
                    <a:pt x="204" y="5"/>
                    <a:pt x="202" y="5"/>
                  </a:cubicBezTo>
                  <a:cubicBezTo>
                    <a:pt x="201" y="5"/>
                    <a:pt x="200" y="5"/>
                    <a:pt x="200" y="5"/>
                  </a:cubicBezTo>
                  <a:cubicBezTo>
                    <a:pt x="196" y="5"/>
                    <a:pt x="192" y="5"/>
                    <a:pt x="187" y="5"/>
                  </a:cubicBezTo>
                  <a:cubicBezTo>
                    <a:pt x="185" y="4"/>
                    <a:pt x="183" y="5"/>
                    <a:pt x="181" y="4"/>
                  </a:cubicBezTo>
                  <a:cubicBezTo>
                    <a:pt x="178" y="4"/>
                    <a:pt x="175" y="4"/>
                    <a:pt x="172" y="4"/>
                  </a:cubicBezTo>
                  <a:cubicBezTo>
                    <a:pt x="168" y="4"/>
                    <a:pt x="164" y="4"/>
                    <a:pt x="160" y="4"/>
                  </a:cubicBezTo>
                  <a:cubicBezTo>
                    <a:pt x="157" y="4"/>
                    <a:pt x="154" y="4"/>
                    <a:pt x="151" y="4"/>
                  </a:cubicBezTo>
                  <a:cubicBezTo>
                    <a:pt x="147" y="4"/>
                    <a:pt x="142" y="4"/>
                    <a:pt x="138" y="4"/>
                  </a:cubicBezTo>
                  <a:cubicBezTo>
                    <a:pt x="136" y="4"/>
                    <a:pt x="134" y="4"/>
                    <a:pt x="132" y="4"/>
                  </a:cubicBezTo>
                  <a:cubicBezTo>
                    <a:pt x="131" y="4"/>
                    <a:pt x="130" y="4"/>
                    <a:pt x="129" y="4"/>
                  </a:cubicBezTo>
                  <a:cubicBezTo>
                    <a:pt x="126" y="4"/>
                    <a:pt x="124" y="4"/>
                    <a:pt x="122" y="4"/>
                  </a:cubicBezTo>
                  <a:cubicBezTo>
                    <a:pt x="119" y="4"/>
                    <a:pt x="116" y="4"/>
                    <a:pt x="113" y="4"/>
                  </a:cubicBezTo>
                  <a:cubicBezTo>
                    <a:pt x="109" y="4"/>
                    <a:pt x="106" y="4"/>
                    <a:pt x="102" y="4"/>
                  </a:cubicBezTo>
                  <a:cubicBezTo>
                    <a:pt x="100" y="4"/>
                    <a:pt x="98" y="3"/>
                    <a:pt x="95" y="3"/>
                  </a:cubicBezTo>
                  <a:cubicBezTo>
                    <a:pt x="95" y="3"/>
                    <a:pt x="94" y="3"/>
                    <a:pt x="94" y="3"/>
                  </a:cubicBezTo>
                  <a:cubicBezTo>
                    <a:pt x="91" y="3"/>
                    <a:pt x="88" y="3"/>
                    <a:pt x="86" y="3"/>
                  </a:cubicBezTo>
                  <a:cubicBezTo>
                    <a:pt x="81" y="3"/>
                    <a:pt x="77" y="3"/>
                    <a:pt x="73" y="3"/>
                  </a:cubicBezTo>
                  <a:cubicBezTo>
                    <a:pt x="70" y="3"/>
                    <a:pt x="66" y="2"/>
                    <a:pt x="63" y="2"/>
                  </a:cubicBezTo>
                  <a:cubicBezTo>
                    <a:pt x="63" y="2"/>
                    <a:pt x="62" y="2"/>
                    <a:pt x="61" y="2"/>
                  </a:cubicBezTo>
                  <a:cubicBezTo>
                    <a:pt x="60" y="2"/>
                    <a:pt x="58" y="2"/>
                    <a:pt x="57" y="2"/>
                  </a:cubicBezTo>
                  <a:cubicBezTo>
                    <a:pt x="56" y="2"/>
                    <a:pt x="55" y="2"/>
                    <a:pt x="54" y="2"/>
                  </a:cubicBezTo>
                  <a:cubicBezTo>
                    <a:pt x="50" y="2"/>
                    <a:pt x="46" y="2"/>
                    <a:pt x="42" y="2"/>
                  </a:cubicBezTo>
                  <a:cubicBezTo>
                    <a:pt x="39" y="2"/>
                    <a:pt x="36" y="2"/>
                    <a:pt x="33" y="2"/>
                  </a:cubicBezTo>
                  <a:cubicBezTo>
                    <a:pt x="32" y="2"/>
                    <a:pt x="30" y="2"/>
                    <a:pt x="28" y="2"/>
                  </a:cubicBezTo>
                  <a:cubicBezTo>
                    <a:pt x="22" y="2"/>
                    <a:pt x="16" y="3"/>
                    <a:pt x="11" y="3"/>
                  </a:cubicBezTo>
                  <a:cubicBezTo>
                    <a:pt x="9" y="3"/>
                    <a:pt x="7" y="3"/>
                    <a:pt x="5" y="3"/>
                  </a:cubicBezTo>
                  <a:cubicBezTo>
                    <a:pt x="4" y="2"/>
                    <a:pt x="2" y="2"/>
                    <a:pt x="1" y="2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8" y="1"/>
                    <a:pt x="13" y="1"/>
                    <a:pt x="17" y="1"/>
                  </a:cubicBezTo>
                  <a:cubicBezTo>
                    <a:pt x="20" y="1"/>
                    <a:pt x="23" y="1"/>
                    <a:pt x="26" y="1"/>
                  </a:cubicBezTo>
                  <a:cubicBezTo>
                    <a:pt x="29" y="0"/>
                    <a:pt x="32" y="1"/>
                    <a:pt x="34" y="1"/>
                  </a:cubicBezTo>
                  <a:cubicBezTo>
                    <a:pt x="38" y="1"/>
                    <a:pt x="42" y="1"/>
                    <a:pt x="46" y="1"/>
                  </a:cubicBezTo>
                  <a:cubicBezTo>
                    <a:pt x="49" y="1"/>
                    <a:pt x="52" y="1"/>
                    <a:pt x="56" y="1"/>
                  </a:cubicBezTo>
                  <a:cubicBezTo>
                    <a:pt x="58" y="1"/>
                    <a:pt x="60" y="1"/>
                    <a:pt x="62" y="1"/>
                  </a:cubicBezTo>
                  <a:cubicBezTo>
                    <a:pt x="67" y="1"/>
                    <a:pt x="71" y="1"/>
                    <a:pt x="76" y="1"/>
                  </a:cubicBezTo>
                  <a:cubicBezTo>
                    <a:pt x="81" y="1"/>
                    <a:pt x="85" y="1"/>
                    <a:pt x="90" y="2"/>
                  </a:cubicBezTo>
                  <a:cubicBezTo>
                    <a:pt x="92" y="2"/>
                    <a:pt x="94" y="2"/>
                    <a:pt x="96" y="2"/>
                  </a:cubicBezTo>
                  <a:cubicBezTo>
                    <a:pt x="99" y="2"/>
                    <a:pt x="101" y="2"/>
                    <a:pt x="104" y="2"/>
                  </a:cubicBezTo>
                  <a:cubicBezTo>
                    <a:pt x="108" y="2"/>
                    <a:pt x="111" y="2"/>
                    <a:pt x="114" y="2"/>
                  </a:cubicBezTo>
                  <a:cubicBezTo>
                    <a:pt x="119" y="2"/>
                    <a:pt x="123" y="2"/>
                    <a:pt x="127" y="2"/>
                  </a:cubicBezTo>
                  <a:cubicBezTo>
                    <a:pt x="130" y="2"/>
                    <a:pt x="133" y="2"/>
                    <a:pt x="136" y="2"/>
                  </a:cubicBezTo>
                  <a:cubicBezTo>
                    <a:pt x="141" y="2"/>
                    <a:pt x="146" y="2"/>
                    <a:pt x="151" y="2"/>
                  </a:cubicBezTo>
                  <a:cubicBezTo>
                    <a:pt x="154" y="2"/>
                    <a:pt x="157" y="2"/>
                    <a:pt x="159" y="2"/>
                  </a:cubicBezTo>
                  <a:cubicBezTo>
                    <a:pt x="164" y="2"/>
                    <a:pt x="169" y="2"/>
                    <a:pt x="174" y="2"/>
                  </a:cubicBezTo>
                  <a:cubicBezTo>
                    <a:pt x="179" y="3"/>
                    <a:pt x="184" y="3"/>
                    <a:pt x="190" y="3"/>
                  </a:cubicBezTo>
                  <a:cubicBezTo>
                    <a:pt x="194" y="3"/>
                    <a:pt x="199" y="3"/>
                    <a:pt x="203" y="3"/>
                  </a:cubicBezTo>
                  <a:cubicBezTo>
                    <a:pt x="209" y="3"/>
                    <a:pt x="216" y="3"/>
                    <a:pt x="223" y="3"/>
                  </a:cubicBezTo>
                  <a:cubicBezTo>
                    <a:pt x="224" y="3"/>
                    <a:pt x="226" y="3"/>
                    <a:pt x="228" y="3"/>
                  </a:cubicBezTo>
                  <a:cubicBezTo>
                    <a:pt x="231" y="3"/>
                    <a:pt x="233" y="3"/>
                    <a:pt x="235" y="2"/>
                  </a:cubicBezTo>
                  <a:cubicBezTo>
                    <a:pt x="237" y="2"/>
                    <a:pt x="238" y="2"/>
                    <a:pt x="240" y="2"/>
                  </a:cubicBezTo>
                  <a:cubicBezTo>
                    <a:pt x="240" y="2"/>
                    <a:pt x="240" y="2"/>
                    <a:pt x="241" y="2"/>
                  </a:cubicBezTo>
                  <a:close/>
                </a:path>
              </a:pathLst>
            </a:custGeom>
            <a:grpFill/>
            <a:ln w="9525">
              <a:solidFill>
                <a:srgbClr val="5B9BD5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40" name="Freeform 605"/>
            <p:cNvSpPr>
              <a:spLocks/>
            </p:cNvSpPr>
            <p:nvPr/>
          </p:nvSpPr>
          <p:spPr bwMode="auto">
            <a:xfrm>
              <a:off x="12138026" y="5916613"/>
              <a:ext cx="17463" cy="1381125"/>
            </a:xfrm>
            <a:custGeom>
              <a:avLst/>
              <a:gdLst>
                <a:gd name="T0" fmla="*/ 3 w 4"/>
                <a:gd name="T1" fmla="*/ 319 h 319"/>
                <a:gd name="T2" fmla="*/ 3 w 4"/>
                <a:gd name="T3" fmla="*/ 305 h 319"/>
                <a:gd name="T4" fmla="*/ 3 w 4"/>
                <a:gd name="T5" fmla="*/ 291 h 319"/>
                <a:gd name="T6" fmla="*/ 3 w 4"/>
                <a:gd name="T7" fmla="*/ 278 h 319"/>
                <a:gd name="T8" fmla="*/ 3 w 4"/>
                <a:gd name="T9" fmla="*/ 255 h 319"/>
                <a:gd name="T10" fmla="*/ 3 w 4"/>
                <a:gd name="T11" fmla="*/ 241 h 319"/>
                <a:gd name="T12" fmla="*/ 2 w 4"/>
                <a:gd name="T13" fmla="*/ 214 h 319"/>
                <a:gd name="T14" fmla="*/ 1 w 4"/>
                <a:gd name="T15" fmla="*/ 191 h 319"/>
                <a:gd name="T16" fmla="*/ 0 w 4"/>
                <a:gd name="T17" fmla="*/ 173 h 319"/>
                <a:gd name="T18" fmla="*/ 0 w 4"/>
                <a:gd name="T19" fmla="*/ 158 h 319"/>
                <a:gd name="T20" fmla="*/ 0 w 4"/>
                <a:gd name="T21" fmla="*/ 145 h 319"/>
                <a:gd name="T22" fmla="*/ 0 w 4"/>
                <a:gd name="T23" fmla="*/ 138 h 319"/>
                <a:gd name="T24" fmla="*/ 0 w 4"/>
                <a:gd name="T25" fmla="*/ 120 h 319"/>
                <a:gd name="T26" fmla="*/ 0 w 4"/>
                <a:gd name="T27" fmla="*/ 98 h 319"/>
                <a:gd name="T28" fmla="*/ 1 w 4"/>
                <a:gd name="T29" fmla="*/ 78 h 319"/>
                <a:gd name="T30" fmla="*/ 1 w 4"/>
                <a:gd name="T31" fmla="*/ 53 h 319"/>
                <a:gd name="T32" fmla="*/ 1 w 4"/>
                <a:gd name="T33" fmla="*/ 36 h 319"/>
                <a:gd name="T34" fmla="*/ 1 w 4"/>
                <a:gd name="T35" fmla="*/ 20 h 319"/>
                <a:gd name="T36" fmla="*/ 1 w 4"/>
                <a:gd name="T37" fmla="*/ 1 h 319"/>
                <a:gd name="T38" fmla="*/ 3 w 4"/>
                <a:gd name="T39" fmla="*/ 5 h 319"/>
                <a:gd name="T40" fmla="*/ 3 w 4"/>
                <a:gd name="T41" fmla="*/ 18 h 319"/>
                <a:gd name="T42" fmla="*/ 3 w 4"/>
                <a:gd name="T43" fmla="*/ 27 h 319"/>
                <a:gd name="T44" fmla="*/ 2 w 4"/>
                <a:gd name="T45" fmla="*/ 41 h 319"/>
                <a:gd name="T46" fmla="*/ 2 w 4"/>
                <a:gd name="T47" fmla="*/ 60 h 319"/>
                <a:gd name="T48" fmla="*/ 2 w 4"/>
                <a:gd name="T49" fmla="*/ 87 h 319"/>
                <a:gd name="T50" fmla="*/ 2 w 4"/>
                <a:gd name="T51" fmla="*/ 106 h 319"/>
                <a:gd name="T52" fmla="*/ 2 w 4"/>
                <a:gd name="T53" fmla="*/ 133 h 319"/>
                <a:gd name="T54" fmla="*/ 2 w 4"/>
                <a:gd name="T55" fmla="*/ 147 h 319"/>
                <a:gd name="T56" fmla="*/ 2 w 4"/>
                <a:gd name="T57" fmla="*/ 166 h 319"/>
                <a:gd name="T58" fmla="*/ 2 w 4"/>
                <a:gd name="T59" fmla="*/ 182 h 319"/>
                <a:gd name="T60" fmla="*/ 2 w 4"/>
                <a:gd name="T61" fmla="*/ 199 h 319"/>
                <a:gd name="T62" fmla="*/ 3 w 4"/>
                <a:gd name="T63" fmla="*/ 221 h 319"/>
                <a:gd name="T64" fmla="*/ 4 w 4"/>
                <a:gd name="T65" fmla="*/ 243 h 319"/>
                <a:gd name="T66" fmla="*/ 4 w 4"/>
                <a:gd name="T67" fmla="*/ 258 h 319"/>
                <a:gd name="T68" fmla="*/ 4 w 4"/>
                <a:gd name="T69" fmla="*/ 269 h 319"/>
                <a:gd name="T70" fmla="*/ 4 w 4"/>
                <a:gd name="T71" fmla="*/ 298 h 319"/>
                <a:gd name="T72" fmla="*/ 3 w 4"/>
                <a:gd name="T73" fmla="*/ 31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" h="319">
                  <a:moveTo>
                    <a:pt x="3" y="319"/>
                  </a:moveTo>
                  <a:cubicBezTo>
                    <a:pt x="3" y="319"/>
                    <a:pt x="3" y="319"/>
                    <a:pt x="3" y="319"/>
                  </a:cubicBezTo>
                  <a:cubicBezTo>
                    <a:pt x="3" y="318"/>
                    <a:pt x="3" y="318"/>
                    <a:pt x="3" y="317"/>
                  </a:cubicBezTo>
                  <a:cubicBezTo>
                    <a:pt x="3" y="313"/>
                    <a:pt x="3" y="309"/>
                    <a:pt x="3" y="305"/>
                  </a:cubicBezTo>
                  <a:cubicBezTo>
                    <a:pt x="3" y="303"/>
                    <a:pt x="3" y="302"/>
                    <a:pt x="3" y="300"/>
                  </a:cubicBezTo>
                  <a:cubicBezTo>
                    <a:pt x="3" y="297"/>
                    <a:pt x="3" y="294"/>
                    <a:pt x="3" y="291"/>
                  </a:cubicBezTo>
                  <a:cubicBezTo>
                    <a:pt x="3" y="288"/>
                    <a:pt x="3" y="285"/>
                    <a:pt x="3" y="282"/>
                  </a:cubicBezTo>
                  <a:cubicBezTo>
                    <a:pt x="3" y="281"/>
                    <a:pt x="3" y="279"/>
                    <a:pt x="3" y="278"/>
                  </a:cubicBezTo>
                  <a:cubicBezTo>
                    <a:pt x="3" y="275"/>
                    <a:pt x="3" y="273"/>
                    <a:pt x="3" y="270"/>
                  </a:cubicBezTo>
                  <a:cubicBezTo>
                    <a:pt x="3" y="265"/>
                    <a:pt x="3" y="260"/>
                    <a:pt x="3" y="255"/>
                  </a:cubicBezTo>
                  <a:cubicBezTo>
                    <a:pt x="3" y="253"/>
                    <a:pt x="3" y="251"/>
                    <a:pt x="3" y="250"/>
                  </a:cubicBezTo>
                  <a:cubicBezTo>
                    <a:pt x="3" y="247"/>
                    <a:pt x="3" y="244"/>
                    <a:pt x="3" y="241"/>
                  </a:cubicBezTo>
                  <a:cubicBezTo>
                    <a:pt x="3" y="238"/>
                    <a:pt x="3" y="234"/>
                    <a:pt x="2" y="231"/>
                  </a:cubicBezTo>
                  <a:cubicBezTo>
                    <a:pt x="2" y="225"/>
                    <a:pt x="2" y="220"/>
                    <a:pt x="2" y="214"/>
                  </a:cubicBezTo>
                  <a:cubicBezTo>
                    <a:pt x="2" y="210"/>
                    <a:pt x="1" y="206"/>
                    <a:pt x="1" y="202"/>
                  </a:cubicBezTo>
                  <a:cubicBezTo>
                    <a:pt x="1" y="198"/>
                    <a:pt x="1" y="195"/>
                    <a:pt x="1" y="191"/>
                  </a:cubicBezTo>
                  <a:cubicBezTo>
                    <a:pt x="1" y="188"/>
                    <a:pt x="0" y="185"/>
                    <a:pt x="0" y="182"/>
                  </a:cubicBezTo>
                  <a:cubicBezTo>
                    <a:pt x="0" y="179"/>
                    <a:pt x="0" y="176"/>
                    <a:pt x="0" y="173"/>
                  </a:cubicBezTo>
                  <a:cubicBezTo>
                    <a:pt x="0" y="170"/>
                    <a:pt x="0" y="166"/>
                    <a:pt x="0" y="163"/>
                  </a:cubicBezTo>
                  <a:cubicBezTo>
                    <a:pt x="0" y="161"/>
                    <a:pt x="0" y="160"/>
                    <a:pt x="0" y="158"/>
                  </a:cubicBezTo>
                  <a:cubicBezTo>
                    <a:pt x="0" y="156"/>
                    <a:pt x="0" y="154"/>
                    <a:pt x="0" y="153"/>
                  </a:cubicBezTo>
                  <a:cubicBezTo>
                    <a:pt x="0" y="150"/>
                    <a:pt x="0" y="147"/>
                    <a:pt x="0" y="145"/>
                  </a:cubicBezTo>
                  <a:cubicBezTo>
                    <a:pt x="0" y="143"/>
                    <a:pt x="0" y="142"/>
                    <a:pt x="0" y="140"/>
                  </a:cubicBezTo>
                  <a:cubicBezTo>
                    <a:pt x="0" y="140"/>
                    <a:pt x="0" y="139"/>
                    <a:pt x="0" y="138"/>
                  </a:cubicBezTo>
                  <a:cubicBezTo>
                    <a:pt x="0" y="136"/>
                    <a:pt x="0" y="134"/>
                    <a:pt x="0" y="132"/>
                  </a:cubicBezTo>
                  <a:cubicBezTo>
                    <a:pt x="0" y="128"/>
                    <a:pt x="0" y="124"/>
                    <a:pt x="0" y="120"/>
                  </a:cubicBezTo>
                  <a:cubicBezTo>
                    <a:pt x="0" y="118"/>
                    <a:pt x="0" y="116"/>
                    <a:pt x="0" y="113"/>
                  </a:cubicBezTo>
                  <a:cubicBezTo>
                    <a:pt x="1" y="108"/>
                    <a:pt x="0" y="103"/>
                    <a:pt x="0" y="98"/>
                  </a:cubicBezTo>
                  <a:cubicBezTo>
                    <a:pt x="1" y="95"/>
                    <a:pt x="1" y="93"/>
                    <a:pt x="1" y="91"/>
                  </a:cubicBezTo>
                  <a:cubicBezTo>
                    <a:pt x="1" y="87"/>
                    <a:pt x="1" y="82"/>
                    <a:pt x="1" y="78"/>
                  </a:cubicBezTo>
                  <a:cubicBezTo>
                    <a:pt x="1" y="75"/>
                    <a:pt x="1" y="71"/>
                    <a:pt x="1" y="67"/>
                  </a:cubicBezTo>
                  <a:cubicBezTo>
                    <a:pt x="1" y="62"/>
                    <a:pt x="1" y="58"/>
                    <a:pt x="1" y="53"/>
                  </a:cubicBezTo>
                  <a:cubicBezTo>
                    <a:pt x="1" y="50"/>
                    <a:pt x="1" y="48"/>
                    <a:pt x="1" y="45"/>
                  </a:cubicBezTo>
                  <a:cubicBezTo>
                    <a:pt x="1" y="42"/>
                    <a:pt x="1" y="39"/>
                    <a:pt x="1" y="36"/>
                  </a:cubicBezTo>
                  <a:cubicBezTo>
                    <a:pt x="1" y="34"/>
                    <a:pt x="1" y="32"/>
                    <a:pt x="1" y="30"/>
                  </a:cubicBezTo>
                  <a:cubicBezTo>
                    <a:pt x="2" y="26"/>
                    <a:pt x="1" y="23"/>
                    <a:pt x="1" y="20"/>
                  </a:cubicBezTo>
                  <a:cubicBezTo>
                    <a:pt x="1" y="16"/>
                    <a:pt x="2" y="13"/>
                    <a:pt x="1" y="9"/>
                  </a:cubicBezTo>
                  <a:cubicBezTo>
                    <a:pt x="1" y="6"/>
                    <a:pt x="1" y="3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3" y="3"/>
                    <a:pt x="3" y="5"/>
                  </a:cubicBezTo>
                  <a:cubicBezTo>
                    <a:pt x="3" y="7"/>
                    <a:pt x="3" y="8"/>
                    <a:pt x="3" y="10"/>
                  </a:cubicBezTo>
                  <a:cubicBezTo>
                    <a:pt x="3" y="13"/>
                    <a:pt x="3" y="15"/>
                    <a:pt x="3" y="18"/>
                  </a:cubicBezTo>
                  <a:cubicBezTo>
                    <a:pt x="3" y="20"/>
                    <a:pt x="3" y="22"/>
                    <a:pt x="3" y="24"/>
                  </a:cubicBezTo>
                  <a:cubicBezTo>
                    <a:pt x="3" y="25"/>
                    <a:pt x="3" y="26"/>
                    <a:pt x="3" y="27"/>
                  </a:cubicBezTo>
                  <a:cubicBezTo>
                    <a:pt x="3" y="29"/>
                    <a:pt x="3" y="31"/>
                    <a:pt x="3" y="33"/>
                  </a:cubicBezTo>
                  <a:cubicBezTo>
                    <a:pt x="3" y="35"/>
                    <a:pt x="2" y="38"/>
                    <a:pt x="2" y="41"/>
                  </a:cubicBezTo>
                  <a:cubicBezTo>
                    <a:pt x="3" y="43"/>
                    <a:pt x="2" y="45"/>
                    <a:pt x="2" y="47"/>
                  </a:cubicBezTo>
                  <a:cubicBezTo>
                    <a:pt x="2" y="51"/>
                    <a:pt x="2" y="56"/>
                    <a:pt x="2" y="60"/>
                  </a:cubicBezTo>
                  <a:cubicBezTo>
                    <a:pt x="2" y="65"/>
                    <a:pt x="2" y="69"/>
                    <a:pt x="2" y="73"/>
                  </a:cubicBezTo>
                  <a:cubicBezTo>
                    <a:pt x="2" y="78"/>
                    <a:pt x="2" y="82"/>
                    <a:pt x="2" y="87"/>
                  </a:cubicBezTo>
                  <a:cubicBezTo>
                    <a:pt x="2" y="90"/>
                    <a:pt x="2" y="94"/>
                    <a:pt x="2" y="98"/>
                  </a:cubicBezTo>
                  <a:cubicBezTo>
                    <a:pt x="1" y="100"/>
                    <a:pt x="2" y="103"/>
                    <a:pt x="2" y="106"/>
                  </a:cubicBezTo>
                  <a:cubicBezTo>
                    <a:pt x="2" y="110"/>
                    <a:pt x="2" y="113"/>
                    <a:pt x="1" y="117"/>
                  </a:cubicBezTo>
                  <a:cubicBezTo>
                    <a:pt x="1" y="122"/>
                    <a:pt x="2" y="127"/>
                    <a:pt x="2" y="133"/>
                  </a:cubicBezTo>
                  <a:cubicBezTo>
                    <a:pt x="2" y="136"/>
                    <a:pt x="2" y="139"/>
                    <a:pt x="2" y="143"/>
                  </a:cubicBezTo>
                  <a:cubicBezTo>
                    <a:pt x="2" y="144"/>
                    <a:pt x="2" y="145"/>
                    <a:pt x="2" y="147"/>
                  </a:cubicBezTo>
                  <a:cubicBezTo>
                    <a:pt x="2" y="151"/>
                    <a:pt x="2" y="156"/>
                    <a:pt x="2" y="161"/>
                  </a:cubicBezTo>
                  <a:cubicBezTo>
                    <a:pt x="2" y="163"/>
                    <a:pt x="2" y="164"/>
                    <a:pt x="2" y="166"/>
                  </a:cubicBezTo>
                  <a:cubicBezTo>
                    <a:pt x="2" y="167"/>
                    <a:pt x="2" y="168"/>
                    <a:pt x="2" y="170"/>
                  </a:cubicBezTo>
                  <a:cubicBezTo>
                    <a:pt x="2" y="174"/>
                    <a:pt x="2" y="178"/>
                    <a:pt x="2" y="182"/>
                  </a:cubicBezTo>
                  <a:cubicBezTo>
                    <a:pt x="2" y="185"/>
                    <a:pt x="2" y="188"/>
                    <a:pt x="2" y="191"/>
                  </a:cubicBezTo>
                  <a:cubicBezTo>
                    <a:pt x="2" y="193"/>
                    <a:pt x="2" y="196"/>
                    <a:pt x="2" y="199"/>
                  </a:cubicBezTo>
                  <a:cubicBezTo>
                    <a:pt x="2" y="202"/>
                    <a:pt x="2" y="205"/>
                    <a:pt x="3" y="208"/>
                  </a:cubicBezTo>
                  <a:cubicBezTo>
                    <a:pt x="3" y="212"/>
                    <a:pt x="3" y="217"/>
                    <a:pt x="3" y="221"/>
                  </a:cubicBezTo>
                  <a:cubicBezTo>
                    <a:pt x="3" y="224"/>
                    <a:pt x="3" y="228"/>
                    <a:pt x="3" y="231"/>
                  </a:cubicBezTo>
                  <a:cubicBezTo>
                    <a:pt x="4" y="235"/>
                    <a:pt x="4" y="239"/>
                    <a:pt x="4" y="243"/>
                  </a:cubicBezTo>
                  <a:cubicBezTo>
                    <a:pt x="4" y="246"/>
                    <a:pt x="4" y="248"/>
                    <a:pt x="4" y="250"/>
                  </a:cubicBezTo>
                  <a:cubicBezTo>
                    <a:pt x="4" y="253"/>
                    <a:pt x="4" y="255"/>
                    <a:pt x="4" y="258"/>
                  </a:cubicBezTo>
                  <a:cubicBezTo>
                    <a:pt x="4" y="261"/>
                    <a:pt x="4" y="264"/>
                    <a:pt x="4" y="267"/>
                  </a:cubicBezTo>
                  <a:cubicBezTo>
                    <a:pt x="4" y="268"/>
                    <a:pt x="4" y="268"/>
                    <a:pt x="4" y="269"/>
                  </a:cubicBezTo>
                  <a:cubicBezTo>
                    <a:pt x="4" y="276"/>
                    <a:pt x="4" y="283"/>
                    <a:pt x="4" y="291"/>
                  </a:cubicBezTo>
                  <a:cubicBezTo>
                    <a:pt x="4" y="293"/>
                    <a:pt x="4" y="296"/>
                    <a:pt x="4" y="298"/>
                  </a:cubicBezTo>
                  <a:cubicBezTo>
                    <a:pt x="4" y="301"/>
                    <a:pt x="4" y="305"/>
                    <a:pt x="4" y="308"/>
                  </a:cubicBezTo>
                  <a:cubicBezTo>
                    <a:pt x="4" y="312"/>
                    <a:pt x="4" y="315"/>
                    <a:pt x="3" y="319"/>
                  </a:cubicBezTo>
                  <a:close/>
                </a:path>
              </a:pathLst>
            </a:custGeom>
            <a:grpFill/>
            <a:ln w="9525">
              <a:solidFill>
                <a:srgbClr val="5B9BD5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grpSp>
        <p:nvGrpSpPr>
          <p:cNvPr id="241" name="Group 240"/>
          <p:cNvGrpSpPr/>
          <p:nvPr/>
        </p:nvGrpSpPr>
        <p:grpSpPr>
          <a:xfrm>
            <a:off x="2923811" y="4199126"/>
            <a:ext cx="1688968" cy="1643879"/>
            <a:chOff x="12138026" y="5800725"/>
            <a:chExt cx="1058862" cy="1547813"/>
          </a:xfrm>
          <a:solidFill>
            <a:srgbClr val="00B050"/>
          </a:solidFill>
        </p:grpSpPr>
        <p:sp>
          <p:nvSpPr>
            <p:cNvPr id="242" name="Freeform 602"/>
            <p:cNvSpPr>
              <a:spLocks noEditPoints="1"/>
            </p:cNvSpPr>
            <p:nvPr/>
          </p:nvSpPr>
          <p:spPr bwMode="auto">
            <a:xfrm>
              <a:off x="12138026" y="5800725"/>
              <a:ext cx="981075" cy="163513"/>
            </a:xfrm>
            <a:custGeom>
              <a:avLst/>
              <a:gdLst>
                <a:gd name="T0" fmla="*/ 144 w 227"/>
                <a:gd name="T1" fmla="*/ 24 h 38"/>
                <a:gd name="T2" fmla="*/ 184 w 227"/>
                <a:gd name="T3" fmla="*/ 23 h 38"/>
                <a:gd name="T4" fmla="*/ 213 w 227"/>
                <a:gd name="T5" fmla="*/ 22 h 38"/>
                <a:gd name="T6" fmla="*/ 226 w 227"/>
                <a:gd name="T7" fmla="*/ 23 h 38"/>
                <a:gd name="T8" fmla="*/ 209 w 227"/>
                <a:gd name="T9" fmla="*/ 24 h 38"/>
                <a:gd name="T10" fmla="*/ 170 w 227"/>
                <a:gd name="T11" fmla="*/ 25 h 38"/>
                <a:gd name="T12" fmla="*/ 145 w 227"/>
                <a:gd name="T13" fmla="*/ 25 h 38"/>
                <a:gd name="T14" fmla="*/ 136 w 227"/>
                <a:gd name="T15" fmla="*/ 30 h 38"/>
                <a:gd name="T16" fmla="*/ 134 w 227"/>
                <a:gd name="T17" fmla="*/ 37 h 38"/>
                <a:gd name="T18" fmla="*/ 128 w 227"/>
                <a:gd name="T19" fmla="*/ 38 h 38"/>
                <a:gd name="T20" fmla="*/ 119 w 227"/>
                <a:gd name="T21" fmla="*/ 31 h 38"/>
                <a:gd name="T22" fmla="*/ 128 w 227"/>
                <a:gd name="T23" fmla="*/ 28 h 38"/>
                <a:gd name="T24" fmla="*/ 116 w 227"/>
                <a:gd name="T25" fmla="*/ 25 h 38"/>
                <a:gd name="T26" fmla="*/ 81 w 227"/>
                <a:gd name="T27" fmla="*/ 25 h 38"/>
                <a:gd name="T28" fmla="*/ 63 w 227"/>
                <a:gd name="T29" fmla="*/ 25 h 38"/>
                <a:gd name="T30" fmla="*/ 29 w 227"/>
                <a:gd name="T31" fmla="*/ 24 h 38"/>
                <a:gd name="T32" fmla="*/ 2 w 227"/>
                <a:gd name="T33" fmla="*/ 23 h 38"/>
                <a:gd name="T34" fmla="*/ 11 w 227"/>
                <a:gd name="T35" fmla="*/ 21 h 38"/>
                <a:gd name="T36" fmla="*/ 31 w 227"/>
                <a:gd name="T37" fmla="*/ 22 h 38"/>
                <a:gd name="T38" fmla="*/ 47 w 227"/>
                <a:gd name="T39" fmla="*/ 22 h 38"/>
                <a:gd name="T40" fmla="*/ 90 w 227"/>
                <a:gd name="T41" fmla="*/ 23 h 38"/>
                <a:gd name="T42" fmla="*/ 116 w 227"/>
                <a:gd name="T43" fmla="*/ 23 h 38"/>
                <a:gd name="T44" fmla="*/ 137 w 227"/>
                <a:gd name="T45" fmla="*/ 15 h 38"/>
                <a:gd name="T46" fmla="*/ 134 w 227"/>
                <a:gd name="T47" fmla="*/ 7 h 38"/>
                <a:gd name="T48" fmla="*/ 138 w 227"/>
                <a:gd name="T49" fmla="*/ 10 h 38"/>
                <a:gd name="T50" fmla="*/ 138 w 227"/>
                <a:gd name="T51" fmla="*/ 2 h 38"/>
                <a:gd name="T52" fmla="*/ 146 w 227"/>
                <a:gd name="T53" fmla="*/ 1 h 38"/>
                <a:gd name="T54" fmla="*/ 156 w 227"/>
                <a:gd name="T55" fmla="*/ 18 h 38"/>
                <a:gd name="T56" fmla="*/ 147 w 227"/>
                <a:gd name="T57" fmla="*/ 21 h 38"/>
                <a:gd name="T58" fmla="*/ 144 w 227"/>
                <a:gd name="T59" fmla="*/ 10 h 38"/>
                <a:gd name="T60" fmla="*/ 145 w 227"/>
                <a:gd name="T61" fmla="*/ 17 h 38"/>
                <a:gd name="T62" fmla="*/ 146 w 227"/>
                <a:gd name="T63" fmla="*/ 3 h 38"/>
                <a:gd name="T64" fmla="*/ 145 w 227"/>
                <a:gd name="T65" fmla="*/ 9 h 38"/>
                <a:gd name="T66" fmla="*/ 132 w 227"/>
                <a:gd name="T67" fmla="*/ 32 h 38"/>
                <a:gd name="T68" fmla="*/ 145 w 227"/>
                <a:gd name="T69" fmla="*/ 20 h 38"/>
                <a:gd name="T70" fmla="*/ 132 w 227"/>
                <a:gd name="T71" fmla="*/ 24 h 38"/>
                <a:gd name="T72" fmla="*/ 126 w 227"/>
                <a:gd name="T73" fmla="*/ 34 h 38"/>
                <a:gd name="T74" fmla="*/ 147 w 227"/>
                <a:gd name="T75" fmla="*/ 17 h 38"/>
                <a:gd name="T76" fmla="*/ 148 w 227"/>
                <a:gd name="T77" fmla="*/ 19 h 38"/>
                <a:gd name="T78" fmla="*/ 152 w 227"/>
                <a:gd name="T79" fmla="*/ 9 h 38"/>
                <a:gd name="T80" fmla="*/ 151 w 227"/>
                <a:gd name="T81" fmla="*/ 16 h 38"/>
                <a:gd name="T82" fmla="*/ 150 w 227"/>
                <a:gd name="T83" fmla="*/ 15 h 38"/>
                <a:gd name="T84" fmla="*/ 148 w 227"/>
                <a:gd name="T85" fmla="*/ 5 h 38"/>
                <a:gd name="T86" fmla="*/ 140 w 227"/>
                <a:gd name="T87" fmla="*/ 10 h 38"/>
                <a:gd name="T88" fmla="*/ 143 w 227"/>
                <a:gd name="T89" fmla="*/ 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7" h="38">
                  <a:moveTo>
                    <a:pt x="146" y="20"/>
                  </a:moveTo>
                  <a:cubicBezTo>
                    <a:pt x="145" y="21"/>
                    <a:pt x="144" y="22"/>
                    <a:pt x="143" y="24"/>
                  </a:cubicBezTo>
                  <a:cubicBezTo>
                    <a:pt x="144" y="24"/>
                    <a:pt x="144" y="24"/>
                    <a:pt x="144" y="24"/>
                  </a:cubicBezTo>
                  <a:cubicBezTo>
                    <a:pt x="152" y="24"/>
                    <a:pt x="160" y="24"/>
                    <a:pt x="168" y="24"/>
                  </a:cubicBezTo>
                  <a:cubicBezTo>
                    <a:pt x="172" y="23"/>
                    <a:pt x="176" y="23"/>
                    <a:pt x="180" y="23"/>
                  </a:cubicBezTo>
                  <a:cubicBezTo>
                    <a:pt x="182" y="23"/>
                    <a:pt x="183" y="23"/>
                    <a:pt x="184" y="23"/>
                  </a:cubicBezTo>
                  <a:cubicBezTo>
                    <a:pt x="187" y="23"/>
                    <a:pt x="190" y="23"/>
                    <a:pt x="192" y="23"/>
                  </a:cubicBezTo>
                  <a:cubicBezTo>
                    <a:pt x="196" y="23"/>
                    <a:pt x="199" y="23"/>
                    <a:pt x="202" y="23"/>
                  </a:cubicBezTo>
                  <a:cubicBezTo>
                    <a:pt x="206" y="22"/>
                    <a:pt x="210" y="22"/>
                    <a:pt x="213" y="22"/>
                  </a:cubicBezTo>
                  <a:cubicBezTo>
                    <a:pt x="216" y="22"/>
                    <a:pt x="219" y="22"/>
                    <a:pt x="221" y="22"/>
                  </a:cubicBezTo>
                  <a:cubicBezTo>
                    <a:pt x="223" y="22"/>
                    <a:pt x="225" y="22"/>
                    <a:pt x="227" y="23"/>
                  </a:cubicBezTo>
                  <a:cubicBezTo>
                    <a:pt x="226" y="23"/>
                    <a:pt x="226" y="23"/>
                    <a:pt x="226" y="23"/>
                  </a:cubicBezTo>
                  <a:cubicBezTo>
                    <a:pt x="225" y="23"/>
                    <a:pt x="225" y="23"/>
                    <a:pt x="224" y="23"/>
                  </a:cubicBezTo>
                  <a:cubicBezTo>
                    <a:pt x="221" y="23"/>
                    <a:pt x="217" y="24"/>
                    <a:pt x="214" y="24"/>
                  </a:cubicBezTo>
                  <a:cubicBezTo>
                    <a:pt x="212" y="24"/>
                    <a:pt x="211" y="24"/>
                    <a:pt x="209" y="24"/>
                  </a:cubicBezTo>
                  <a:cubicBezTo>
                    <a:pt x="205" y="24"/>
                    <a:pt x="201" y="24"/>
                    <a:pt x="197" y="24"/>
                  </a:cubicBezTo>
                  <a:cubicBezTo>
                    <a:pt x="191" y="24"/>
                    <a:pt x="185" y="25"/>
                    <a:pt x="178" y="25"/>
                  </a:cubicBezTo>
                  <a:cubicBezTo>
                    <a:pt x="176" y="25"/>
                    <a:pt x="173" y="25"/>
                    <a:pt x="170" y="25"/>
                  </a:cubicBezTo>
                  <a:cubicBezTo>
                    <a:pt x="167" y="25"/>
                    <a:pt x="164" y="25"/>
                    <a:pt x="162" y="25"/>
                  </a:cubicBezTo>
                  <a:cubicBezTo>
                    <a:pt x="160" y="25"/>
                    <a:pt x="158" y="25"/>
                    <a:pt x="156" y="25"/>
                  </a:cubicBezTo>
                  <a:cubicBezTo>
                    <a:pt x="152" y="25"/>
                    <a:pt x="149" y="25"/>
                    <a:pt x="145" y="25"/>
                  </a:cubicBezTo>
                  <a:cubicBezTo>
                    <a:pt x="144" y="25"/>
                    <a:pt x="143" y="25"/>
                    <a:pt x="142" y="25"/>
                  </a:cubicBezTo>
                  <a:cubicBezTo>
                    <a:pt x="141" y="25"/>
                    <a:pt x="141" y="26"/>
                    <a:pt x="141" y="26"/>
                  </a:cubicBezTo>
                  <a:cubicBezTo>
                    <a:pt x="139" y="27"/>
                    <a:pt x="138" y="29"/>
                    <a:pt x="136" y="30"/>
                  </a:cubicBezTo>
                  <a:cubicBezTo>
                    <a:pt x="135" y="31"/>
                    <a:pt x="134" y="32"/>
                    <a:pt x="133" y="33"/>
                  </a:cubicBezTo>
                  <a:cubicBezTo>
                    <a:pt x="132" y="34"/>
                    <a:pt x="132" y="35"/>
                    <a:pt x="131" y="35"/>
                  </a:cubicBezTo>
                  <a:cubicBezTo>
                    <a:pt x="132" y="36"/>
                    <a:pt x="134" y="36"/>
                    <a:pt x="134" y="37"/>
                  </a:cubicBezTo>
                  <a:cubicBezTo>
                    <a:pt x="133" y="38"/>
                    <a:pt x="132" y="37"/>
                    <a:pt x="130" y="37"/>
                  </a:cubicBezTo>
                  <a:cubicBezTo>
                    <a:pt x="130" y="38"/>
                    <a:pt x="129" y="38"/>
                    <a:pt x="129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6"/>
                    <a:pt x="126" y="36"/>
                    <a:pt x="125" y="36"/>
                  </a:cubicBezTo>
                  <a:cubicBezTo>
                    <a:pt x="123" y="35"/>
                    <a:pt x="121" y="34"/>
                    <a:pt x="119" y="33"/>
                  </a:cubicBezTo>
                  <a:cubicBezTo>
                    <a:pt x="119" y="33"/>
                    <a:pt x="119" y="32"/>
                    <a:pt x="119" y="31"/>
                  </a:cubicBezTo>
                  <a:cubicBezTo>
                    <a:pt x="120" y="32"/>
                    <a:pt x="122" y="33"/>
                    <a:pt x="123" y="33"/>
                  </a:cubicBezTo>
                  <a:cubicBezTo>
                    <a:pt x="124" y="34"/>
                    <a:pt x="124" y="34"/>
                    <a:pt x="125" y="33"/>
                  </a:cubicBezTo>
                  <a:cubicBezTo>
                    <a:pt x="126" y="31"/>
                    <a:pt x="127" y="29"/>
                    <a:pt x="128" y="28"/>
                  </a:cubicBezTo>
                  <a:cubicBezTo>
                    <a:pt x="128" y="27"/>
                    <a:pt x="129" y="26"/>
                    <a:pt x="129" y="26"/>
                  </a:cubicBezTo>
                  <a:cubicBezTo>
                    <a:pt x="129" y="25"/>
                    <a:pt x="129" y="25"/>
                    <a:pt x="128" y="25"/>
                  </a:cubicBezTo>
                  <a:cubicBezTo>
                    <a:pt x="124" y="25"/>
                    <a:pt x="120" y="25"/>
                    <a:pt x="116" y="25"/>
                  </a:cubicBezTo>
                  <a:cubicBezTo>
                    <a:pt x="111" y="25"/>
                    <a:pt x="106" y="25"/>
                    <a:pt x="102" y="25"/>
                  </a:cubicBezTo>
                  <a:cubicBezTo>
                    <a:pt x="99" y="25"/>
                    <a:pt x="97" y="25"/>
                    <a:pt x="94" y="25"/>
                  </a:cubicBezTo>
                  <a:cubicBezTo>
                    <a:pt x="90" y="25"/>
                    <a:pt x="86" y="25"/>
                    <a:pt x="81" y="25"/>
                  </a:cubicBezTo>
                  <a:cubicBezTo>
                    <a:pt x="80" y="25"/>
                    <a:pt x="79" y="25"/>
                    <a:pt x="78" y="25"/>
                  </a:cubicBezTo>
                  <a:cubicBezTo>
                    <a:pt x="76" y="25"/>
                    <a:pt x="75" y="25"/>
                    <a:pt x="73" y="25"/>
                  </a:cubicBezTo>
                  <a:cubicBezTo>
                    <a:pt x="70" y="25"/>
                    <a:pt x="66" y="25"/>
                    <a:pt x="63" y="25"/>
                  </a:cubicBezTo>
                  <a:cubicBezTo>
                    <a:pt x="60" y="24"/>
                    <a:pt x="58" y="24"/>
                    <a:pt x="55" y="24"/>
                  </a:cubicBezTo>
                  <a:cubicBezTo>
                    <a:pt x="53" y="24"/>
                    <a:pt x="51" y="24"/>
                    <a:pt x="48" y="24"/>
                  </a:cubicBezTo>
                  <a:cubicBezTo>
                    <a:pt x="42" y="24"/>
                    <a:pt x="36" y="24"/>
                    <a:pt x="29" y="24"/>
                  </a:cubicBezTo>
                  <a:cubicBezTo>
                    <a:pt x="24" y="24"/>
                    <a:pt x="19" y="24"/>
                    <a:pt x="13" y="23"/>
                  </a:cubicBezTo>
                  <a:cubicBezTo>
                    <a:pt x="11" y="23"/>
                    <a:pt x="9" y="24"/>
                    <a:pt x="7" y="24"/>
                  </a:cubicBezTo>
                  <a:cubicBezTo>
                    <a:pt x="5" y="24"/>
                    <a:pt x="3" y="23"/>
                    <a:pt x="2" y="23"/>
                  </a:cubicBezTo>
                  <a:cubicBezTo>
                    <a:pt x="1" y="23"/>
                    <a:pt x="1" y="23"/>
                    <a:pt x="0" y="22"/>
                  </a:cubicBezTo>
                  <a:cubicBezTo>
                    <a:pt x="2" y="22"/>
                    <a:pt x="3" y="22"/>
                    <a:pt x="5" y="22"/>
                  </a:cubicBezTo>
                  <a:cubicBezTo>
                    <a:pt x="7" y="22"/>
                    <a:pt x="9" y="22"/>
                    <a:pt x="11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2" y="22"/>
                    <a:pt x="14" y="22"/>
                    <a:pt x="15" y="22"/>
                  </a:cubicBezTo>
                  <a:cubicBezTo>
                    <a:pt x="20" y="22"/>
                    <a:pt x="26" y="22"/>
                    <a:pt x="31" y="22"/>
                  </a:cubicBezTo>
                  <a:cubicBezTo>
                    <a:pt x="35" y="22"/>
                    <a:pt x="38" y="22"/>
                    <a:pt x="41" y="22"/>
                  </a:cubicBezTo>
                  <a:cubicBezTo>
                    <a:pt x="42" y="22"/>
                    <a:pt x="43" y="22"/>
                    <a:pt x="44" y="22"/>
                  </a:cubicBezTo>
                  <a:cubicBezTo>
                    <a:pt x="45" y="22"/>
                    <a:pt x="46" y="22"/>
                    <a:pt x="47" y="22"/>
                  </a:cubicBezTo>
                  <a:cubicBezTo>
                    <a:pt x="53" y="23"/>
                    <a:pt x="58" y="23"/>
                    <a:pt x="64" y="23"/>
                  </a:cubicBezTo>
                  <a:cubicBezTo>
                    <a:pt x="69" y="23"/>
                    <a:pt x="74" y="23"/>
                    <a:pt x="80" y="23"/>
                  </a:cubicBezTo>
                  <a:cubicBezTo>
                    <a:pt x="83" y="23"/>
                    <a:pt x="87" y="23"/>
                    <a:pt x="90" y="23"/>
                  </a:cubicBezTo>
                  <a:cubicBezTo>
                    <a:pt x="94" y="23"/>
                    <a:pt x="97" y="23"/>
                    <a:pt x="101" y="23"/>
                  </a:cubicBezTo>
                  <a:cubicBezTo>
                    <a:pt x="104" y="23"/>
                    <a:pt x="107" y="23"/>
                    <a:pt x="110" y="23"/>
                  </a:cubicBezTo>
                  <a:cubicBezTo>
                    <a:pt x="112" y="23"/>
                    <a:pt x="114" y="23"/>
                    <a:pt x="116" y="23"/>
                  </a:cubicBezTo>
                  <a:cubicBezTo>
                    <a:pt x="121" y="23"/>
                    <a:pt x="125" y="23"/>
                    <a:pt x="129" y="24"/>
                  </a:cubicBezTo>
                  <a:cubicBezTo>
                    <a:pt x="130" y="24"/>
                    <a:pt x="131" y="23"/>
                    <a:pt x="132" y="22"/>
                  </a:cubicBezTo>
                  <a:cubicBezTo>
                    <a:pt x="134" y="20"/>
                    <a:pt x="135" y="17"/>
                    <a:pt x="137" y="15"/>
                  </a:cubicBezTo>
                  <a:cubicBezTo>
                    <a:pt x="138" y="15"/>
                    <a:pt x="138" y="14"/>
                    <a:pt x="138" y="14"/>
                  </a:cubicBezTo>
                  <a:cubicBezTo>
                    <a:pt x="138" y="13"/>
                    <a:pt x="137" y="11"/>
                    <a:pt x="136" y="10"/>
                  </a:cubicBezTo>
                  <a:cubicBezTo>
                    <a:pt x="135" y="9"/>
                    <a:pt x="135" y="8"/>
                    <a:pt x="134" y="7"/>
                  </a:cubicBezTo>
                  <a:cubicBezTo>
                    <a:pt x="134" y="6"/>
                    <a:pt x="134" y="6"/>
                    <a:pt x="135" y="5"/>
                  </a:cubicBezTo>
                  <a:cubicBezTo>
                    <a:pt x="136" y="5"/>
                    <a:pt x="136" y="5"/>
                    <a:pt x="136" y="6"/>
                  </a:cubicBezTo>
                  <a:cubicBezTo>
                    <a:pt x="137" y="7"/>
                    <a:pt x="137" y="8"/>
                    <a:pt x="138" y="10"/>
                  </a:cubicBezTo>
                  <a:cubicBezTo>
                    <a:pt x="139" y="7"/>
                    <a:pt x="139" y="4"/>
                    <a:pt x="140" y="1"/>
                  </a:cubicBezTo>
                  <a:cubicBezTo>
                    <a:pt x="139" y="2"/>
                    <a:pt x="139" y="2"/>
                    <a:pt x="139" y="2"/>
                  </a:cubicBezTo>
                  <a:cubicBezTo>
                    <a:pt x="138" y="2"/>
                    <a:pt x="138" y="2"/>
                    <a:pt x="138" y="2"/>
                  </a:cubicBezTo>
                  <a:cubicBezTo>
                    <a:pt x="137" y="1"/>
                    <a:pt x="137" y="1"/>
                    <a:pt x="138" y="0"/>
                  </a:cubicBezTo>
                  <a:cubicBezTo>
                    <a:pt x="139" y="0"/>
                    <a:pt x="140" y="0"/>
                    <a:pt x="141" y="0"/>
                  </a:cubicBezTo>
                  <a:cubicBezTo>
                    <a:pt x="143" y="0"/>
                    <a:pt x="145" y="1"/>
                    <a:pt x="146" y="1"/>
                  </a:cubicBezTo>
                  <a:cubicBezTo>
                    <a:pt x="147" y="2"/>
                    <a:pt x="148" y="2"/>
                    <a:pt x="149" y="3"/>
                  </a:cubicBezTo>
                  <a:cubicBezTo>
                    <a:pt x="152" y="5"/>
                    <a:pt x="154" y="8"/>
                    <a:pt x="155" y="12"/>
                  </a:cubicBezTo>
                  <a:cubicBezTo>
                    <a:pt x="156" y="14"/>
                    <a:pt x="156" y="16"/>
                    <a:pt x="156" y="18"/>
                  </a:cubicBezTo>
                  <a:cubicBezTo>
                    <a:pt x="156" y="19"/>
                    <a:pt x="156" y="20"/>
                    <a:pt x="155" y="21"/>
                  </a:cubicBezTo>
                  <a:cubicBezTo>
                    <a:pt x="154" y="23"/>
                    <a:pt x="153" y="24"/>
                    <a:pt x="151" y="23"/>
                  </a:cubicBezTo>
                  <a:cubicBezTo>
                    <a:pt x="150" y="23"/>
                    <a:pt x="149" y="22"/>
                    <a:pt x="147" y="21"/>
                  </a:cubicBezTo>
                  <a:cubicBezTo>
                    <a:pt x="147" y="21"/>
                    <a:pt x="146" y="21"/>
                    <a:pt x="146" y="20"/>
                  </a:cubicBezTo>
                  <a:close/>
                  <a:moveTo>
                    <a:pt x="145" y="9"/>
                  </a:moveTo>
                  <a:cubicBezTo>
                    <a:pt x="145" y="9"/>
                    <a:pt x="145" y="10"/>
                    <a:pt x="144" y="10"/>
                  </a:cubicBezTo>
                  <a:cubicBezTo>
                    <a:pt x="143" y="11"/>
                    <a:pt x="142" y="12"/>
                    <a:pt x="143" y="14"/>
                  </a:cubicBezTo>
                  <a:cubicBezTo>
                    <a:pt x="142" y="14"/>
                    <a:pt x="142" y="14"/>
                    <a:pt x="142" y="15"/>
                  </a:cubicBezTo>
                  <a:cubicBezTo>
                    <a:pt x="143" y="16"/>
                    <a:pt x="144" y="16"/>
                    <a:pt x="145" y="17"/>
                  </a:cubicBezTo>
                  <a:cubicBezTo>
                    <a:pt x="145" y="14"/>
                    <a:pt x="145" y="12"/>
                    <a:pt x="146" y="9"/>
                  </a:cubicBezTo>
                  <a:cubicBezTo>
                    <a:pt x="146" y="9"/>
                    <a:pt x="146" y="8"/>
                    <a:pt x="146" y="8"/>
                  </a:cubicBezTo>
                  <a:cubicBezTo>
                    <a:pt x="146" y="6"/>
                    <a:pt x="146" y="5"/>
                    <a:pt x="146" y="3"/>
                  </a:cubicBezTo>
                  <a:cubicBezTo>
                    <a:pt x="146" y="3"/>
                    <a:pt x="145" y="3"/>
                    <a:pt x="145" y="3"/>
                  </a:cubicBezTo>
                  <a:cubicBezTo>
                    <a:pt x="144" y="5"/>
                    <a:pt x="144" y="7"/>
                    <a:pt x="143" y="9"/>
                  </a:cubicBezTo>
                  <a:cubicBezTo>
                    <a:pt x="144" y="9"/>
                    <a:pt x="145" y="8"/>
                    <a:pt x="145" y="9"/>
                  </a:cubicBezTo>
                  <a:close/>
                  <a:moveTo>
                    <a:pt x="126" y="34"/>
                  </a:moveTo>
                  <a:cubicBezTo>
                    <a:pt x="128" y="35"/>
                    <a:pt x="129" y="35"/>
                    <a:pt x="130" y="34"/>
                  </a:cubicBezTo>
                  <a:cubicBezTo>
                    <a:pt x="130" y="33"/>
                    <a:pt x="131" y="32"/>
                    <a:pt x="132" y="32"/>
                  </a:cubicBezTo>
                  <a:cubicBezTo>
                    <a:pt x="134" y="30"/>
                    <a:pt x="135" y="28"/>
                    <a:pt x="137" y="27"/>
                  </a:cubicBezTo>
                  <a:cubicBezTo>
                    <a:pt x="138" y="26"/>
                    <a:pt x="138" y="25"/>
                    <a:pt x="139" y="24"/>
                  </a:cubicBezTo>
                  <a:cubicBezTo>
                    <a:pt x="141" y="23"/>
                    <a:pt x="143" y="21"/>
                    <a:pt x="145" y="20"/>
                  </a:cubicBezTo>
                  <a:cubicBezTo>
                    <a:pt x="143" y="18"/>
                    <a:pt x="141" y="17"/>
                    <a:pt x="139" y="15"/>
                  </a:cubicBezTo>
                  <a:cubicBezTo>
                    <a:pt x="139" y="16"/>
                    <a:pt x="138" y="16"/>
                    <a:pt x="138" y="16"/>
                  </a:cubicBezTo>
                  <a:cubicBezTo>
                    <a:pt x="136" y="19"/>
                    <a:pt x="134" y="22"/>
                    <a:pt x="132" y="24"/>
                  </a:cubicBezTo>
                  <a:cubicBezTo>
                    <a:pt x="132" y="24"/>
                    <a:pt x="132" y="24"/>
                    <a:pt x="132" y="25"/>
                  </a:cubicBezTo>
                  <a:cubicBezTo>
                    <a:pt x="131" y="26"/>
                    <a:pt x="130" y="27"/>
                    <a:pt x="129" y="29"/>
                  </a:cubicBezTo>
                  <a:cubicBezTo>
                    <a:pt x="128" y="31"/>
                    <a:pt x="127" y="32"/>
                    <a:pt x="126" y="34"/>
                  </a:cubicBezTo>
                  <a:close/>
                  <a:moveTo>
                    <a:pt x="148" y="5"/>
                  </a:moveTo>
                  <a:cubicBezTo>
                    <a:pt x="148" y="7"/>
                    <a:pt x="147" y="9"/>
                    <a:pt x="147" y="11"/>
                  </a:cubicBezTo>
                  <a:cubicBezTo>
                    <a:pt x="147" y="13"/>
                    <a:pt x="147" y="15"/>
                    <a:pt x="147" y="17"/>
                  </a:cubicBezTo>
                  <a:cubicBezTo>
                    <a:pt x="146" y="17"/>
                    <a:pt x="146" y="17"/>
                    <a:pt x="146" y="18"/>
                  </a:cubicBezTo>
                  <a:cubicBezTo>
                    <a:pt x="146" y="18"/>
                    <a:pt x="147" y="18"/>
                    <a:pt x="147" y="18"/>
                  </a:cubicBezTo>
                  <a:cubicBezTo>
                    <a:pt x="148" y="18"/>
                    <a:pt x="148" y="19"/>
                    <a:pt x="148" y="19"/>
                  </a:cubicBezTo>
                  <a:cubicBezTo>
                    <a:pt x="149" y="20"/>
                    <a:pt x="150" y="20"/>
                    <a:pt x="151" y="21"/>
                  </a:cubicBezTo>
                  <a:cubicBezTo>
                    <a:pt x="153" y="21"/>
                    <a:pt x="154" y="21"/>
                    <a:pt x="154" y="19"/>
                  </a:cubicBezTo>
                  <a:cubicBezTo>
                    <a:pt x="155" y="15"/>
                    <a:pt x="154" y="12"/>
                    <a:pt x="152" y="9"/>
                  </a:cubicBezTo>
                  <a:cubicBezTo>
                    <a:pt x="152" y="9"/>
                    <a:pt x="152" y="9"/>
                    <a:pt x="152" y="9"/>
                  </a:cubicBezTo>
                  <a:cubicBezTo>
                    <a:pt x="152" y="10"/>
                    <a:pt x="152" y="11"/>
                    <a:pt x="152" y="12"/>
                  </a:cubicBezTo>
                  <a:cubicBezTo>
                    <a:pt x="152" y="13"/>
                    <a:pt x="152" y="14"/>
                    <a:pt x="151" y="16"/>
                  </a:cubicBezTo>
                  <a:cubicBezTo>
                    <a:pt x="151" y="16"/>
                    <a:pt x="151" y="16"/>
                    <a:pt x="151" y="16"/>
                  </a:cubicBezTo>
                  <a:cubicBezTo>
                    <a:pt x="151" y="16"/>
                    <a:pt x="150" y="16"/>
                    <a:pt x="150" y="16"/>
                  </a:cubicBezTo>
                  <a:cubicBezTo>
                    <a:pt x="150" y="16"/>
                    <a:pt x="150" y="15"/>
                    <a:pt x="150" y="15"/>
                  </a:cubicBezTo>
                  <a:cubicBezTo>
                    <a:pt x="150" y="14"/>
                    <a:pt x="150" y="12"/>
                    <a:pt x="150" y="11"/>
                  </a:cubicBezTo>
                  <a:cubicBezTo>
                    <a:pt x="149" y="9"/>
                    <a:pt x="150" y="8"/>
                    <a:pt x="151" y="7"/>
                  </a:cubicBezTo>
                  <a:cubicBezTo>
                    <a:pt x="150" y="6"/>
                    <a:pt x="149" y="6"/>
                    <a:pt x="148" y="5"/>
                  </a:cubicBezTo>
                  <a:close/>
                  <a:moveTo>
                    <a:pt x="141" y="2"/>
                  </a:moveTo>
                  <a:cubicBezTo>
                    <a:pt x="141" y="4"/>
                    <a:pt x="141" y="6"/>
                    <a:pt x="141" y="8"/>
                  </a:cubicBezTo>
                  <a:cubicBezTo>
                    <a:pt x="141" y="8"/>
                    <a:pt x="140" y="9"/>
                    <a:pt x="140" y="10"/>
                  </a:cubicBezTo>
                  <a:cubicBezTo>
                    <a:pt x="140" y="10"/>
                    <a:pt x="141" y="10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ubicBezTo>
                    <a:pt x="142" y="8"/>
                    <a:pt x="142" y="5"/>
                    <a:pt x="143" y="2"/>
                  </a:cubicBezTo>
                  <a:cubicBezTo>
                    <a:pt x="143" y="1"/>
                    <a:pt x="142" y="1"/>
                    <a:pt x="141" y="2"/>
                  </a:cubicBezTo>
                  <a:close/>
                </a:path>
              </a:pathLst>
            </a:custGeom>
            <a:grpFill/>
            <a:ln w="9525">
              <a:solidFill>
                <a:srgbClr val="5B9BD5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43" name="Freeform 603"/>
            <p:cNvSpPr>
              <a:spLocks/>
            </p:cNvSpPr>
            <p:nvPr/>
          </p:nvSpPr>
          <p:spPr bwMode="auto">
            <a:xfrm>
              <a:off x="13161963" y="5903913"/>
              <a:ext cx="34925" cy="1423988"/>
            </a:xfrm>
            <a:custGeom>
              <a:avLst/>
              <a:gdLst>
                <a:gd name="T0" fmla="*/ 7 w 8"/>
                <a:gd name="T1" fmla="*/ 327 h 329"/>
                <a:gd name="T2" fmla="*/ 5 w 8"/>
                <a:gd name="T3" fmla="*/ 309 h 329"/>
                <a:gd name="T4" fmla="*/ 4 w 8"/>
                <a:gd name="T5" fmla="*/ 293 h 329"/>
                <a:gd name="T6" fmla="*/ 3 w 8"/>
                <a:gd name="T7" fmla="*/ 276 h 329"/>
                <a:gd name="T8" fmla="*/ 1 w 8"/>
                <a:gd name="T9" fmla="*/ 255 h 329"/>
                <a:gd name="T10" fmla="*/ 1 w 8"/>
                <a:gd name="T11" fmla="*/ 232 h 329"/>
                <a:gd name="T12" fmla="*/ 1 w 8"/>
                <a:gd name="T13" fmla="*/ 212 h 329"/>
                <a:gd name="T14" fmla="*/ 0 w 8"/>
                <a:gd name="T15" fmla="*/ 184 h 329"/>
                <a:gd name="T16" fmla="*/ 1 w 8"/>
                <a:gd name="T17" fmla="*/ 174 h 329"/>
                <a:gd name="T18" fmla="*/ 0 w 8"/>
                <a:gd name="T19" fmla="*/ 165 h 329"/>
                <a:gd name="T20" fmla="*/ 1 w 8"/>
                <a:gd name="T21" fmla="*/ 146 h 329"/>
                <a:gd name="T22" fmla="*/ 0 w 8"/>
                <a:gd name="T23" fmla="*/ 137 h 329"/>
                <a:gd name="T24" fmla="*/ 0 w 8"/>
                <a:gd name="T25" fmla="*/ 119 h 329"/>
                <a:gd name="T26" fmla="*/ 0 w 8"/>
                <a:gd name="T27" fmla="*/ 112 h 329"/>
                <a:gd name="T28" fmla="*/ 0 w 8"/>
                <a:gd name="T29" fmla="*/ 93 h 329"/>
                <a:gd name="T30" fmla="*/ 1 w 8"/>
                <a:gd name="T31" fmla="*/ 70 h 329"/>
                <a:gd name="T32" fmla="*/ 2 w 8"/>
                <a:gd name="T33" fmla="*/ 52 h 329"/>
                <a:gd name="T34" fmla="*/ 4 w 8"/>
                <a:gd name="T35" fmla="*/ 38 h 329"/>
                <a:gd name="T36" fmla="*/ 6 w 8"/>
                <a:gd name="T37" fmla="*/ 15 h 329"/>
                <a:gd name="T38" fmla="*/ 7 w 8"/>
                <a:gd name="T39" fmla="*/ 1 h 329"/>
                <a:gd name="T40" fmla="*/ 8 w 8"/>
                <a:gd name="T41" fmla="*/ 4 h 329"/>
                <a:gd name="T42" fmla="*/ 7 w 8"/>
                <a:gd name="T43" fmla="*/ 23 h 329"/>
                <a:gd name="T44" fmla="*/ 5 w 8"/>
                <a:gd name="T45" fmla="*/ 39 h 329"/>
                <a:gd name="T46" fmla="*/ 4 w 8"/>
                <a:gd name="T47" fmla="*/ 49 h 329"/>
                <a:gd name="T48" fmla="*/ 3 w 8"/>
                <a:gd name="T49" fmla="*/ 64 h 329"/>
                <a:gd name="T50" fmla="*/ 2 w 8"/>
                <a:gd name="T51" fmla="*/ 94 h 329"/>
                <a:gd name="T52" fmla="*/ 2 w 8"/>
                <a:gd name="T53" fmla="*/ 117 h 329"/>
                <a:gd name="T54" fmla="*/ 2 w 8"/>
                <a:gd name="T55" fmla="*/ 141 h 329"/>
                <a:gd name="T56" fmla="*/ 2 w 8"/>
                <a:gd name="T57" fmla="*/ 160 h 329"/>
                <a:gd name="T58" fmla="*/ 2 w 8"/>
                <a:gd name="T59" fmla="*/ 175 h 329"/>
                <a:gd name="T60" fmla="*/ 2 w 8"/>
                <a:gd name="T61" fmla="*/ 191 h 329"/>
                <a:gd name="T62" fmla="*/ 2 w 8"/>
                <a:gd name="T63" fmla="*/ 207 h 329"/>
                <a:gd name="T64" fmla="*/ 3 w 8"/>
                <a:gd name="T65" fmla="*/ 239 h 329"/>
                <a:gd name="T66" fmla="*/ 3 w 8"/>
                <a:gd name="T67" fmla="*/ 261 h 329"/>
                <a:gd name="T68" fmla="*/ 5 w 8"/>
                <a:gd name="T69" fmla="*/ 283 h 329"/>
                <a:gd name="T70" fmla="*/ 6 w 8"/>
                <a:gd name="T71" fmla="*/ 300 h 329"/>
                <a:gd name="T72" fmla="*/ 8 w 8"/>
                <a:gd name="T73" fmla="*/ 325 h 329"/>
                <a:gd name="T74" fmla="*/ 7 w 8"/>
                <a:gd name="T75" fmla="*/ 32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" h="329">
                  <a:moveTo>
                    <a:pt x="7" y="329"/>
                  </a:moveTo>
                  <a:cubicBezTo>
                    <a:pt x="7" y="328"/>
                    <a:pt x="7" y="328"/>
                    <a:pt x="7" y="327"/>
                  </a:cubicBezTo>
                  <a:cubicBezTo>
                    <a:pt x="7" y="324"/>
                    <a:pt x="7" y="321"/>
                    <a:pt x="6" y="318"/>
                  </a:cubicBezTo>
                  <a:cubicBezTo>
                    <a:pt x="6" y="315"/>
                    <a:pt x="6" y="312"/>
                    <a:pt x="5" y="309"/>
                  </a:cubicBezTo>
                  <a:cubicBezTo>
                    <a:pt x="5" y="307"/>
                    <a:pt x="5" y="304"/>
                    <a:pt x="5" y="301"/>
                  </a:cubicBezTo>
                  <a:cubicBezTo>
                    <a:pt x="4" y="298"/>
                    <a:pt x="4" y="296"/>
                    <a:pt x="4" y="293"/>
                  </a:cubicBezTo>
                  <a:cubicBezTo>
                    <a:pt x="4" y="289"/>
                    <a:pt x="4" y="286"/>
                    <a:pt x="3" y="282"/>
                  </a:cubicBezTo>
                  <a:cubicBezTo>
                    <a:pt x="3" y="280"/>
                    <a:pt x="3" y="278"/>
                    <a:pt x="3" y="276"/>
                  </a:cubicBezTo>
                  <a:cubicBezTo>
                    <a:pt x="2" y="272"/>
                    <a:pt x="2" y="268"/>
                    <a:pt x="2" y="264"/>
                  </a:cubicBezTo>
                  <a:cubicBezTo>
                    <a:pt x="1" y="261"/>
                    <a:pt x="1" y="258"/>
                    <a:pt x="1" y="255"/>
                  </a:cubicBezTo>
                  <a:cubicBezTo>
                    <a:pt x="1" y="250"/>
                    <a:pt x="1" y="246"/>
                    <a:pt x="1" y="242"/>
                  </a:cubicBezTo>
                  <a:cubicBezTo>
                    <a:pt x="1" y="238"/>
                    <a:pt x="1" y="235"/>
                    <a:pt x="1" y="232"/>
                  </a:cubicBezTo>
                  <a:cubicBezTo>
                    <a:pt x="1" y="229"/>
                    <a:pt x="1" y="225"/>
                    <a:pt x="1" y="222"/>
                  </a:cubicBezTo>
                  <a:cubicBezTo>
                    <a:pt x="1" y="219"/>
                    <a:pt x="1" y="216"/>
                    <a:pt x="1" y="212"/>
                  </a:cubicBezTo>
                  <a:cubicBezTo>
                    <a:pt x="1" y="208"/>
                    <a:pt x="1" y="203"/>
                    <a:pt x="1" y="199"/>
                  </a:cubicBezTo>
                  <a:cubicBezTo>
                    <a:pt x="1" y="194"/>
                    <a:pt x="0" y="189"/>
                    <a:pt x="0" y="184"/>
                  </a:cubicBezTo>
                  <a:cubicBezTo>
                    <a:pt x="0" y="182"/>
                    <a:pt x="1" y="181"/>
                    <a:pt x="1" y="179"/>
                  </a:cubicBezTo>
                  <a:cubicBezTo>
                    <a:pt x="1" y="178"/>
                    <a:pt x="1" y="176"/>
                    <a:pt x="1" y="174"/>
                  </a:cubicBezTo>
                  <a:cubicBezTo>
                    <a:pt x="1" y="174"/>
                    <a:pt x="1" y="173"/>
                    <a:pt x="1" y="173"/>
                  </a:cubicBezTo>
                  <a:cubicBezTo>
                    <a:pt x="1" y="170"/>
                    <a:pt x="0" y="167"/>
                    <a:pt x="0" y="165"/>
                  </a:cubicBezTo>
                  <a:cubicBezTo>
                    <a:pt x="0" y="161"/>
                    <a:pt x="0" y="157"/>
                    <a:pt x="0" y="153"/>
                  </a:cubicBezTo>
                  <a:cubicBezTo>
                    <a:pt x="0" y="151"/>
                    <a:pt x="1" y="148"/>
                    <a:pt x="1" y="146"/>
                  </a:cubicBezTo>
                  <a:cubicBezTo>
                    <a:pt x="1" y="146"/>
                    <a:pt x="0" y="145"/>
                    <a:pt x="0" y="145"/>
                  </a:cubicBezTo>
                  <a:cubicBezTo>
                    <a:pt x="0" y="142"/>
                    <a:pt x="0" y="140"/>
                    <a:pt x="0" y="137"/>
                  </a:cubicBezTo>
                  <a:cubicBezTo>
                    <a:pt x="0" y="134"/>
                    <a:pt x="0" y="132"/>
                    <a:pt x="0" y="129"/>
                  </a:cubicBezTo>
                  <a:cubicBezTo>
                    <a:pt x="0" y="125"/>
                    <a:pt x="0" y="122"/>
                    <a:pt x="0" y="119"/>
                  </a:cubicBezTo>
                  <a:cubicBezTo>
                    <a:pt x="0" y="117"/>
                    <a:pt x="0" y="116"/>
                    <a:pt x="0" y="115"/>
                  </a:cubicBezTo>
                  <a:cubicBezTo>
                    <a:pt x="0" y="114"/>
                    <a:pt x="0" y="113"/>
                    <a:pt x="0" y="112"/>
                  </a:cubicBezTo>
                  <a:cubicBezTo>
                    <a:pt x="0" y="110"/>
                    <a:pt x="0" y="107"/>
                    <a:pt x="0" y="105"/>
                  </a:cubicBezTo>
                  <a:cubicBezTo>
                    <a:pt x="0" y="101"/>
                    <a:pt x="0" y="97"/>
                    <a:pt x="0" y="93"/>
                  </a:cubicBezTo>
                  <a:cubicBezTo>
                    <a:pt x="0" y="88"/>
                    <a:pt x="0" y="84"/>
                    <a:pt x="1" y="79"/>
                  </a:cubicBezTo>
                  <a:cubicBezTo>
                    <a:pt x="1" y="76"/>
                    <a:pt x="1" y="73"/>
                    <a:pt x="1" y="70"/>
                  </a:cubicBezTo>
                  <a:cubicBezTo>
                    <a:pt x="1" y="66"/>
                    <a:pt x="2" y="63"/>
                    <a:pt x="2" y="60"/>
                  </a:cubicBezTo>
                  <a:cubicBezTo>
                    <a:pt x="2" y="57"/>
                    <a:pt x="2" y="55"/>
                    <a:pt x="2" y="52"/>
                  </a:cubicBezTo>
                  <a:cubicBezTo>
                    <a:pt x="2" y="50"/>
                    <a:pt x="2" y="48"/>
                    <a:pt x="3" y="47"/>
                  </a:cubicBezTo>
                  <a:cubicBezTo>
                    <a:pt x="4" y="44"/>
                    <a:pt x="3" y="40"/>
                    <a:pt x="4" y="38"/>
                  </a:cubicBezTo>
                  <a:cubicBezTo>
                    <a:pt x="4" y="34"/>
                    <a:pt x="4" y="31"/>
                    <a:pt x="5" y="28"/>
                  </a:cubicBezTo>
                  <a:cubicBezTo>
                    <a:pt x="5" y="24"/>
                    <a:pt x="5" y="19"/>
                    <a:pt x="6" y="15"/>
                  </a:cubicBezTo>
                  <a:cubicBezTo>
                    <a:pt x="6" y="12"/>
                    <a:pt x="6" y="9"/>
                    <a:pt x="6" y="6"/>
                  </a:cubicBezTo>
                  <a:cubicBezTo>
                    <a:pt x="6" y="4"/>
                    <a:pt x="6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1"/>
                    <a:pt x="8" y="2"/>
                    <a:pt x="8" y="4"/>
                  </a:cubicBezTo>
                  <a:cubicBezTo>
                    <a:pt x="8" y="6"/>
                    <a:pt x="8" y="8"/>
                    <a:pt x="8" y="10"/>
                  </a:cubicBezTo>
                  <a:cubicBezTo>
                    <a:pt x="7" y="14"/>
                    <a:pt x="7" y="18"/>
                    <a:pt x="7" y="23"/>
                  </a:cubicBezTo>
                  <a:cubicBezTo>
                    <a:pt x="6" y="26"/>
                    <a:pt x="6" y="29"/>
                    <a:pt x="6" y="32"/>
                  </a:cubicBezTo>
                  <a:cubicBezTo>
                    <a:pt x="5" y="35"/>
                    <a:pt x="5" y="37"/>
                    <a:pt x="5" y="39"/>
                  </a:cubicBezTo>
                  <a:cubicBezTo>
                    <a:pt x="5" y="41"/>
                    <a:pt x="5" y="43"/>
                    <a:pt x="5" y="44"/>
                  </a:cubicBezTo>
                  <a:cubicBezTo>
                    <a:pt x="4" y="46"/>
                    <a:pt x="4" y="48"/>
                    <a:pt x="4" y="49"/>
                  </a:cubicBezTo>
                  <a:cubicBezTo>
                    <a:pt x="4" y="53"/>
                    <a:pt x="4" y="57"/>
                    <a:pt x="3" y="61"/>
                  </a:cubicBezTo>
                  <a:cubicBezTo>
                    <a:pt x="3" y="62"/>
                    <a:pt x="3" y="63"/>
                    <a:pt x="3" y="64"/>
                  </a:cubicBezTo>
                  <a:cubicBezTo>
                    <a:pt x="3" y="70"/>
                    <a:pt x="2" y="76"/>
                    <a:pt x="2" y="81"/>
                  </a:cubicBezTo>
                  <a:cubicBezTo>
                    <a:pt x="2" y="86"/>
                    <a:pt x="2" y="90"/>
                    <a:pt x="2" y="94"/>
                  </a:cubicBezTo>
                  <a:cubicBezTo>
                    <a:pt x="1" y="98"/>
                    <a:pt x="2" y="103"/>
                    <a:pt x="2" y="107"/>
                  </a:cubicBezTo>
                  <a:cubicBezTo>
                    <a:pt x="2" y="110"/>
                    <a:pt x="2" y="114"/>
                    <a:pt x="2" y="117"/>
                  </a:cubicBezTo>
                  <a:cubicBezTo>
                    <a:pt x="2" y="121"/>
                    <a:pt x="2" y="125"/>
                    <a:pt x="2" y="129"/>
                  </a:cubicBezTo>
                  <a:cubicBezTo>
                    <a:pt x="2" y="133"/>
                    <a:pt x="2" y="137"/>
                    <a:pt x="2" y="141"/>
                  </a:cubicBezTo>
                  <a:cubicBezTo>
                    <a:pt x="2" y="145"/>
                    <a:pt x="2" y="149"/>
                    <a:pt x="2" y="152"/>
                  </a:cubicBezTo>
                  <a:cubicBezTo>
                    <a:pt x="2" y="155"/>
                    <a:pt x="2" y="158"/>
                    <a:pt x="2" y="160"/>
                  </a:cubicBezTo>
                  <a:cubicBezTo>
                    <a:pt x="2" y="163"/>
                    <a:pt x="2" y="165"/>
                    <a:pt x="2" y="167"/>
                  </a:cubicBezTo>
                  <a:cubicBezTo>
                    <a:pt x="2" y="170"/>
                    <a:pt x="2" y="173"/>
                    <a:pt x="2" y="175"/>
                  </a:cubicBezTo>
                  <a:cubicBezTo>
                    <a:pt x="2" y="178"/>
                    <a:pt x="2" y="182"/>
                    <a:pt x="2" y="185"/>
                  </a:cubicBezTo>
                  <a:cubicBezTo>
                    <a:pt x="2" y="187"/>
                    <a:pt x="2" y="189"/>
                    <a:pt x="2" y="191"/>
                  </a:cubicBezTo>
                  <a:cubicBezTo>
                    <a:pt x="2" y="193"/>
                    <a:pt x="2" y="195"/>
                    <a:pt x="2" y="197"/>
                  </a:cubicBezTo>
                  <a:cubicBezTo>
                    <a:pt x="2" y="201"/>
                    <a:pt x="2" y="204"/>
                    <a:pt x="2" y="207"/>
                  </a:cubicBezTo>
                  <a:cubicBezTo>
                    <a:pt x="3" y="214"/>
                    <a:pt x="3" y="221"/>
                    <a:pt x="3" y="227"/>
                  </a:cubicBezTo>
                  <a:cubicBezTo>
                    <a:pt x="3" y="231"/>
                    <a:pt x="3" y="235"/>
                    <a:pt x="3" y="239"/>
                  </a:cubicBezTo>
                  <a:cubicBezTo>
                    <a:pt x="3" y="242"/>
                    <a:pt x="3" y="246"/>
                    <a:pt x="3" y="249"/>
                  </a:cubicBezTo>
                  <a:cubicBezTo>
                    <a:pt x="3" y="253"/>
                    <a:pt x="3" y="257"/>
                    <a:pt x="3" y="261"/>
                  </a:cubicBezTo>
                  <a:cubicBezTo>
                    <a:pt x="3" y="264"/>
                    <a:pt x="3" y="268"/>
                    <a:pt x="4" y="271"/>
                  </a:cubicBezTo>
                  <a:cubicBezTo>
                    <a:pt x="4" y="275"/>
                    <a:pt x="4" y="279"/>
                    <a:pt x="5" y="283"/>
                  </a:cubicBezTo>
                  <a:cubicBezTo>
                    <a:pt x="5" y="285"/>
                    <a:pt x="5" y="288"/>
                    <a:pt x="5" y="290"/>
                  </a:cubicBezTo>
                  <a:cubicBezTo>
                    <a:pt x="6" y="294"/>
                    <a:pt x="6" y="297"/>
                    <a:pt x="6" y="300"/>
                  </a:cubicBezTo>
                  <a:cubicBezTo>
                    <a:pt x="7" y="305"/>
                    <a:pt x="7" y="310"/>
                    <a:pt x="8" y="316"/>
                  </a:cubicBezTo>
                  <a:cubicBezTo>
                    <a:pt x="8" y="319"/>
                    <a:pt x="8" y="322"/>
                    <a:pt x="8" y="325"/>
                  </a:cubicBezTo>
                  <a:cubicBezTo>
                    <a:pt x="8" y="326"/>
                    <a:pt x="8" y="327"/>
                    <a:pt x="8" y="329"/>
                  </a:cubicBezTo>
                  <a:cubicBezTo>
                    <a:pt x="8" y="329"/>
                    <a:pt x="7" y="329"/>
                    <a:pt x="7" y="329"/>
                  </a:cubicBezTo>
                  <a:cubicBezTo>
                    <a:pt x="7" y="329"/>
                    <a:pt x="7" y="329"/>
                    <a:pt x="7" y="329"/>
                  </a:cubicBezTo>
                  <a:close/>
                </a:path>
              </a:pathLst>
            </a:custGeom>
            <a:grpFill/>
            <a:ln w="9525">
              <a:solidFill>
                <a:srgbClr val="5B9BD5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44" name="Freeform 604"/>
            <p:cNvSpPr>
              <a:spLocks/>
            </p:cNvSpPr>
            <p:nvPr/>
          </p:nvSpPr>
          <p:spPr bwMode="auto">
            <a:xfrm>
              <a:off x="12150726" y="7327900"/>
              <a:ext cx="1042988" cy="20638"/>
            </a:xfrm>
            <a:custGeom>
              <a:avLst/>
              <a:gdLst>
                <a:gd name="T0" fmla="*/ 241 w 241"/>
                <a:gd name="T1" fmla="*/ 2 h 5"/>
                <a:gd name="T2" fmla="*/ 236 w 241"/>
                <a:gd name="T3" fmla="*/ 4 h 5"/>
                <a:gd name="T4" fmla="*/ 223 w 241"/>
                <a:gd name="T5" fmla="*/ 5 h 5"/>
                <a:gd name="T6" fmla="*/ 206 w 241"/>
                <a:gd name="T7" fmla="*/ 5 h 5"/>
                <a:gd name="T8" fmla="*/ 202 w 241"/>
                <a:gd name="T9" fmla="*/ 5 h 5"/>
                <a:gd name="T10" fmla="*/ 200 w 241"/>
                <a:gd name="T11" fmla="*/ 5 h 5"/>
                <a:gd name="T12" fmla="*/ 187 w 241"/>
                <a:gd name="T13" fmla="*/ 5 h 5"/>
                <a:gd name="T14" fmla="*/ 181 w 241"/>
                <a:gd name="T15" fmla="*/ 4 h 5"/>
                <a:gd name="T16" fmla="*/ 172 w 241"/>
                <a:gd name="T17" fmla="*/ 4 h 5"/>
                <a:gd name="T18" fmla="*/ 160 w 241"/>
                <a:gd name="T19" fmla="*/ 4 h 5"/>
                <a:gd name="T20" fmla="*/ 151 w 241"/>
                <a:gd name="T21" fmla="*/ 4 h 5"/>
                <a:gd name="T22" fmla="*/ 138 w 241"/>
                <a:gd name="T23" fmla="*/ 4 h 5"/>
                <a:gd name="T24" fmla="*/ 132 w 241"/>
                <a:gd name="T25" fmla="*/ 4 h 5"/>
                <a:gd name="T26" fmla="*/ 129 w 241"/>
                <a:gd name="T27" fmla="*/ 4 h 5"/>
                <a:gd name="T28" fmla="*/ 122 w 241"/>
                <a:gd name="T29" fmla="*/ 4 h 5"/>
                <a:gd name="T30" fmla="*/ 113 w 241"/>
                <a:gd name="T31" fmla="*/ 4 h 5"/>
                <a:gd name="T32" fmla="*/ 102 w 241"/>
                <a:gd name="T33" fmla="*/ 4 h 5"/>
                <a:gd name="T34" fmla="*/ 95 w 241"/>
                <a:gd name="T35" fmla="*/ 3 h 5"/>
                <a:gd name="T36" fmla="*/ 94 w 241"/>
                <a:gd name="T37" fmla="*/ 3 h 5"/>
                <a:gd name="T38" fmla="*/ 86 w 241"/>
                <a:gd name="T39" fmla="*/ 3 h 5"/>
                <a:gd name="T40" fmla="*/ 73 w 241"/>
                <a:gd name="T41" fmla="*/ 3 h 5"/>
                <a:gd name="T42" fmla="*/ 63 w 241"/>
                <a:gd name="T43" fmla="*/ 2 h 5"/>
                <a:gd name="T44" fmla="*/ 61 w 241"/>
                <a:gd name="T45" fmla="*/ 2 h 5"/>
                <a:gd name="T46" fmla="*/ 57 w 241"/>
                <a:gd name="T47" fmla="*/ 2 h 5"/>
                <a:gd name="T48" fmla="*/ 54 w 241"/>
                <a:gd name="T49" fmla="*/ 2 h 5"/>
                <a:gd name="T50" fmla="*/ 42 w 241"/>
                <a:gd name="T51" fmla="*/ 2 h 5"/>
                <a:gd name="T52" fmla="*/ 33 w 241"/>
                <a:gd name="T53" fmla="*/ 2 h 5"/>
                <a:gd name="T54" fmla="*/ 28 w 241"/>
                <a:gd name="T55" fmla="*/ 2 h 5"/>
                <a:gd name="T56" fmla="*/ 11 w 241"/>
                <a:gd name="T57" fmla="*/ 3 h 5"/>
                <a:gd name="T58" fmla="*/ 5 w 241"/>
                <a:gd name="T59" fmla="*/ 3 h 5"/>
                <a:gd name="T60" fmla="*/ 1 w 241"/>
                <a:gd name="T61" fmla="*/ 2 h 5"/>
                <a:gd name="T62" fmla="*/ 1 w 241"/>
                <a:gd name="T63" fmla="*/ 0 h 5"/>
                <a:gd name="T64" fmla="*/ 3 w 241"/>
                <a:gd name="T65" fmla="*/ 0 h 5"/>
                <a:gd name="T66" fmla="*/ 17 w 241"/>
                <a:gd name="T67" fmla="*/ 1 h 5"/>
                <a:gd name="T68" fmla="*/ 26 w 241"/>
                <a:gd name="T69" fmla="*/ 1 h 5"/>
                <a:gd name="T70" fmla="*/ 34 w 241"/>
                <a:gd name="T71" fmla="*/ 1 h 5"/>
                <a:gd name="T72" fmla="*/ 46 w 241"/>
                <a:gd name="T73" fmla="*/ 1 h 5"/>
                <a:gd name="T74" fmla="*/ 56 w 241"/>
                <a:gd name="T75" fmla="*/ 1 h 5"/>
                <a:gd name="T76" fmla="*/ 62 w 241"/>
                <a:gd name="T77" fmla="*/ 1 h 5"/>
                <a:gd name="T78" fmla="*/ 76 w 241"/>
                <a:gd name="T79" fmla="*/ 1 h 5"/>
                <a:gd name="T80" fmla="*/ 90 w 241"/>
                <a:gd name="T81" fmla="*/ 2 h 5"/>
                <a:gd name="T82" fmla="*/ 96 w 241"/>
                <a:gd name="T83" fmla="*/ 2 h 5"/>
                <a:gd name="T84" fmla="*/ 104 w 241"/>
                <a:gd name="T85" fmla="*/ 2 h 5"/>
                <a:gd name="T86" fmla="*/ 114 w 241"/>
                <a:gd name="T87" fmla="*/ 2 h 5"/>
                <a:gd name="T88" fmla="*/ 127 w 241"/>
                <a:gd name="T89" fmla="*/ 2 h 5"/>
                <a:gd name="T90" fmla="*/ 136 w 241"/>
                <a:gd name="T91" fmla="*/ 2 h 5"/>
                <a:gd name="T92" fmla="*/ 151 w 241"/>
                <a:gd name="T93" fmla="*/ 2 h 5"/>
                <a:gd name="T94" fmla="*/ 159 w 241"/>
                <a:gd name="T95" fmla="*/ 2 h 5"/>
                <a:gd name="T96" fmla="*/ 174 w 241"/>
                <a:gd name="T97" fmla="*/ 2 h 5"/>
                <a:gd name="T98" fmla="*/ 190 w 241"/>
                <a:gd name="T99" fmla="*/ 3 h 5"/>
                <a:gd name="T100" fmla="*/ 203 w 241"/>
                <a:gd name="T101" fmla="*/ 3 h 5"/>
                <a:gd name="T102" fmla="*/ 223 w 241"/>
                <a:gd name="T103" fmla="*/ 3 h 5"/>
                <a:gd name="T104" fmla="*/ 228 w 241"/>
                <a:gd name="T105" fmla="*/ 3 h 5"/>
                <a:gd name="T106" fmla="*/ 235 w 241"/>
                <a:gd name="T107" fmla="*/ 2 h 5"/>
                <a:gd name="T108" fmla="*/ 240 w 241"/>
                <a:gd name="T109" fmla="*/ 2 h 5"/>
                <a:gd name="T110" fmla="*/ 241 w 241"/>
                <a:gd name="T11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1" h="5">
                  <a:moveTo>
                    <a:pt x="241" y="2"/>
                  </a:moveTo>
                  <a:cubicBezTo>
                    <a:pt x="239" y="4"/>
                    <a:pt x="238" y="4"/>
                    <a:pt x="236" y="4"/>
                  </a:cubicBezTo>
                  <a:cubicBezTo>
                    <a:pt x="232" y="5"/>
                    <a:pt x="228" y="5"/>
                    <a:pt x="223" y="5"/>
                  </a:cubicBezTo>
                  <a:cubicBezTo>
                    <a:pt x="218" y="5"/>
                    <a:pt x="212" y="5"/>
                    <a:pt x="206" y="5"/>
                  </a:cubicBezTo>
                  <a:cubicBezTo>
                    <a:pt x="205" y="5"/>
                    <a:pt x="204" y="5"/>
                    <a:pt x="202" y="5"/>
                  </a:cubicBezTo>
                  <a:cubicBezTo>
                    <a:pt x="201" y="5"/>
                    <a:pt x="200" y="5"/>
                    <a:pt x="200" y="5"/>
                  </a:cubicBezTo>
                  <a:cubicBezTo>
                    <a:pt x="196" y="5"/>
                    <a:pt x="192" y="5"/>
                    <a:pt x="187" y="5"/>
                  </a:cubicBezTo>
                  <a:cubicBezTo>
                    <a:pt x="185" y="4"/>
                    <a:pt x="183" y="5"/>
                    <a:pt x="181" y="4"/>
                  </a:cubicBezTo>
                  <a:cubicBezTo>
                    <a:pt x="178" y="4"/>
                    <a:pt x="175" y="4"/>
                    <a:pt x="172" y="4"/>
                  </a:cubicBezTo>
                  <a:cubicBezTo>
                    <a:pt x="168" y="4"/>
                    <a:pt x="164" y="4"/>
                    <a:pt x="160" y="4"/>
                  </a:cubicBezTo>
                  <a:cubicBezTo>
                    <a:pt x="157" y="4"/>
                    <a:pt x="154" y="4"/>
                    <a:pt x="151" y="4"/>
                  </a:cubicBezTo>
                  <a:cubicBezTo>
                    <a:pt x="147" y="4"/>
                    <a:pt x="142" y="4"/>
                    <a:pt x="138" y="4"/>
                  </a:cubicBezTo>
                  <a:cubicBezTo>
                    <a:pt x="136" y="4"/>
                    <a:pt x="134" y="4"/>
                    <a:pt x="132" y="4"/>
                  </a:cubicBezTo>
                  <a:cubicBezTo>
                    <a:pt x="131" y="4"/>
                    <a:pt x="130" y="4"/>
                    <a:pt x="129" y="4"/>
                  </a:cubicBezTo>
                  <a:cubicBezTo>
                    <a:pt x="126" y="4"/>
                    <a:pt x="124" y="4"/>
                    <a:pt x="122" y="4"/>
                  </a:cubicBezTo>
                  <a:cubicBezTo>
                    <a:pt x="119" y="4"/>
                    <a:pt x="116" y="4"/>
                    <a:pt x="113" y="4"/>
                  </a:cubicBezTo>
                  <a:cubicBezTo>
                    <a:pt x="109" y="4"/>
                    <a:pt x="106" y="4"/>
                    <a:pt x="102" y="4"/>
                  </a:cubicBezTo>
                  <a:cubicBezTo>
                    <a:pt x="100" y="4"/>
                    <a:pt x="98" y="3"/>
                    <a:pt x="95" y="3"/>
                  </a:cubicBezTo>
                  <a:cubicBezTo>
                    <a:pt x="95" y="3"/>
                    <a:pt x="94" y="3"/>
                    <a:pt x="94" y="3"/>
                  </a:cubicBezTo>
                  <a:cubicBezTo>
                    <a:pt x="91" y="3"/>
                    <a:pt x="88" y="3"/>
                    <a:pt x="86" y="3"/>
                  </a:cubicBezTo>
                  <a:cubicBezTo>
                    <a:pt x="81" y="3"/>
                    <a:pt x="77" y="3"/>
                    <a:pt x="73" y="3"/>
                  </a:cubicBezTo>
                  <a:cubicBezTo>
                    <a:pt x="70" y="3"/>
                    <a:pt x="66" y="2"/>
                    <a:pt x="63" y="2"/>
                  </a:cubicBezTo>
                  <a:cubicBezTo>
                    <a:pt x="63" y="2"/>
                    <a:pt x="62" y="2"/>
                    <a:pt x="61" y="2"/>
                  </a:cubicBezTo>
                  <a:cubicBezTo>
                    <a:pt x="60" y="2"/>
                    <a:pt x="58" y="2"/>
                    <a:pt x="57" y="2"/>
                  </a:cubicBezTo>
                  <a:cubicBezTo>
                    <a:pt x="56" y="2"/>
                    <a:pt x="55" y="2"/>
                    <a:pt x="54" y="2"/>
                  </a:cubicBezTo>
                  <a:cubicBezTo>
                    <a:pt x="50" y="2"/>
                    <a:pt x="46" y="2"/>
                    <a:pt x="42" y="2"/>
                  </a:cubicBezTo>
                  <a:cubicBezTo>
                    <a:pt x="39" y="2"/>
                    <a:pt x="36" y="2"/>
                    <a:pt x="33" y="2"/>
                  </a:cubicBezTo>
                  <a:cubicBezTo>
                    <a:pt x="32" y="2"/>
                    <a:pt x="30" y="2"/>
                    <a:pt x="28" y="2"/>
                  </a:cubicBezTo>
                  <a:cubicBezTo>
                    <a:pt x="22" y="2"/>
                    <a:pt x="16" y="3"/>
                    <a:pt x="11" y="3"/>
                  </a:cubicBezTo>
                  <a:cubicBezTo>
                    <a:pt x="9" y="3"/>
                    <a:pt x="7" y="3"/>
                    <a:pt x="5" y="3"/>
                  </a:cubicBezTo>
                  <a:cubicBezTo>
                    <a:pt x="4" y="2"/>
                    <a:pt x="2" y="2"/>
                    <a:pt x="1" y="2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8" y="1"/>
                    <a:pt x="13" y="1"/>
                    <a:pt x="17" y="1"/>
                  </a:cubicBezTo>
                  <a:cubicBezTo>
                    <a:pt x="20" y="1"/>
                    <a:pt x="23" y="1"/>
                    <a:pt x="26" y="1"/>
                  </a:cubicBezTo>
                  <a:cubicBezTo>
                    <a:pt x="29" y="0"/>
                    <a:pt x="32" y="1"/>
                    <a:pt x="34" y="1"/>
                  </a:cubicBezTo>
                  <a:cubicBezTo>
                    <a:pt x="38" y="1"/>
                    <a:pt x="42" y="1"/>
                    <a:pt x="46" y="1"/>
                  </a:cubicBezTo>
                  <a:cubicBezTo>
                    <a:pt x="49" y="1"/>
                    <a:pt x="52" y="1"/>
                    <a:pt x="56" y="1"/>
                  </a:cubicBezTo>
                  <a:cubicBezTo>
                    <a:pt x="58" y="1"/>
                    <a:pt x="60" y="1"/>
                    <a:pt x="62" y="1"/>
                  </a:cubicBezTo>
                  <a:cubicBezTo>
                    <a:pt x="67" y="1"/>
                    <a:pt x="71" y="1"/>
                    <a:pt x="76" y="1"/>
                  </a:cubicBezTo>
                  <a:cubicBezTo>
                    <a:pt x="81" y="1"/>
                    <a:pt x="85" y="1"/>
                    <a:pt x="90" y="2"/>
                  </a:cubicBezTo>
                  <a:cubicBezTo>
                    <a:pt x="92" y="2"/>
                    <a:pt x="94" y="2"/>
                    <a:pt x="96" y="2"/>
                  </a:cubicBezTo>
                  <a:cubicBezTo>
                    <a:pt x="99" y="2"/>
                    <a:pt x="101" y="2"/>
                    <a:pt x="104" y="2"/>
                  </a:cubicBezTo>
                  <a:cubicBezTo>
                    <a:pt x="108" y="2"/>
                    <a:pt x="111" y="2"/>
                    <a:pt x="114" y="2"/>
                  </a:cubicBezTo>
                  <a:cubicBezTo>
                    <a:pt x="119" y="2"/>
                    <a:pt x="123" y="2"/>
                    <a:pt x="127" y="2"/>
                  </a:cubicBezTo>
                  <a:cubicBezTo>
                    <a:pt x="130" y="2"/>
                    <a:pt x="133" y="2"/>
                    <a:pt x="136" y="2"/>
                  </a:cubicBezTo>
                  <a:cubicBezTo>
                    <a:pt x="141" y="2"/>
                    <a:pt x="146" y="2"/>
                    <a:pt x="151" y="2"/>
                  </a:cubicBezTo>
                  <a:cubicBezTo>
                    <a:pt x="154" y="2"/>
                    <a:pt x="157" y="2"/>
                    <a:pt x="159" y="2"/>
                  </a:cubicBezTo>
                  <a:cubicBezTo>
                    <a:pt x="164" y="2"/>
                    <a:pt x="169" y="2"/>
                    <a:pt x="174" y="2"/>
                  </a:cubicBezTo>
                  <a:cubicBezTo>
                    <a:pt x="179" y="3"/>
                    <a:pt x="184" y="3"/>
                    <a:pt x="190" y="3"/>
                  </a:cubicBezTo>
                  <a:cubicBezTo>
                    <a:pt x="194" y="3"/>
                    <a:pt x="199" y="3"/>
                    <a:pt x="203" y="3"/>
                  </a:cubicBezTo>
                  <a:cubicBezTo>
                    <a:pt x="209" y="3"/>
                    <a:pt x="216" y="3"/>
                    <a:pt x="223" y="3"/>
                  </a:cubicBezTo>
                  <a:cubicBezTo>
                    <a:pt x="224" y="3"/>
                    <a:pt x="226" y="3"/>
                    <a:pt x="228" y="3"/>
                  </a:cubicBezTo>
                  <a:cubicBezTo>
                    <a:pt x="231" y="3"/>
                    <a:pt x="233" y="3"/>
                    <a:pt x="235" y="2"/>
                  </a:cubicBezTo>
                  <a:cubicBezTo>
                    <a:pt x="237" y="2"/>
                    <a:pt x="238" y="2"/>
                    <a:pt x="240" y="2"/>
                  </a:cubicBezTo>
                  <a:cubicBezTo>
                    <a:pt x="240" y="2"/>
                    <a:pt x="240" y="2"/>
                    <a:pt x="241" y="2"/>
                  </a:cubicBezTo>
                  <a:close/>
                </a:path>
              </a:pathLst>
            </a:custGeom>
            <a:grpFill/>
            <a:ln w="9525">
              <a:solidFill>
                <a:srgbClr val="5B9BD5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45" name="Freeform 605"/>
            <p:cNvSpPr>
              <a:spLocks/>
            </p:cNvSpPr>
            <p:nvPr/>
          </p:nvSpPr>
          <p:spPr bwMode="auto">
            <a:xfrm>
              <a:off x="12138026" y="5916613"/>
              <a:ext cx="17463" cy="1381125"/>
            </a:xfrm>
            <a:custGeom>
              <a:avLst/>
              <a:gdLst>
                <a:gd name="T0" fmla="*/ 3 w 4"/>
                <a:gd name="T1" fmla="*/ 319 h 319"/>
                <a:gd name="T2" fmla="*/ 3 w 4"/>
                <a:gd name="T3" fmla="*/ 305 h 319"/>
                <a:gd name="T4" fmla="*/ 3 w 4"/>
                <a:gd name="T5" fmla="*/ 291 h 319"/>
                <a:gd name="T6" fmla="*/ 3 w 4"/>
                <a:gd name="T7" fmla="*/ 278 h 319"/>
                <a:gd name="T8" fmla="*/ 3 w 4"/>
                <a:gd name="T9" fmla="*/ 255 h 319"/>
                <a:gd name="T10" fmla="*/ 3 w 4"/>
                <a:gd name="T11" fmla="*/ 241 h 319"/>
                <a:gd name="T12" fmla="*/ 2 w 4"/>
                <a:gd name="T13" fmla="*/ 214 h 319"/>
                <a:gd name="T14" fmla="*/ 1 w 4"/>
                <a:gd name="T15" fmla="*/ 191 h 319"/>
                <a:gd name="T16" fmla="*/ 0 w 4"/>
                <a:gd name="T17" fmla="*/ 173 h 319"/>
                <a:gd name="T18" fmla="*/ 0 w 4"/>
                <a:gd name="T19" fmla="*/ 158 h 319"/>
                <a:gd name="T20" fmla="*/ 0 w 4"/>
                <a:gd name="T21" fmla="*/ 145 h 319"/>
                <a:gd name="T22" fmla="*/ 0 w 4"/>
                <a:gd name="T23" fmla="*/ 138 h 319"/>
                <a:gd name="T24" fmla="*/ 0 w 4"/>
                <a:gd name="T25" fmla="*/ 120 h 319"/>
                <a:gd name="T26" fmla="*/ 0 w 4"/>
                <a:gd name="T27" fmla="*/ 98 h 319"/>
                <a:gd name="T28" fmla="*/ 1 w 4"/>
                <a:gd name="T29" fmla="*/ 78 h 319"/>
                <a:gd name="T30" fmla="*/ 1 w 4"/>
                <a:gd name="T31" fmla="*/ 53 h 319"/>
                <a:gd name="T32" fmla="*/ 1 w 4"/>
                <a:gd name="T33" fmla="*/ 36 h 319"/>
                <a:gd name="T34" fmla="*/ 1 w 4"/>
                <a:gd name="T35" fmla="*/ 20 h 319"/>
                <a:gd name="T36" fmla="*/ 1 w 4"/>
                <a:gd name="T37" fmla="*/ 1 h 319"/>
                <a:gd name="T38" fmla="*/ 3 w 4"/>
                <a:gd name="T39" fmla="*/ 5 h 319"/>
                <a:gd name="T40" fmla="*/ 3 w 4"/>
                <a:gd name="T41" fmla="*/ 18 h 319"/>
                <a:gd name="T42" fmla="*/ 3 w 4"/>
                <a:gd name="T43" fmla="*/ 27 h 319"/>
                <a:gd name="T44" fmla="*/ 2 w 4"/>
                <a:gd name="T45" fmla="*/ 41 h 319"/>
                <a:gd name="T46" fmla="*/ 2 w 4"/>
                <a:gd name="T47" fmla="*/ 60 h 319"/>
                <a:gd name="T48" fmla="*/ 2 w 4"/>
                <a:gd name="T49" fmla="*/ 87 h 319"/>
                <a:gd name="T50" fmla="*/ 2 w 4"/>
                <a:gd name="T51" fmla="*/ 106 h 319"/>
                <a:gd name="T52" fmla="*/ 2 w 4"/>
                <a:gd name="T53" fmla="*/ 133 h 319"/>
                <a:gd name="T54" fmla="*/ 2 w 4"/>
                <a:gd name="T55" fmla="*/ 147 h 319"/>
                <a:gd name="T56" fmla="*/ 2 w 4"/>
                <a:gd name="T57" fmla="*/ 166 h 319"/>
                <a:gd name="T58" fmla="*/ 2 w 4"/>
                <a:gd name="T59" fmla="*/ 182 h 319"/>
                <a:gd name="T60" fmla="*/ 2 w 4"/>
                <a:gd name="T61" fmla="*/ 199 h 319"/>
                <a:gd name="T62" fmla="*/ 3 w 4"/>
                <a:gd name="T63" fmla="*/ 221 h 319"/>
                <a:gd name="T64" fmla="*/ 4 w 4"/>
                <a:gd name="T65" fmla="*/ 243 h 319"/>
                <a:gd name="T66" fmla="*/ 4 w 4"/>
                <a:gd name="T67" fmla="*/ 258 h 319"/>
                <a:gd name="T68" fmla="*/ 4 w 4"/>
                <a:gd name="T69" fmla="*/ 269 h 319"/>
                <a:gd name="T70" fmla="*/ 4 w 4"/>
                <a:gd name="T71" fmla="*/ 298 h 319"/>
                <a:gd name="T72" fmla="*/ 3 w 4"/>
                <a:gd name="T73" fmla="*/ 31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" h="319">
                  <a:moveTo>
                    <a:pt x="3" y="319"/>
                  </a:moveTo>
                  <a:cubicBezTo>
                    <a:pt x="3" y="319"/>
                    <a:pt x="3" y="319"/>
                    <a:pt x="3" y="319"/>
                  </a:cubicBezTo>
                  <a:cubicBezTo>
                    <a:pt x="3" y="318"/>
                    <a:pt x="3" y="318"/>
                    <a:pt x="3" y="317"/>
                  </a:cubicBezTo>
                  <a:cubicBezTo>
                    <a:pt x="3" y="313"/>
                    <a:pt x="3" y="309"/>
                    <a:pt x="3" y="305"/>
                  </a:cubicBezTo>
                  <a:cubicBezTo>
                    <a:pt x="3" y="303"/>
                    <a:pt x="3" y="302"/>
                    <a:pt x="3" y="300"/>
                  </a:cubicBezTo>
                  <a:cubicBezTo>
                    <a:pt x="3" y="297"/>
                    <a:pt x="3" y="294"/>
                    <a:pt x="3" y="291"/>
                  </a:cubicBezTo>
                  <a:cubicBezTo>
                    <a:pt x="3" y="288"/>
                    <a:pt x="3" y="285"/>
                    <a:pt x="3" y="282"/>
                  </a:cubicBezTo>
                  <a:cubicBezTo>
                    <a:pt x="3" y="281"/>
                    <a:pt x="3" y="279"/>
                    <a:pt x="3" y="278"/>
                  </a:cubicBezTo>
                  <a:cubicBezTo>
                    <a:pt x="3" y="275"/>
                    <a:pt x="3" y="273"/>
                    <a:pt x="3" y="270"/>
                  </a:cubicBezTo>
                  <a:cubicBezTo>
                    <a:pt x="3" y="265"/>
                    <a:pt x="3" y="260"/>
                    <a:pt x="3" y="255"/>
                  </a:cubicBezTo>
                  <a:cubicBezTo>
                    <a:pt x="3" y="253"/>
                    <a:pt x="3" y="251"/>
                    <a:pt x="3" y="250"/>
                  </a:cubicBezTo>
                  <a:cubicBezTo>
                    <a:pt x="3" y="247"/>
                    <a:pt x="3" y="244"/>
                    <a:pt x="3" y="241"/>
                  </a:cubicBezTo>
                  <a:cubicBezTo>
                    <a:pt x="3" y="238"/>
                    <a:pt x="3" y="234"/>
                    <a:pt x="2" y="231"/>
                  </a:cubicBezTo>
                  <a:cubicBezTo>
                    <a:pt x="2" y="225"/>
                    <a:pt x="2" y="220"/>
                    <a:pt x="2" y="214"/>
                  </a:cubicBezTo>
                  <a:cubicBezTo>
                    <a:pt x="2" y="210"/>
                    <a:pt x="1" y="206"/>
                    <a:pt x="1" y="202"/>
                  </a:cubicBezTo>
                  <a:cubicBezTo>
                    <a:pt x="1" y="198"/>
                    <a:pt x="1" y="195"/>
                    <a:pt x="1" y="191"/>
                  </a:cubicBezTo>
                  <a:cubicBezTo>
                    <a:pt x="1" y="188"/>
                    <a:pt x="0" y="185"/>
                    <a:pt x="0" y="182"/>
                  </a:cubicBezTo>
                  <a:cubicBezTo>
                    <a:pt x="0" y="179"/>
                    <a:pt x="0" y="176"/>
                    <a:pt x="0" y="173"/>
                  </a:cubicBezTo>
                  <a:cubicBezTo>
                    <a:pt x="0" y="170"/>
                    <a:pt x="0" y="166"/>
                    <a:pt x="0" y="163"/>
                  </a:cubicBezTo>
                  <a:cubicBezTo>
                    <a:pt x="0" y="161"/>
                    <a:pt x="0" y="160"/>
                    <a:pt x="0" y="158"/>
                  </a:cubicBezTo>
                  <a:cubicBezTo>
                    <a:pt x="0" y="156"/>
                    <a:pt x="0" y="154"/>
                    <a:pt x="0" y="153"/>
                  </a:cubicBezTo>
                  <a:cubicBezTo>
                    <a:pt x="0" y="150"/>
                    <a:pt x="0" y="147"/>
                    <a:pt x="0" y="145"/>
                  </a:cubicBezTo>
                  <a:cubicBezTo>
                    <a:pt x="0" y="143"/>
                    <a:pt x="0" y="142"/>
                    <a:pt x="0" y="140"/>
                  </a:cubicBezTo>
                  <a:cubicBezTo>
                    <a:pt x="0" y="140"/>
                    <a:pt x="0" y="139"/>
                    <a:pt x="0" y="138"/>
                  </a:cubicBezTo>
                  <a:cubicBezTo>
                    <a:pt x="0" y="136"/>
                    <a:pt x="0" y="134"/>
                    <a:pt x="0" y="132"/>
                  </a:cubicBezTo>
                  <a:cubicBezTo>
                    <a:pt x="0" y="128"/>
                    <a:pt x="0" y="124"/>
                    <a:pt x="0" y="120"/>
                  </a:cubicBezTo>
                  <a:cubicBezTo>
                    <a:pt x="0" y="118"/>
                    <a:pt x="0" y="116"/>
                    <a:pt x="0" y="113"/>
                  </a:cubicBezTo>
                  <a:cubicBezTo>
                    <a:pt x="1" y="108"/>
                    <a:pt x="0" y="103"/>
                    <a:pt x="0" y="98"/>
                  </a:cubicBezTo>
                  <a:cubicBezTo>
                    <a:pt x="1" y="95"/>
                    <a:pt x="1" y="93"/>
                    <a:pt x="1" y="91"/>
                  </a:cubicBezTo>
                  <a:cubicBezTo>
                    <a:pt x="1" y="87"/>
                    <a:pt x="1" y="82"/>
                    <a:pt x="1" y="78"/>
                  </a:cubicBezTo>
                  <a:cubicBezTo>
                    <a:pt x="1" y="75"/>
                    <a:pt x="1" y="71"/>
                    <a:pt x="1" y="67"/>
                  </a:cubicBezTo>
                  <a:cubicBezTo>
                    <a:pt x="1" y="62"/>
                    <a:pt x="1" y="58"/>
                    <a:pt x="1" y="53"/>
                  </a:cubicBezTo>
                  <a:cubicBezTo>
                    <a:pt x="1" y="50"/>
                    <a:pt x="1" y="48"/>
                    <a:pt x="1" y="45"/>
                  </a:cubicBezTo>
                  <a:cubicBezTo>
                    <a:pt x="1" y="42"/>
                    <a:pt x="1" y="39"/>
                    <a:pt x="1" y="36"/>
                  </a:cubicBezTo>
                  <a:cubicBezTo>
                    <a:pt x="1" y="34"/>
                    <a:pt x="1" y="32"/>
                    <a:pt x="1" y="30"/>
                  </a:cubicBezTo>
                  <a:cubicBezTo>
                    <a:pt x="2" y="26"/>
                    <a:pt x="1" y="23"/>
                    <a:pt x="1" y="20"/>
                  </a:cubicBezTo>
                  <a:cubicBezTo>
                    <a:pt x="1" y="16"/>
                    <a:pt x="2" y="13"/>
                    <a:pt x="1" y="9"/>
                  </a:cubicBezTo>
                  <a:cubicBezTo>
                    <a:pt x="1" y="6"/>
                    <a:pt x="1" y="3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3" y="3"/>
                    <a:pt x="3" y="5"/>
                  </a:cubicBezTo>
                  <a:cubicBezTo>
                    <a:pt x="3" y="7"/>
                    <a:pt x="3" y="8"/>
                    <a:pt x="3" y="10"/>
                  </a:cubicBezTo>
                  <a:cubicBezTo>
                    <a:pt x="3" y="13"/>
                    <a:pt x="3" y="15"/>
                    <a:pt x="3" y="18"/>
                  </a:cubicBezTo>
                  <a:cubicBezTo>
                    <a:pt x="3" y="20"/>
                    <a:pt x="3" y="22"/>
                    <a:pt x="3" y="24"/>
                  </a:cubicBezTo>
                  <a:cubicBezTo>
                    <a:pt x="3" y="25"/>
                    <a:pt x="3" y="26"/>
                    <a:pt x="3" y="27"/>
                  </a:cubicBezTo>
                  <a:cubicBezTo>
                    <a:pt x="3" y="29"/>
                    <a:pt x="3" y="31"/>
                    <a:pt x="3" y="33"/>
                  </a:cubicBezTo>
                  <a:cubicBezTo>
                    <a:pt x="3" y="35"/>
                    <a:pt x="2" y="38"/>
                    <a:pt x="2" y="41"/>
                  </a:cubicBezTo>
                  <a:cubicBezTo>
                    <a:pt x="3" y="43"/>
                    <a:pt x="2" y="45"/>
                    <a:pt x="2" y="47"/>
                  </a:cubicBezTo>
                  <a:cubicBezTo>
                    <a:pt x="2" y="51"/>
                    <a:pt x="2" y="56"/>
                    <a:pt x="2" y="60"/>
                  </a:cubicBezTo>
                  <a:cubicBezTo>
                    <a:pt x="2" y="65"/>
                    <a:pt x="2" y="69"/>
                    <a:pt x="2" y="73"/>
                  </a:cubicBezTo>
                  <a:cubicBezTo>
                    <a:pt x="2" y="78"/>
                    <a:pt x="2" y="82"/>
                    <a:pt x="2" y="87"/>
                  </a:cubicBezTo>
                  <a:cubicBezTo>
                    <a:pt x="2" y="90"/>
                    <a:pt x="2" y="94"/>
                    <a:pt x="2" y="98"/>
                  </a:cubicBezTo>
                  <a:cubicBezTo>
                    <a:pt x="1" y="100"/>
                    <a:pt x="2" y="103"/>
                    <a:pt x="2" y="106"/>
                  </a:cubicBezTo>
                  <a:cubicBezTo>
                    <a:pt x="2" y="110"/>
                    <a:pt x="2" y="113"/>
                    <a:pt x="1" y="117"/>
                  </a:cubicBezTo>
                  <a:cubicBezTo>
                    <a:pt x="1" y="122"/>
                    <a:pt x="2" y="127"/>
                    <a:pt x="2" y="133"/>
                  </a:cubicBezTo>
                  <a:cubicBezTo>
                    <a:pt x="2" y="136"/>
                    <a:pt x="2" y="139"/>
                    <a:pt x="2" y="143"/>
                  </a:cubicBezTo>
                  <a:cubicBezTo>
                    <a:pt x="2" y="144"/>
                    <a:pt x="2" y="145"/>
                    <a:pt x="2" y="147"/>
                  </a:cubicBezTo>
                  <a:cubicBezTo>
                    <a:pt x="2" y="151"/>
                    <a:pt x="2" y="156"/>
                    <a:pt x="2" y="161"/>
                  </a:cubicBezTo>
                  <a:cubicBezTo>
                    <a:pt x="2" y="163"/>
                    <a:pt x="2" y="164"/>
                    <a:pt x="2" y="166"/>
                  </a:cubicBezTo>
                  <a:cubicBezTo>
                    <a:pt x="2" y="167"/>
                    <a:pt x="2" y="168"/>
                    <a:pt x="2" y="170"/>
                  </a:cubicBezTo>
                  <a:cubicBezTo>
                    <a:pt x="2" y="174"/>
                    <a:pt x="2" y="178"/>
                    <a:pt x="2" y="182"/>
                  </a:cubicBezTo>
                  <a:cubicBezTo>
                    <a:pt x="2" y="185"/>
                    <a:pt x="2" y="188"/>
                    <a:pt x="2" y="191"/>
                  </a:cubicBezTo>
                  <a:cubicBezTo>
                    <a:pt x="2" y="193"/>
                    <a:pt x="2" y="196"/>
                    <a:pt x="2" y="199"/>
                  </a:cubicBezTo>
                  <a:cubicBezTo>
                    <a:pt x="2" y="202"/>
                    <a:pt x="2" y="205"/>
                    <a:pt x="3" y="208"/>
                  </a:cubicBezTo>
                  <a:cubicBezTo>
                    <a:pt x="3" y="212"/>
                    <a:pt x="3" y="217"/>
                    <a:pt x="3" y="221"/>
                  </a:cubicBezTo>
                  <a:cubicBezTo>
                    <a:pt x="3" y="224"/>
                    <a:pt x="3" y="228"/>
                    <a:pt x="3" y="231"/>
                  </a:cubicBezTo>
                  <a:cubicBezTo>
                    <a:pt x="4" y="235"/>
                    <a:pt x="4" y="239"/>
                    <a:pt x="4" y="243"/>
                  </a:cubicBezTo>
                  <a:cubicBezTo>
                    <a:pt x="4" y="246"/>
                    <a:pt x="4" y="248"/>
                    <a:pt x="4" y="250"/>
                  </a:cubicBezTo>
                  <a:cubicBezTo>
                    <a:pt x="4" y="253"/>
                    <a:pt x="4" y="255"/>
                    <a:pt x="4" y="258"/>
                  </a:cubicBezTo>
                  <a:cubicBezTo>
                    <a:pt x="4" y="261"/>
                    <a:pt x="4" y="264"/>
                    <a:pt x="4" y="267"/>
                  </a:cubicBezTo>
                  <a:cubicBezTo>
                    <a:pt x="4" y="268"/>
                    <a:pt x="4" y="268"/>
                    <a:pt x="4" y="269"/>
                  </a:cubicBezTo>
                  <a:cubicBezTo>
                    <a:pt x="4" y="276"/>
                    <a:pt x="4" y="283"/>
                    <a:pt x="4" y="291"/>
                  </a:cubicBezTo>
                  <a:cubicBezTo>
                    <a:pt x="4" y="293"/>
                    <a:pt x="4" y="296"/>
                    <a:pt x="4" y="298"/>
                  </a:cubicBezTo>
                  <a:cubicBezTo>
                    <a:pt x="4" y="301"/>
                    <a:pt x="4" y="305"/>
                    <a:pt x="4" y="308"/>
                  </a:cubicBezTo>
                  <a:cubicBezTo>
                    <a:pt x="4" y="312"/>
                    <a:pt x="4" y="315"/>
                    <a:pt x="3" y="319"/>
                  </a:cubicBezTo>
                  <a:close/>
                </a:path>
              </a:pathLst>
            </a:custGeom>
            <a:grpFill/>
            <a:ln w="9525">
              <a:solidFill>
                <a:srgbClr val="5B9BD5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sp>
        <p:nvSpPr>
          <p:cNvPr id="268" name="Rectangle 158"/>
          <p:cNvSpPr>
            <a:spLocks noChangeArrowheads="1"/>
          </p:cNvSpPr>
          <p:nvPr/>
        </p:nvSpPr>
        <p:spPr bwMode="auto">
          <a:xfrm>
            <a:off x="612495" y="4394207"/>
            <a:ext cx="1326800" cy="5379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Documenti</a:t>
            </a:r>
            <a:r>
              <a:rPr kumimoji="0" lang="en-GB" altLang="it-IT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 di </a:t>
            </a:r>
            <a:r>
              <a:rPr kumimoji="0" lang="en-GB" altLang="it-IT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Trasporto</a:t>
            </a:r>
            <a:endParaRPr kumimoji="0" lang="en-GB" altLang="it-IT" sz="1600" b="1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269" name="Rectangle 159"/>
          <p:cNvSpPr>
            <a:spLocks noChangeArrowheads="1"/>
          </p:cNvSpPr>
          <p:nvPr/>
        </p:nvSpPr>
        <p:spPr bwMode="auto">
          <a:xfrm>
            <a:off x="3434642" y="4480755"/>
            <a:ext cx="712054" cy="311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Ordini</a:t>
            </a:r>
            <a:endParaRPr kumimoji="0" lang="en-GB" altLang="it-IT" sz="1600" b="1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271" name="Rectangle 161"/>
          <p:cNvSpPr>
            <a:spLocks noChangeArrowheads="1"/>
          </p:cNvSpPr>
          <p:nvPr/>
        </p:nvSpPr>
        <p:spPr bwMode="auto">
          <a:xfrm>
            <a:off x="584613" y="4906439"/>
            <a:ext cx="143661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altLang="it-IT" sz="2400" b="1" i="1" kern="0" dirty="0" smtClean="0">
                <a:solidFill>
                  <a:prstClr val="black"/>
                </a:solidFill>
              </a:rPr>
              <a:t>1.865.221</a:t>
            </a:r>
            <a:endParaRPr kumimoji="0" lang="it-IT" altLang="it-IT" sz="2400" b="1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273" name="Rectangle 163"/>
          <p:cNvSpPr>
            <a:spLocks noChangeArrowheads="1"/>
          </p:cNvSpPr>
          <p:nvPr/>
        </p:nvSpPr>
        <p:spPr bwMode="auto">
          <a:xfrm>
            <a:off x="3180610" y="4884667"/>
            <a:ext cx="119936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altLang="it-IT" sz="2400" b="1" i="1" kern="0" dirty="0" smtClean="0">
                <a:solidFill>
                  <a:prstClr val="black"/>
                </a:solidFill>
              </a:rPr>
              <a:t>808.622</a:t>
            </a:r>
            <a:endParaRPr kumimoji="0" lang="it-IT" altLang="it-IT" sz="2400" b="1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grpSp>
        <p:nvGrpSpPr>
          <p:cNvPr id="274" name="Group 273"/>
          <p:cNvGrpSpPr/>
          <p:nvPr/>
        </p:nvGrpSpPr>
        <p:grpSpPr>
          <a:xfrm>
            <a:off x="5249866" y="4195288"/>
            <a:ext cx="1688968" cy="1643879"/>
            <a:chOff x="12138026" y="5800725"/>
            <a:chExt cx="1058862" cy="1547813"/>
          </a:xfrm>
          <a:solidFill>
            <a:srgbClr val="00B050"/>
          </a:solidFill>
        </p:grpSpPr>
        <p:sp>
          <p:nvSpPr>
            <p:cNvPr id="275" name="Freeform 602"/>
            <p:cNvSpPr>
              <a:spLocks noEditPoints="1"/>
            </p:cNvSpPr>
            <p:nvPr/>
          </p:nvSpPr>
          <p:spPr bwMode="auto">
            <a:xfrm>
              <a:off x="12138026" y="5800725"/>
              <a:ext cx="981075" cy="163513"/>
            </a:xfrm>
            <a:custGeom>
              <a:avLst/>
              <a:gdLst>
                <a:gd name="T0" fmla="*/ 144 w 227"/>
                <a:gd name="T1" fmla="*/ 24 h 38"/>
                <a:gd name="T2" fmla="*/ 184 w 227"/>
                <a:gd name="T3" fmla="*/ 23 h 38"/>
                <a:gd name="T4" fmla="*/ 213 w 227"/>
                <a:gd name="T5" fmla="*/ 22 h 38"/>
                <a:gd name="T6" fmla="*/ 226 w 227"/>
                <a:gd name="T7" fmla="*/ 23 h 38"/>
                <a:gd name="T8" fmla="*/ 209 w 227"/>
                <a:gd name="T9" fmla="*/ 24 h 38"/>
                <a:gd name="T10" fmla="*/ 170 w 227"/>
                <a:gd name="T11" fmla="*/ 25 h 38"/>
                <a:gd name="T12" fmla="*/ 145 w 227"/>
                <a:gd name="T13" fmla="*/ 25 h 38"/>
                <a:gd name="T14" fmla="*/ 136 w 227"/>
                <a:gd name="T15" fmla="*/ 30 h 38"/>
                <a:gd name="T16" fmla="*/ 134 w 227"/>
                <a:gd name="T17" fmla="*/ 37 h 38"/>
                <a:gd name="T18" fmla="*/ 128 w 227"/>
                <a:gd name="T19" fmla="*/ 38 h 38"/>
                <a:gd name="T20" fmla="*/ 119 w 227"/>
                <a:gd name="T21" fmla="*/ 31 h 38"/>
                <a:gd name="T22" fmla="*/ 128 w 227"/>
                <a:gd name="T23" fmla="*/ 28 h 38"/>
                <a:gd name="T24" fmla="*/ 116 w 227"/>
                <a:gd name="T25" fmla="*/ 25 h 38"/>
                <a:gd name="T26" fmla="*/ 81 w 227"/>
                <a:gd name="T27" fmla="*/ 25 h 38"/>
                <a:gd name="T28" fmla="*/ 63 w 227"/>
                <a:gd name="T29" fmla="*/ 25 h 38"/>
                <a:gd name="T30" fmla="*/ 29 w 227"/>
                <a:gd name="T31" fmla="*/ 24 h 38"/>
                <a:gd name="T32" fmla="*/ 2 w 227"/>
                <a:gd name="T33" fmla="*/ 23 h 38"/>
                <a:gd name="T34" fmla="*/ 11 w 227"/>
                <a:gd name="T35" fmla="*/ 21 h 38"/>
                <a:gd name="T36" fmla="*/ 31 w 227"/>
                <a:gd name="T37" fmla="*/ 22 h 38"/>
                <a:gd name="T38" fmla="*/ 47 w 227"/>
                <a:gd name="T39" fmla="*/ 22 h 38"/>
                <a:gd name="T40" fmla="*/ 90 w 227"/>
                <a:gd name="T41" fmla="*/ 23 h 38"/>
                <a:gd name="T42" fmla="*/ 116 w 227"/>
                <a:gd name="T43" fmla="*/ 23 h 38"/>
                <a:gd name="T44" fmla="*/ 137 w 227"/>
                <a:gd name="T45" fmla="*/ 15 h 38"/>
                <a:gd name="T46" fmla="*/ 134 w 227"/>
                <a:gd name="T47" fmla="*/ 7 h 38"/>
                <a:gd name="T48" fmla="*/ 138 w 227"/>
                <a:gd name="T49" fmla="*/ 10 h 38"/>
                <a:gd name="T50" fmla="*/ 138 w 227"/>
                <a:gd name="T51" fmla="*/ 2 h 38"/>
                <a:gd name="T52" fmla="*/ 146 w 227"/>
                <a:gd name="T53" fmla="*/ 1 h 38"/>
                <a:gd name="T54" fmla="*/ 156 w 227"/>
                <a:gd name="T55" fmla="*/ 18 h 38"/>
                <a:gd name="T56" fmla="*/ 147 w 227"/>
                <a:gd name="T57" fmla="*/ 21 h 38"/>
                <a:gd name="T58" fmla="*/ 144 w 227"/>
                <a:gd name="T59" fmla="*/ 10 h 38"/>
                <a:gd name="T60" fmla="*/ 145 w 227"/>
                <a:gd name="T61" fmla="*/ 17 h 38"/>
                <a:gd name="T62" fmla="*/ 146 w 227"/>
                <a:gd name="T63" fmla="*/ 3 h 38"/>
                <a:gd name="T64" fmla="*/ 145 w 227"/>
                <a:gd name="T65" fmla="*/ 9 h 38"/>
                <a:gd name="T66" fmla="*/ 132 w 227"/>
                <a:gd name="T67" fmla="*/ 32 h 38"/>
                <a:gd name="T68" fmla="*/ 145 w 227"/>
                <a:gd name="T69" fmla="*/ 20 h 38"/>
                <a:gd name="T70" fmla="*/ 132 w 227"/>
                <a:gd name="T71" fmla="*/ 24 h 38"/>
                <a:gd name="T72" fmla="*/ 126 w 227"/>
                <a:gd name="T73" fmla="*/ 34 h 38"/>
                <a:gd name="T74" fmla="*/ 147 w 227"/>
                <a:gd name="T75" fmla="*/ 17 h 38"/>
                <a:gd name="T76" fmla="*/ 148 w 227"/>
                <a:gd name="T77" fmla="*/ 19 h 38"/>
                <a:gd name="T78" fmla="*/ 152 w 227"/>
                <a:gd name="T79" fmla="*/ 9 h 38"/>
                <a:gd name="T80" fmla="*/ 151 w 227"/>
                <a:gd name="T81" fmla="*/ 16 h 38"/>
                <a:gd name="T82" fmla="*/ 150 w 227"/>
                <a:gd name="T83" fmla="*/ 15 h 38"/>
                <a:gd name="T84" fmla="*/ 148 w 227"/>
                <a:gd name="T85" fmla="*/ 5 h 38"/>
                <a:gd name="T86" fmla="*/ 140 w 227"/>
                <a:gd name="T87" fmla="*/ 10 h 38"/>
                <a:gd name="T88" fmla="*/ 143 w 227"/>
                <a:gd name="T89" fmla="*/ 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7" h="38">
                  <a:moveTo>
                    <a:pt x="146" y="20"/>
                  </a:moveTo>
                  <a:cubicBezTo>
                    <a:pt x="145" y="21"/>
                    <a:pt x="144" y="22"/>
                    <a:pt x="143" y="24"/>
                  </a:cubicBezTo>
                  <a:cubicBezTo>
                    <a:pt x="144" y="24"/>
                    <a:pt x="144" y="24"/>
                    <a:pt x="144" y="24"/>
                  </a:cubicBezTo>
                  <a:cubicBezTo>
                    <a:pt x="152" y="24"/>
                    <a:pt x="160" y="24"/>
                    <a:pt x="168" y="24"/>
                  </a:cubicBezTo>
                  <a:cubicBezTo>
                    <a:pt x="172" y="23"/>
                    <a:pt x="176" y="23"/>
                    <a:pt x="180" y="23"/>
                  </a:cubicBezTo>
                  <a:cubicBezTo>
                    <a:pt x="182" y="23"/>
                    <a:pt x="183" y="23"/>
                    <a:pt x="184" y="23"/>
                  </a:cubicBezTo>
                  <a:cubicBezTo>
                    <a:pt x="187" y="23"/>
                    <a:pt x="190" y="23"/>
                    <a:pt x="192" y="23"/>
                  </a:cubicBezTo>
                  <a:cubicBezTo>
                    <a:pt x="196" y="23"/>
                    <a:pt x="199" y="23"/>
                    <a:pt x="202" y="23"/>
                  </a:cubicBezTo>
                  <a:cubicBezTo>
                    <a:pt x="206" y="22"/>
                    <a:pt x="210" y="22"/>
                    <a:pt x="213" y="22"/>
                  </a:cubicBezTo>
                  <a:cubicBezTo>
                    <a:pt x="216" y="22"/>
                    <a:pt x="219" y="22"/>
                    <a:pt x="221" y="22"/>
                  </a:cubicBezTo>
                  <a:cubicBezTo>
                    <a:pt x="223" y="22"/>
                    <a:pt x="225" y="22"/>
                    <a:pt x="227" y="23"/>
                  </a:cubicBezTo>
                  <a:cubicBezTo>
                    <a:pt x="226" y="23"/>
                    <a:pt x="226" y="23"/>
                    <a:pt x="226" y="23"/>
                  </a:cubicBezTo>
                  <a:cubicBezTo>
                    <a:pt x="225" y="23"/>
                    <a:pt x="225" y="23"/>
                    <a:pt x="224" y="23"/>
                  </a:cubicBezTo>
                  <a:cubicBezTo>
                    <a:pt x="221" y="23"/>
                    <a:pt x="217" y="24"/>
                    <a:pt x="214" y="24"/>
                  </a:cubicBezTo>
                  <a:cubicBezTo>
                    <a:pt x="212" y="24"/>
                    <a:pt x="211" y="24"/>
                    <a:pt x="209" y="24"/>
                  </a:cubicBezTo>
                  <a:cubicBezTo>
                    <a:pt x="205" y="24"/>
                    <a:pt x="201" y="24"/>
                    <a:pt x="197" y="24"/>
                  </a:cubicBezTo>
                  <a:cubicBezTo>
                    <a:pt x="191" y="24"/>
                    <a:pt x="185" y="25"/>
                    <a:pt x="178" y="25"/>
                  </a:cubicBezTo>
                  <a:cubicBezTo>
                    <a:pt x="176" y="25"/>
                    <a:pt x="173" y="25"/>
                    <a:pt x="170" y="25"/>
                  </a:cubicBezTo>
                  <a:cubicBezTo>
                    <a:pt x="167" y="25"/>
                    <a:pt x="164" y="25"/>
                    <a:pt x="162" y="25"/>
                  </a:cubicBezTo>
                  <a:cubicBezTo>
                    <a:pt x="160" y="25"/>
                    <a:pt x="158" y="25"/>
                    <a:pt x="156" y="25"/>
                  </a:cubicBezTo>
                  <a:cubicBezTo>
                    <a:pt x="152" y="25"/>
                    <a:pt x="149" y="25"/>
                    <a:pt x="145" y="25"/>
                  </a:cubicBezTo>
                  <a:cubicBezTo>
                    <a:pt x="144" y="25"/>
                    <a:pt x="143" y="25"/>
                    <a:pt x="142" y="25"/>
                  </a:cubicBezTo>
                  <a:cubicBezTo>
                    <a:pt x="141" y="25"/>
                    <a:pt x="141" y="26"/>
                    <a:pt x="141" y="26"/>
                  </a:cubicBezTo>
                  <a:cubicBezTo>
                    <a:pt x="139" y="27"/>
                    <a:pt x="138" y="29"/>
                    <a:pt x="136" y="30"/>
                  </a:cubicBezTo>
                  <a:cubicBezTo>
                    <a:pt x="135" y="31"/>
                    <a:pt x="134" y="32"/>
                    <a:pt x="133" y="33"/>
                  </a:cubicBezTo>
                  <a:cubicBezTo>
                    <a:pt x="132" y="34"/>
                    <a:pt x="132" y="35"/>
                    <a:pt x="131" y="35"/>
                  </a:cubicBezTo>
                  <a:cubicBezTo>
                    <a:pt x="132" y="36"/>
                    <a:pt x="134" y="36"/>
                    <a:pt x="134" y="37"/>
                  </a:cubicBezTo>
                  <a:cubicBezTo>
                    <a:pt x="133" y="38"/>
                    <a:pt x="132" y="37"/>
                    <a:pt x="130" y="37"/>
                  </a:cubicBezTo>
                  <a:cubicBezTo>
                    <a:pt x="130" y="38"/>
                    <a:pt x="129" y="38"/>
                    <a:pt x="129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6"/>
                    <a:pt x="126" y="36"/>
                    <a:pt x="125" y="36"/>
                  </a:cubicBezTo>
                  <a:cubicBezTo>
                    <a:pt x="123" y="35"/>
                    <a:pt x="121" y="34"/>
                    <a:pt x="119" y="33"/>
                  </a:cubicBezTo>
                  <a:cubicBezTo>
                    <a:pt x="119" y="33"/>
                    <a:pt x="119" y="32"/>
                    <a:pt x="119" y="31"/>
                  </a:cubicBezTo>
                  <a:cubicBezTo>
                    <a:pt x="120" y="32"/>
                    <a:pt x="122" y="33"/>
                    <a:pt x="123" y="33"/>
                  </a:cubicBezTo>
                  <a:cubicBezTo>
                    <a:pt x="124" y="34"/>
                    <a:pt x="124" y="34"/>
                    <a:pt x="125" y="33"/>
                  </a:cubicBezTo>
                  <a:cubicBezTo>
                    <a:pt x="126" y="31"/>
                    <a:pt x="127" y="29"/>
                    <a:pt x="128" y="28"/>
                  </a:cubicBezTo>
                  <a:cubicBezTo>
                    <a:pt x="128" y="27"/>
                    <a:pt x="129" y="26"/>
                    <a:pt x="129" y="26"/>
                  </a:cubicBezTo>
                  <a:cubicBezTo>
                    <a:pt x="129" y="25"/>
                    <a:pt x="129" y="25"/>
                    <a:pt x="128" y="25"/>
                  </a:cubicBezTo>
                  <a:cubicBezTo>
                    <a:pt x="124" y="25"/>
                    <a:pt x="120" y="25"/>
                    <a:pt x="116" y="25"/>
                  </a:cubicBezTo>
                  <a:cubicBezTo>
                    <a:pt x="111" y="25"/>
                    <a:pt x="106" y="25"/>
                    <a:pt x="102" y="25"/>
                  </a:cubicBezTo>
                  <a:cubicBezTo>
                    <a:pt x="99" y="25"/>
                    <a:pt x="97" y="25"/>
                    <a:pt x="94" y="25"/>
                  </a:cubicBezTo>
                  <a:cubicBezTo>
                    <a:pt x="90" y="25"/>
                    <a:pt x="86" y="25"/>
                    <a:pt x="81" y="25"/>
                  </a:cubicBezTo>
                  <a:cubicBezTo>
                    <a:pt x="80" y="25"/>
                    <a:pt x="79" y="25"/>
                    <a:pt x="78" y="25"/>
                  </a:cubicBezTo>
                  <a:cubicBezTo>
                    <a:pt x="76" y="25"/>
                    <a:pt x="75" y="25"/>
                    <a:pt x="73" y="25"/>
                  </a:cubicBezTo>
                  <a:cubicBezTo>
                    <a:pt x="70" y="25"/>
                    <a:pt x="66" y="25"/>
                    <a:pt x="63" y="25"/>
                  </a:cubicBezTo>
                  <a:cubicBezTo>
                    <a:pt x="60" y="24"/>
                    <a:pt x="58" y="24"/>
                    <a:pt x="55" y="24"/>
                  </a:cubicBezTo>
                  <a:cubicBezTo>
                    <a:pt x="53" y="24"/>
                    <a:pt x="51" y="24"/>
                    <a:pt x="48" y="24"/>
                  </a:cubicBezTo>
                  <a:cubicBezTo>
                    <a:pt x="42" y="24"/>
                    <a:pt x="36" y="24"/>
                    <a:pt x="29" y="24"/>
                  </a:cubicBezTo>
                  <a:cubicBezTo>
                    <a:pt x="24" y="24"/>
                    <a:pt x="19" y="24"/>
                    <a:pt x="13" y="23"/>
                  </a:cubicBezTo>
                  <a:cubicBezTo>
                    <a:pt x="11" y="23"/>
                    <a:pt x="9" y="24"/>
                    <a:pt x="7" y="24"/>
                  </a:cubicBezTo>
                  <a:cubicBezTo>
                    <a:pt x="5" y="24"/>
                    <a:pt x="3" y="23"/>
                    <a:pt x="2" y="23"/>
                  </a:cubicBezTo>
                  <a:cubicBezTo>
                    <a:pt x="1" y="23"/>
                    <a:pt x="1" y="23"/>
                    <a:pt x="0" y="22"/>
                  </a:cubicBezTo>
                  <a:cubicBezTo>
                    <a:pt x="2" y="22"/>
                    <a:pt x="3" y="22"/>
                    <a:pt x="5" y="22"/>
                  </a:cubicBezTo>
                  <a:cubicBezTo>
                    <a:pt x="7" y="22"/>
                    <a:pt x="9" y="22"/>
                    <a:pt x="11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2" y="22"/>
                    <a:pt x="14" y="22"/>
                    <a:pt x="15" y="22"/>
                  </a:cubicBezTo>
                  <a:cubicBezTo>
                    <a:pt x="20" y="22"/>
                    <a:pt x="26" y="22"/>
                    <a:pt x="31" y="22"/>
                  </a:cubicBezTo>
                  <a:cubicBezTo>
                    <a:pt x="35" y="22"/>
                    <a:pt x="38" y="22"/>
                    <a:pt x="41" y="22"/>
                  </a:cubicBezTo>
                  <a:cubicBezTo>
                    <a:pt x="42" y="22"/>
                    <a:pt x="43" y="22"/>
                    <a:pt x="44" y="22"/>
                  </a:cubicBezTo>
                  <a:cubicBezTo>
                    <a:pt x="45" y="22"/>
                    <a:pt x="46" y="22"/>
                    <a:pt x="47" y="22"/>
                  </a:cubicBezTo>
                  <a:cubicBezTo>
                    <a:pt x="53" y="23"/>
                    <a:pt x="58" y="23"/>
                    <a:pt x="64" y="23"/>
                  </a:cubicBezTo>
                  <a:cubicBezTo>
                    <a:pt x="69" y="23"/>
                    <a:pt x="74" y="23"/>
                    <a:pt x="80" y="23"/>
                  </a:cubicBezTo>
                  <a:cubicBezTo>
                    <a:pt x="83" y="23"/>
                    <a:pt x="87" y="23"/>
                    <a:pt x="90" y="23"/>
                  </a:cubicBezTo>
                  <a:cubicBezTo>
                    <a:pt x="94" y="23"/>
                    <a:pt x="97" y="23"/>
                    <a:pt x="101" y="23"/>
                  </a:cubicBezTo>
                  <a:cubicBezTo>
                    <a:pt x="104" y="23"/>
                    <a:pt x="107" y="23"/>
                    <a:pt x="110" y="23"/>
                  </a:cubicBezTo>
                  <a:cubicBezTo>
                    <a:pt x="112" y="23"/>
                    <a:pt x="114" y="23"/>
                    <a:pt x="116" y="23"/>
                  </a:cubicBezTo>
                  <a:cubicBezTo>
                    <a:pt x="121" y="23"/>
                    <a:pt x="125" y="23"/>
                    <a:pt x="129" y="24"/>
                  </a:cubicBezTo>
                  <a:cubicBezTo>
                    <a:pt x="130" y="24"/>
                    <a:pt x="131" y="23"/>
                    <a:pt x="132" y="22"/>
                  </a:cubicBezTo>
                  <a:cubicBezTo>
                    <a:pt x="134" y="20"/>
                    <a:pt x="135" y="17"/>
                    <a:pt x="137" y="15"/>
                  </a:cubicBezTo>
                  <a:cubicBezTo>
                    <a:pt x="138" y="15"/>
                    <a:pt x="138" y="14"/>
                    <a:pt x="138" y="14"/>
                  </a:cubicBezTo>
                  <a:cubicBezTo>
                    <a:pt x="138" y="13"/>
                    <a:pt x="137" y="11"/>
                    <a:pt x="136" y="10"/>
                  </a:cubicBezTo>
                  <a:cubicBezTo>
                    <a:pt x="135" y="9"/>
                    <a:pt x="135" y="8"/>
                    <a:pt x="134" y="7"/>
                  </a:cubicBezTo>
                  <a:cubicBezTo>
                    <a:pt x="134" y="6"/>
                    <a:pt x="134" y="6"/>
                    <a:pt x="135" y="5"/>
                  </a:cubicBezTo>
                  <a:cubicBezTo>
                    <a:pt x="136" y="5"/>
                    <a:pt x="136" y="5"/>
                    <a:pt x="136" y="6"/>
                  </a:cubicBezTo>
                  <a:cubicBezTo>
                    <a:pt x="137" y="7"/>
                    <a:pt x="137" y="8"/>
                    <a:pt x="138" y="10"/>
                  </a:cubicBezTo>
                  <a:cubicBezTo>
                    <a:pt x="139" y="7"/>
                    <a:pt x="139" y="4"/>
                    <a:pt x="140" y="1"/>
                  </a:cubicBezTo>
                  <a:cubicBezTo>
                    <a:pt x="139" y="2"/>
                    <a:pt x="139" y="2"/>
                    <a:pt x="139" y="2"/>
                  </a:cubicBezTo>
                  <a:cubicBezTo>
                    <a:pt x="138" y="2"/>
                    <a:pt x="138" y="2"/>
                    <a:pt x="138" y="2"/>
                  </a:cubicBezTo>
                  <a:cubicBezTo>
                    <a:pt x="137" y="1"/>
                    <a:pt x="137" y="1"/>
                    <a:pt x="138" y="0"/>
                  </a:cubicBezTo>
                  <a:cubicBezTo>
                    <a:pt x="139" y="0"/>
                    <a:pt x="140" y="0"/>
                    <a:pt x="141" y="0"/>
                  </a:cubicBezTo>
                  <a:cubicBezTo>
                    <a:pt x="143" y="0"/>
                    <a:pt x="145" y="1"/>
                    <a:pt x="146" y="1"/>
                  </a:cubicBezTo>
                  <a:cubicBezTo>
                    <a:pt x="147" y="2"/>
                    <a:pt x="148" y="2"/>
                    <a:pt x="149" y="3"/>
                  </a:cubicBezTo>
                  <a:cubicBezTo>
                    <a:pt x="152" y="5"/>
                    <a:pt x="154" y="8"/>
                    <a:pt x="155" y="12"/>
                  </a:cubicBezTo>
                  <a:cubicBezTo>
                    <a:pt x="156" y="14"/>
                    <a:pt x="156" y="16"/>
                    <a:pt x="156" y="18"/>
                  </a:cubicBezTo>
                  <a:cubicBezTo>
                    <a:pt x="156" y="19"/>
                    <a:pt x="156" y="20"/>
                    <a:pt x="155" y="21"/>
                  </a:cubicBezTo>
                  <a:cubicBezTo>
                    <a:pt x="154" y="23"/>
                    <a:pt x="153" y="24"/>
                    <a:pt x="151" y="23"/>
                  </a:cubicBezTo>
                  <a:cubicBezTo>
                    <a:pt x="150" y="23"/>
                    <a:pt x="149" y="22"/>
                    <a:pt x="147" y="21"/>
                  </a:cubicBezTo>
                  <a:cubicBezTo>
                    <a:pt x="147" y="21"/>
                    <a:pt x="146" y="21"/>
                    <a:pt x="146" y="20"/>
                  </a:cubicBezTo>
                  <a:close/>
                  <a:moveTo>
                    <a:pt x="145" y="9"/>
                  </a:moveTo>
                  <a:cubicBezTo>
                    <a:pt x="145" y="9"/>
                    <a:pt x="145" y="10"/>
                    <a:pt x="144" y="10"/>
                  </a:cubicBezTo>
                  <a:cubicBezTo>
                    <a:pt x="143" y="11"/>
                    <a:pt x="142" y="12"/>
                    <a:pt x="143" y="14"/>
                  </a:cubicBezTo>
                  <a:cubicBezTo>
                    <a:pt x="142" y="14"/>
                    <a:pt x="142" y="14"/>
                    <a:pt x="142" y="15"/>
                  </a:cubicBezTo>
                  <a:cubicBezTo>
                    <a:pt x="143" y="16"/>
                    <a:pt x="144" y="16"/>
                    <a:pt x="145" y="17"/>
                  </a:cubicBezTo>
                  <a:cubicBezTo>
                    <a:pt x="145" y="14"/>
                    <a:pt x="145" y="12"/>
                    <a:pt x="146" y="9"/>
                  </a:cubicBezTo>
                  <a:cubicBezTo>
                    <a:pt x="146" y="9"/>
                    <a:pt x="146" y="8"/>
                    <a:pt x="146" y="8"/>
                  </a:cubicBezTo>
                  <a:cubicBezTo>
                    <a:pt x="146" y="6"/>
                    <a:pt x="146" y="5"/>
                    <a:pt x="146" y="3"/>
                  </a:cubicBezTo>
                  <a:cubicBezTo>
                    <a:pt x="146" y="3"/>
                    <a:pt x="145" y="3"/>
                    <a:pt x="145" y="3"/>
                  </a:cubicBezTo>
                  <a:cubicBezTo>
                    <a:pt x="144" y="5"/>
                    <a:pt x="144" y="7"/>
                    <a:pt x="143" y="9"/>
                  </a:cubicBezTo>
                  <a:cubicBezTo>
                    <a:pt x="144" y="9"/>
                    <a:pt x="145" y="8"/>
                    <a:pt x="145" y="9"/>
                  </a:cubicBezTo>
                  <a:close/>
                  <a:moveTo>
                    <a:pt x="126" y="34"/>
                  </a:moveTo>
                  <a:cubicBezTo>
                    <a:pt x="128" y="35"/>
                    <a:pt x="129" y="35"/>
                    <a:pt x="130" y="34"/>
                  </a:cubicBezTo>
                  <a:cubicBezTo>
                    <a:pt x="130" y="33"/>
                    <a:pt x="131" y="32"/>
                    <a:pt x="132" y="32"/>
                  </a:cubicBezTo>
                  <a:cubicBezTo>
                    <a:pt x="134" y="30"/>
                    <a:pt x="135" y="28"/>
                    <a:pt x="137" y="27"/>
                  </a:cubicBezTo>
                  <a:cubicBezTo>
                    <a:pt x="138" y="26"/>
                    <a:pt x="138" y="25"/>
                    <a:pt x="139" y="24"/>
                  </a:cubicBezTo>
                  <a:cubicBezTo>
                    <a:pt x="141" y="23"/>
                    <a:pt x="143" y="21"/>
                    <a:pt x="145" y="20"/>
                  </a:cubicBezTo>
                  <a:cubicBezTo>
                    <a:pt x="143" y="18"/>
                    <a:pt x="141" y="17"/>
                    <a:pt x="139" y="15"/>
                  </a:cubicBezTo>
                  <a:cubicBezTo>
                    <a:pt x="139" y="16"/>
                    <a:pt x="138" y="16"/>
                    <a:pt x="138" y="16"/>
                  </a:cubicBezTo>
                  <a:cubicBezTo>
                    <a:pt x="136" y="19"/>
                    <a:pt x="134" y="22"/>
                    <a:pt x="132" y="24"/>
                  </a:cubicBezTo>
                  <a:cubicBezTo>
                    <a:pt x="132" y="24"/>
                    <a:pt x="132" y="24"/>
                    <a:pt x="132" y="25"/>
                  </a:cubicBezTo>
                  <a:cubicBezTo>
                    <a:pt x="131" y="26"/>
                    <a:pt x="130" y="27"/>
                    <a:pt x="129" y="29"/>
                  </a:cubicBezTo>
                  <a:cubicBezTo>
                    <a:pt x="128" y="31"/>
                    <a:pt x="127" y="32"/>
                    <a:pt x="126" y="34"/>
                  </a:cubicBezTo>
                  <a:close/>
                  <a:moveTo>
                    <a:pt x="148" y="5"/>
                  </a:moveTo>
                  <a:cubicBezTo>
                    <a:pt x="148" y="7"/>
                    <a:pt x="147" y="9"/>
                    <a:pt x="147" y="11"/>
                  </a:cubicBezTo>
                  <a:cubicBezTo>
                    <a:pt x="147" y="13"/>
                    <a:pt x="147" y="15"/>
                    <a:pt x="147" y="17"/>
                  </a:cubicBezTo>
                  <a:cubicBezTo>
                    <a:pt x="146" y="17"/>
                    <a:pt x="146" y="17"/>
                    <a:pt x="146" y="18"/>
                  </a:cubicBezTo>
                  <a:cubicBezTo>
                    <a:pt x="146" y="18"/>
                    <a:pt x="147" y="18"/>
                    <a:pt x="147" y="18"/>
                  </a:cubicBezTo>
                  <a:cubicBezTo>
                    <a:pt x="148" y="18"/>
                    <a:pt x="148" y="19"/>
                    <a:pt x="148" y="19"/>
                  </a:cubicBezTo>
                  <a:cubicBezTo>
                    <a:pt x="149" y="20"/>
                    <a:pt x="150" y="20"/>
                    <a:pt x="151" y="21"/>
                  </a:cubicBezTo>
                  <a:cubicBezTo>
                    <a:pt x="153" y="21"/>
                    <a:pt x="154" y="21"/>
                    <a:pt x="154" y="19"/>
                  </a:cubicBezTo>
                  <a:cubicBezTo>
                    <a:pt x="155" y="15"/>
                    <a:pt x="154" y="12"/>
                    <a:pt x="152" y="9"/>
                  </a:cubicBezTo>
                  <a:cubicBezTo>
                    <a:pt x="152" y="9"/>
                    <a:pt x="152" y="9"/>
                    <a:pt x="152" y="9"/>
                  </a:cubicBezTo>
                  <a:cubicBezTo>
                    <a:pt x="152" y="10"/>
                    <a:pt x="152" y="11"/>
                    <a:pt x="152" y="12"/>
                  </a:cubicBezTo>
                  <a:cubicBezTo>
                    <a:pt x="152" y="13"/>
                    <a:pt x="152" y="14"/>
                    <a:pt x="151" y="16"/>
                  </a:cubicBezTo>
                  <a:cubicBezTo>
                    <a:pt x="151" y="16"/>
                    <a:pt x="151" y="16"/>
                    <a:pt x="151" y="16"/>
                  </a:cubicBezTo>
                  <a:cubicBezTo>
                    <a:pt x="151" y="16"/>
                    <a:pt x="150" y="16"/>
                    <a:pt x="150" y="16"/>
                  </a:cubicBezTo>
                  <a:cubicBezTo>
                    <a:pt x="150" y="16"/>
                    <a:pt x="150" y="15"/>
                    <a:pt x="150" y="15"/>
                  </a:cubicBezTo>
                  <a:cubicBezTo>
                    <a:pt x="150" y="14"/>
                    <a:pt x="150" y="12"/>
                    <a:pt x="150" y="11"/>
                  </a:cubicBezTo>
                  <a:cubicBezTo>
                    <a:pt x="149" y="9"/>
                    <a:pt x="150" y="8"/>
                    <a:pt x="151" y="7"/>
                  </a:cubicBezTo>
                  <a:cubicBezTo>
                    <a:pt x="150" y="6"/>
                    <a:pt x="149" y="6"/>
                    <a:pt x="148" y="5"/>
                  </a:cubicBezTo>
                  <a:close/>
                  <a:moveTo>
                    <a:pt x="141" y="2"/>
                  </a:moveTo>
                  <a:cubicBezTo>
                    <a:pt x="141" y="4"/>
                    <a:pt x="141" y="6"/>
                    <a:pt x="141" y="8"/>
                  </a:cubicBezTo>
                  <a:cubicBezTo>
                    <a:pt x="141" y="8"/>
                    <a:pt x="140" y="9"/>
                    <a:pt x="140" y="10"/>
                  </a:cubicBezTo>
                  <a:cubicBezTo>
                    <a:pt x="140" y="10"/>
                    <a:pt x="141" y="10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ubicBezTo>
                    <a:pt x="142" y="8"/>
                    <a:pt x="142" y="5"/>
                    <a:pt x="143" y="2"/>
                  </a:cubicBezTo>
                  <a:cubicBezTo>
                    <a:pt x="143" y="1"/>
                    <a:pt x="142" y="1"/>
                    <a:pt x="141" y="2"/>
                  </a:cubicBezTo>
                  <a:close/>
                </a:path>
              </a:pathLst>
            </a:custGeom>
            <a:grpFill/>
            <a:ln w="9525">
              <a:solidFill>
                <a:srgbClr val="5B9BD5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76" name="Freeform 603"/>
            <p:cNvSpPr>
              <a:spLocks/>
            </p:cNvSpPr>
            <p:nvPr/>
          </p:nvSpPr>
          <p:spPr bwMode="auto">
            <a:xfrm>
              <a:off x="13161963" y="5903913"/>
              <a:ext cx="34925" cy="1423988"/>
            </a:xfrm>
            <a:custGeom>
              <a:avLst/>
              <a:gdLst>
                <a:gd name="T0" fmla="*/ 7 w 8"/>
                <a:gd name="T1" fmla="*/ 327 h 329"/>
                <a:gd name="T2" fmla="*/ 5 w 8"/>
                <a:gd name="T3" fmla="*/ 309 h 329"/>
                <a:gd name="T4" fmla="*/ 4 w 8"/>
                <a:gd name="T5" fmla="*/ 293 h 329"/>
                <a:gd name="T6" fmla="*/ 3 w 8"/>
                <a:gd name="T7" fmla="*/ 276 h 329"/>
                <a:gd name="T8" fmla="*/ 1 w 8"/>
                <a:gd name="T9" fmla="*/ 255 h 329"/>
                <a:gd name="T10" fmla="*/ 1 w 8"/>
                <a:gd name="T11" fmla="*/ 232 h 329"/>
                <a:gd name="T12" fmla="*/ 1 w 8"/>
                <a:gd name="T13" fmla="*/ 212 h 329"/>
                <a:gd name="T14" fmla="*/ 0 w 8"/>
                <a:gd name="T15" fmla="*/ 184 h 329"/>
                <a:gd name="T16" fmla="*/ 1 w 8"/>
                <a:gd name="T17" fmla="*/ 174 h 329"/>
                <a:gd name="T18" fmla="*/ 0 w 8"/>
                <a:gd name="T19" fmla="*/ 165 h 329"/>
                <a:gd name="T20" fmla="*/ 1 w 8"/>
                <a:gd name="T21" fmla="*/ 146 h 329"/>
                <a:gd name="T22" fmla="*/ 0 w 8"/>
                <a:gd name="T23" fmla="*/ 137 h 329"/>
                <a:gd name="T24" fmla="*/ 0 w 8"/>
                <a:gd name="T25" fmla="*/ 119 h 329"/>
                <a:gd name="T26" fmla="*/ 0 w 8"/>
                <a:gd name="T27" fmla="*/ 112 h 329"/>
                <a:gd name="T28" fmla="*/ 0 w 8"/>
                <a:gd name="T29" fmla="*/ 93 h 329"/>
                <a:gd name="T30" fmla="*/ 1 w 8"/>
                <a:gd name="T31" fmla="*/ 70 h 329"/>
                <a:gd name="T32" fmla="*/ 2 w 8"/>
                <a:gd name="T33" fmla="*/ 52 h 329"/>
                <a:gd name="T34" fmla="*/ 4 w 8"/>
                <a:gd name="T35" fmla="*/ 38 h 329"/>
                <a:gd name="T36" fmla="*/ 6 w 8"/>
                <a:gd name="T37" fmla="*/ 15 h 329"/>
                <a:gd name="T38" fmla="*/ 7 w 8"/>
                <a:gd name="T39" fmla="*/ 1 h 329"/>
                <a:gd name="T40" fmla="*/ 8 w 8"/>
                <a:gd name="T41" fmla="*/ 4 h 329"/>
                <a:gd name="T42" fmla="*/ 7 w 8"/>
                <a:gd name="T43" fmla="*/ 23 h 329"/>
                <a:gd name="T44" fmla="*/ 5 w 8"/>
                <a:gd name="T45" fmla="*/ 39 h 329"/>
                <a:gd name="T46" fmla="*/ 4 w 8"/>
                <a:gd name="T47" fmla="*/ 49 h 329"/>
                <a:gd name="T48" fmla="*/ 3 w 8"/>
                <a:gd name="T49" fmla="*/ 64 h 329"/>
                <a:gd name="T50" fmla="*/ 2 w 8"/>
                <a:gd name="T51" fmla="*/ 94 h 329"/>
                <a:gd name="T52" fmla="*/ 2 w 8"/>
                <a:gd name="T53" fmla="*/ 117 h 329"/>
                <a:gd name="T54" fmla="*/ 2 w 8"/>
                <a:gd name="T55" fmla="*/ 141 h 329"/>
                <a:gd name="T56" fmla="*/ 2 w 8"/>
                <a:gd name="T57" fmla="*/ 160 h 329"/>
                <a:gd name="T58" fmla="*/ 2 w 8"/>
                <a:gd name="T59" fmla="*/ 175 h 329"/>
                <a:gd name="T60" fmla="*/ 2 w 8"/>
                <a:gd name="T61" fmla="*/ 191 h 329"/>
                <a:gd name="T62" fmla="*/ 2 w 8"/>
                <a:gd name="T63" fmla="*/ 207 h 329"/>
                <a:gd name="T64" fmla="*/ 3 w 8"/>
                <a:gd name="T65" fmla="*/ 239 h 329"/>
                <a:gd name="T66" fmla="*/ 3 w 8"/>
                <a:gd name="T67" fmla="*/ 261 h 329"/>
                <a:gd name="T68" fmla="*/ 5 w 8"/>
                <a:gd name="T69" fmla="*/ 283 h 329"/>
                <a:gd name="T70" fmla="*/ 6 w 8"/>
                <a:gd name="T71" fmla="*/ 300 h 329"/>
                <a:gd name="T72" fmla="*/ 8 w 8"/>
                <a:gd name="T73" fmla="*/ 325 h 329"/>
                <a:gd name="T74" fmla="*/ 7 w 8"/>
                <a:gd name="T75" fmla="*/ 32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" h="329">
                  <a:moveTo>
                    <a:pt x="7" y="329"/>
                  </a:moveTo>
                  <a:cubicBezTo>
                    <a:pt x="7" y="328"/>
                    <a:pt x="7" y="328"/>
                    <a:pt x="7" y="327"/>
                  </a:cubicBezTo>
                  <a:cubicBezTo>
                    <a:pt x="7" y="324"/>
                    <a:pt x="7" y="321"/>
                    <a:pt x="6" y="318"/>
                  </a:cubicBezTo>
                  <a:cubicBezTo>
                    <a:pt x="6" y="315"/>
                    <a:pt x="6" y="312"/>
                    <a:pt x="5" y="309"/>
                  </a:cubicBezTo>
                  <a:cubicBezTo>
                    <a:pt x="5" y="307"/>
                    <a:pt x="5" y="304"/>
                    <a:pt x="5" y="301"/>
                  </a:cubicBezTo>
                  <a:cubicBezTo>
                    <a:pt x="4" y="298"/>
                    <a:pt x="4" y="296"/>
                    <a:pt x="4" y="293"/>
                  </a:cubicBezTo>
                  <a:cubicBezTo>
                    <a:pt x="4" y="289"/>
                    <a:pt x="4" y="286"/>
                    <a:pt x="3" y="282"/>
                  </a:cubicBezTo>
                  <a:cubicBezTo>
                    <a:pt x="3" y="280"/>
                    <a:pt x="3" y="278"/>
                    <a:pt x="3" y="276"/>
                  </a:cubicBezTo>
                  <a:cubicBezTo>
                    <a:pt x="2" y="272"/>
                    <a:pt x="2" y="268"/>
                    <a:pt x="2" y="264"/>
                  </a:cubicBezTo>
                  <a:cubicBezTo>
                    <a:pt x="1" y="261"/>
                    <a:pt x="1" y="258"/>
                    <a:pt x="1" y="255"/>
                  </a:cubicBezTo>
                  <a:cubicBezTo>
                    <a:pt x="1" y="250"/>
                    <a:pt x="1" y="246"/>
                    <a:pt x="1" y="242"/>
                  </a:cubicBezTo>
                  <a:cubicBezTo>
                    <a:pt x="1" y="238"/>
                    <a:pt x="1" y="235"/>
                    <a:pt x="1" y="232"/>
                  </a:cubicBezTo>
                  <a:cubicBezTo>
                    <a:pt x="1" y="229"/>
                    <a:pt x="1" y="225"/>
                    <a:pt x="1" y="222"/>
                  </a:cubicBezTo>
                  <a:cubicBezTo>
                    <a:pt x="1" y="219"/>
                    <a:pt x="1" y="216"/>
                    <a:pt x="1" y="212"/>
                  </a:cubicBezTo>
                  <a:cubicBezTo>
                    <a:pt x="1" y="208"/>
                    <a:pt x="1" y="203"/>
                    <a:pt x="1" y="199"/>
                  </a:cubicBezTo>
                  <a:cubicBezTo>
                    <a:pt x="1" y="194"/>
                    <a:pt x="0" y="189"/>
                    <a:pt x="0" y="184"/>
                  </a:cubicBezTo>
                  <a:cubicBezTo>
                    <a:pt x="0" y="182"/>
                    <a:pt x="1" y="181"/>
                    <a:pt x="1" y="179"/>
                  </a:cubicBezTo>
                  <a:cubicBezTo>
                    <a:pt x="1" y="178"/>
                    <a:pt x="1" y="176"/>
                    <a:pt x="1" y="174"/>
                  </a:cubicBezTo>
                  <a:cubicBezTo>
                    <a:pt x="1" y="174"/>
                    <a:pt x="1" y="173"/>
                    <a:pt x="1" y="173"/>
                  </a:cubicBezTo>
                  <a:cubicBezTo>
                    <a:pt x="1" y="170"/>
                    <a:pt x="0" y="167"/>
                    <a:pt x="0" y="165"/>
                  </a:cubicBezTo>
                  <a:cubicBezTo>
                    <a:pt x="0" y="161"/>
                    <a:pt x="0" y="157"/>
                    <a:pt x="0" y="153"/>
                  </a:cubicBezTo>
                  <a:cubicBezTo>
                    <a:pt x="0" y="151"/>
                    <a:pt x="1" y="148"/>
                    <a:pt x="1" y="146"/>
                  </a:cubicBezTo>
                  <a:cubicBezTo>
                    <a:pt x="1" y="146"/>
                    <a:pt x="0" y="145"/>
                    <a:pt x="0" y="145"/>
                  </a:cubicBezTo>
                  <a:cubicBezTo>
                    <a:pt x="0" y="142"/>
                    <a:pt x="0" y="140"/>
                    <a:pt x="0" y="137"/>
                  </a:cubicBezTo>
                  <a:cubicBezTo>
                    <a:pt x="0" y="134"/>
                    <a:pt x="0" y="132"/>
                    <a:pt x="0" y="129"/>
                  </a:cubicBezTo>
                  <a:cubicBezTo>
                    <a:pt x="0" y="125"/>
                    <a:pt x="0" y="122"/>
                    <a:pt x="0" y="119"/>
                  </a:cubicBezTo>
                  <a:cubicBezTo>
                    <a:pt x="0" y="117"/>
                    <a:pt x="0" y="116"/>
                    <a:pt x="0" y="115"/>
                  </a:cubicBezTo>
                  <a:cubicBezTo>
                    <a:pt x="0" y="114"/>
                    <a:pt x="0" y="113"/>
                    <a:pt x="0" y="112"/>
                  </a:cubicBezTo>
                  <a:cubicBezTo>
                    <a:pt x="0" y="110"/>
                    <a:pt x="0" y="107"/>
                    <a:pt x="0" y="105"/>
                  </a:cubicBezTo>
                  <a:cubicBezTo>
                    <a:pt x="0" y="101"/>
                    <a:pt x="0" y="97"/>
                    <a:pt x="0" y="93"/>
                  </a:cubicBezTo>
                  <a:cubicBezTo>
                    <a:pt x="0" y="88"/>
                    <a:pt x="0" y="84"/>
                    <a:pt x="1" y="79"/>
                  </a:cubicBezTo>
                  <a:cubicBezTo>
                    <a:pt x="1" y="76"/>
                    <a:pt x="1" y="73"/>
                    <a:pt x="1" y="70"/>
                  </a:cubicBezTo>
                  <a:cubicBezTo>
                    <a:pt x="1" y="66"/>
                    <a:pt x="2" y="63"/>
                    <a:pt x="2" y="60"/>
                  </a:cubicBezTo>
                  <a:cubicBezTo>
                    <a:pt x="2" y="57"/>
                    <a:pt x="2" y="55"/>
                    <a:pt x="2" y="52"/>
                  </a:cubicBezTo>
                  <a:cubicBezTo>
                    <a:pt x="2" y="50"/>
                    <a:pt x="2" y="48"/>
                    <a:pt x="3" y="47"/>
                  </a:cubicBezTo>
                  <a:cubicBezTo>
                    <a:pt x="4" y="44"/>
                    <a:pt x="3" y="40"/>
                    <a:pt x="4" y="38"/>
                  </a:cubicBezTo>
                  <a:cubicBezTo>
                    <a:pt x="4" y="34"/>
                    <a:pt x="4" y="31"/>
                    <a:pt x="5" y="28"/>
                  </a:cubicBezTo>
                  <a:cubicBezTo>
                    <a:pt x="5" y="24"/>
                    <a:pt x="5" y="19"/>
                    <a:pt x="6" y="15"/>
                  </a:cubicBezTo>
                  <a:cubicBezTo>
                    <a:pt x="6" y="12"/>
                    <a:pt x="6" y="9"/>
                    <a:pt x="6" y="6"/>
                  </a:cubicBezTo>
                  <a:cubicBezTo>
                    <a:pt x="6" y="4"/>
                    <a:pt x="6" y="2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1"/>
                    <a:pt x="8" y="2"/>
                    <a:pt x="8" y="4"/>
                  </a:cubicBezTo>
                  <a:cubicBezTo>
                    <a:pt x="8" y="6"/>
                    <a:pt x="8" y="8"/>
                    <a:pt x="8" y="10"/>
                  </a:cubicBezTo>
                  <a:cubicBezTo>
                    <a:pt x="7" y="14"/>
                    <a:pt x="7" y="18"/>
                    <a:pt x="7" y="23"/>
                  </a:cubicBezTo>
                  <a:cubicBezTo>
                    <a:pt x="6" y="26"/>
                    <a:pt x="6" y="29"/>
                    <a:pt x="6" y="32"/>
                  </a:cubicBezTo>
                  <a:cubicBezTo>
                    <a:pt x="5" y="35"/>
                    <a:pt x="5" y="37"/>
                    <a:pt x="5" y="39"/>
                  </a:cubicBezTo>
                  <a:cubicBezTo>
                    <a:pt x="5" y="41"/>
                    <a:pt x="5" y="43"/>
                    <a:pt x="5" y="44"/>
                  </a:cubicBezTo>
                  <a:cubicBezTo>
                    <a:pt x="4" y="46"/>
                    <a:pt x="4" y="48"/>
                    <a:pt x="4" y="49"/>
                  </a:cubicBezTo>
                  <a:cubicBezTo>
                    <a:pt x="4" y="53"/>
                    <a:pt x="4" y="57"/>
                    <a:pt x="3" y="61"/>
                  </a:cubicBezTo>
                  <a:cubicBezTo>
                    <a:pt x="3" y="62"/>
                    <a:pt x="3" y="63"/>
                    <a:pt x="3" y="64"/>
                  </a:cubicBezTo>
                  <a:cubicBezTo>
                    <a:pt x="3" y="70"/>
                    <a:pt x="2" y="76"/>
                    <a:pt x="2" y="81"/>
                  </a:cubicBezTo>
                  <a:cubicBezTo>
                    <a:pt x="2" y="86"/>
                    <a:pt x="2" y="90"/>
                    <a:pt x="2" y="94"/>
                  </a:cubicBezTo>
                  <a:cubicBezTo>
                    <a:pt x="1" y="98"/>
                    <a:pt x="2" y="103"/>
                    <a:pt x="2" y="107"/>
                  </a:cubicBezTo>
                  <a:cubicBezTo>
                    <a:pt x="2" y="110"/>
                    <a:pt x="2" y="114"/>
                    <a:pt x="2" y="117"/>
                  </a:cubicBezTo>
                  <a:cubicBezTo>
                    <a:pt x="2" y="121"/>
                    <a:pt x="2" y="125"/>
                    <a:pt x="2" y="129"/>
                  </a:cubicBezTo>
                  <a:cubicBezTo>
                    <a:pt x="2" y="133"/>
                    <a:pt x="2" y="137"/>
                    <a:pt x="2" y="141"/>
                  </a:cubicBezTo>
                  <a:cubicBezTo>
                    <a:pt x="2" y="145"/>
                    <a:pt x="2" y="149"/>
                    <a:pt x="2" y="152"/>
                  </a:cubicBezTo>
                  <a:cubicBezTo>
                    <a:pt x="2" y="155"/>
                    <a:pt x="2" y="158"/>
                    <a:pt x="2" y="160"/>
                  </a:cubicBezTo>
                  <a:cubicBezTo>
                    <a:pt x="2" y="163"/>
                    <a:pt x="2" y="165"/>
                    <a:pt x="2" y="167"/>
                  </a:cubicBezTo>
                  <a:cubicBezTo>
                    <a:pt x="2" y="170"/>
                    <a:pt x="2" y="173"/>
                    <a:pt x="2" y="175"/>
                  </a:cubicBezTo>
                  <a:cubicBezTo>
                    <a:pt x="2" y="178"/>
                    <a:pt x="2" y="182"/>
                    <a:pt x="2" y="185"/>
                  </a:cubicBezTo>
                  <a:cubicBezTo>
                    <a:pt x="2" y="187"/>
                    <a:pt x="2" y="189"/>
                    <a:pt x="2" y="191"/>
                  </a:cubicBezTo>
                  <a:cubicBezTo>
                    <a:pt x="2" y="193"/>
                    <a:pt x="2" y="195"/>
                    <a:pt x="2" y="197"/>
                  </a:cubicBezTo>
                  <a:cubicBezTo>
                    <a:pt x="2" y="201"/>
                    <a:pt x="2" y="204"/>
                    <a:pt x="2" y="207"/>
                  </a:cubicBezTo>
                  <a:cubicBezTo>
                    <a:pt x="3" y="214"/>
                    <a:pt x="3" y="221"/>
                    <a:pt x="3" y="227"/>
                  </a:cubicBezTo>
                  <a:cubicBezTo>
                    <a:pt x="3" y="231"/>
                    <a:pt x="3" y="235"/>
                    <a:pt x="3" y="239"/>
                  </a:cubicBezTo>
                  <a:cubicBezTo>
                    <a:pt x="3" y="242"/>
                    <a:pt x="3" y="246"/>
                    <a:pt x="3" y="249"/>
                  </a:cubicBezTo>
                  <a:cubicBezTo>
                    <a:pt x="3" y="253"/>
                    <a:pt x="3" y="257"/>
                    <a:pt x="3" y="261"/>
                  </a:cubicBezTo>
                  <a:cubicBezTo>
                    <a:pt x="3" y="264"/>
                    <a:pt x="3" y="268"/>
                    <a:pt x="4" y="271"/>
                  </a:cubicBezTo>
                  <a:cubicBezTo>
                    <a:pt x="4" y="275"/>
                    <a:pt x="4" y="279"/>
                    <a:pt x="5" y="283"/>
                  </a:cubicBezTo>
                  <a:cubicBezTo>
                    <a:pt x="5" y="285"/>
                    <a:pt x="5" y="288"/>
                    <a:pt x="5" y="290"/>
                  </a:cubicBezTo>
                  <a:cubicBezTo>
                    <a:pt x="6" y="294"/>
                    <a:pt x="6" y="297"/>
                    <a:pt x="6" y="300"/>
                  </a:cubicBezTo>
                  <a:cubicBezTo>
                    <a:pt x="7" y="305"/>
                    <a:pt x="7" y="310"/>
                    <a:pt x="8" y="316"/>
                  </a:cubicBezTo>
                  <a:cubicBezTo>
                    <a:pt x="8" y="319"/>
                    <a:pt x="8" y="322"/>
                    <a:pt x="8" y="325"/>
                  </a:cubicBezTo>
                  <a:cubicBezTo>
                    <a:pt x="8" y="326"/>
                    <a:pt x="8" y="327"/>
                    <a:pt x="8" y="329"/>
                  </a:cubicBezTo>
                  <a:cubicBezTo>
                    <a:pt x="8" y="329"/>
                    <a:pt x="7" y="329"/>
                    <a:pt x="7" y="329"/>
                  </a:cubicBezTo>
                  <a:cubicBezTo>
                    <a:pt x="7" y="329"/>
                    <a:pt x="7" y="329"/>
                    <a:pt x="7" y="329"/>
                  </a:cubicBezTo>
                  <a:close/>
                </a:path>
              </a:pathLst>
            </a:custGeom>
            <a:grpFill/>
            <a:ln w="9525">
              <a:solidFill>
                <a:srgbClr val="5B9BD5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77" name="Freeform 604"/>
            <p:cNvSpPr>
              <a:spLocks/>
            </p:cNvSpPr>
            <p:nvPr/>
          </p:nvSpPr>
          <p:spPr bwMode="auto">
            <a:xfrm>
              <a:off x="12150726" y="7327900"/>
              <a:ext cx="1042988" cy="20638"/>
            </a:xfrm>
            <a:custGeom>
              <a:avLst/>
              <a:gdLst>
                <a:gd name="T0" fmla="*/ 241 w 241"/>
                <a:gd name="T1" fmla="*/ 2 h 5"/>
                <a:gd name="T2" fmla="*/ 236 w 241"/>
                <a:gd name="T3" fmla="*/ 4 h 5"/>
                <a:gd name="T4" fmla="*/ 223 w 241"/>
                <a:gd name="T5" fmla="*/ 5 h 5"/>
                <a:gd name="T6" fmla="*/ 206 w 241"/>
                <a:gd name="T7" fmla="*/ 5 h 5"/>
                <a:gd name="T8" fmla="*/ 202 w 241"/>
                <a:gd name="T9" fmla="*/ 5 h 5"/>
                <a:gd name="T10" fmla="*/ 200 w 241"/>
                <a:gd name="T11" fmla="*/ 5 h 5"/>
                <a:gd name="T12" fmla="*/ 187 w 241"/>
                <a:gd name="T13" fmla="*/ 5 h 5"/>
                <a:gd name="T14" fmla="*/ 181 w 241"/>
                <a:gd name="T15" fmla="*/ 4 h 5"/>
                <a:gd name="T16" fmla="*/ 172 w 241"/>
                <a:gd name="T17" fmla="*/ 4 h 5"/>
                <a:gd name="T18" fmla="*/ 160 w 241"/>
                <a:gd name="T19" fmla="*/ 4 h 5"/>
                <a:gd name="T20" fmla="*/ 151 w 241"/>
                <a:gd name="T21" fmla="*/ 4 h 5"/>
                <a:gd name="T22" fmla="*/ 138 w 241"/>
                <a:gd name="T23" fmla="*/ 4 h 5"/>
                <a:gd name="T24" fmla="*/ 132 w 241"/>
                <a:gd name="T25" fmla="*/ 4 h 5"/>
                <a:gd name="T26" fmla="*/ 129 w 241"/>
                <a:gd name="T27" fmla="*/ 4 h 5"/>
                <a:gd name="T28" fmla="*/ 122 w 241"/>
                <a:gd name="T29" fmla="*/ 4 h 5"/>
                <a:gd name="T30" fmla="*/ 113 w 241"/>
                <a:gd name="T31" fmla="*/ 4 h 5"/>
                <a:gd name="T32" fmla="*/ 102 w 241"/>
                <a:gd name="T33" fmla="*/ 4 h 5"/>
                <a:gd name="T34" fmla="*/ 95 w 241"/>
                <a:gd name="T35" fmla="*/ 3 h 5"/>
                <a:gd name="T36" fmla="*/ 94 w 241"/>
                <a:gd name="T37" fmla="*/ 3 h 5"/>
                <a:gd name="T38" fmla="*/ 86 w 241"/>
                <a:gd name="T39" fmla="*/ 3 h 5"/>
                <a:gd name="T40" fmla="*/ 73 w 241"/>
                <a:gd name="T41" fmla="*/ 3 h 5"/>
                <a:gd name="T42" fmla="*/ 63 w 241"/>
                <a:gd name="T43" fmla="*/ 2 h 5"/>
                <a:gd name="T44" fmla="*/ 61 w 241"/>
                <a:gd name="T45" fmla="*/ 2 h 5"/>
                <a:gd name="T46" fmla="*/ 57 w 241"/>
                <a:gd name="T47" fmla="*/ 2 h 5"/>
                <a:gd name="T48" fmla="*/ 54 w 241"/>
                <a:gd name="T49" fmla="*/ 2 h 5"/>
                <a:gd name="T50" fmla="*/ 42 w 241"/>
                <a:gd name="T51" fmla="*/ 2 h 5"/>
                <a:gd name="T52" fmla="*/ 33 w 241"/>
                <a:gd name="T53" fmla="*/ 2 h 5"/>
                <a:gd name="T54" fmla="*/ 28 w 241"/>
                <a:gd name="T55" fmla="*/ 2 h 5"/>
                <a:gd name="T56" fmla="*/ 11 w 241"/>
                <a:gd name="T57" fmla="*/ 3 h 5"/>
                <a:gd name="T58" fmla="*/ 5 w 241"/>
                <a:gd name="T59" fmla="*/ 3 h 5"/>
                <a:gd name="T60" fmla="*/ 1 w 241"/>
                <a:gd name="T61" fmla="*/ 2 h 5"/>
                <a:gd name="T62" fmla="*/ 1 w 241"/>
                <a:gd name="T63" fmla="*/ 0 h 5"/>
                <a:gd name="T64" fmla="*/ 3 w 241"/>
                <a:gd name="T65" fmla="*/ 0 h 5"/>
                <a:gd name="T66" fmla="*/ 17 w 241"/>
                <a:gd name="T67" fmla="*/ 1 h 5"/>
                <a:gd name="T68" fmla="*/ 26 w 241"/>
                <a:gd name="T69" fmla="*/ 1 h 5"/>
                <a:gd name="T70" fmla="*/ 34 w 241"/>
                <a:gd name="T71" fmla="*/ 1 h 5"/>
                <a:gd name="T72" fmla="*/ 46 w 241"/>
                <a:gd name="T73" fmla="*/ 1 h 5"/>
                <a:gd name="T74" fmla="*/ 56 w 241"/>
                <a:gd name="T75" fmla="*/ 1 h 5"/>
                <a:gd name="T76" fmla="*/ 62 w 241"/>
                <a:gd name="T77" fmla="*/ 1 h 5"/>
                <a:gd name="T78" fmla="*/ 76 w 241"/>
                <a:gd name="T79" fmla="*/ 1 h 5"/>
                <a:gd name="T80" fmla="*/ 90 w 241"/>
                <a:gd name="T81" fmla="*/ 2 h 5"/>
                <a:gd name="T82" fmla="*/ 96 w 241"/>
                <a:gd name="T83" fmla="*/ 2 h 5"/>
                <a:gd name="T84" fmla="*/ 104 w 241"/>
                <a:gd name="T85" fmla="*/ 2 h 5"/>
                <a:gd name="T86" fmla="*/ 114 w 241"/>
                <a:gd name="T87" fmla="*/ 2 h 5"/>
                <a:gd name="T88" fmla="*/ 127 w 241"/>
                <a:gd name="T89" fmla="*/ 2 h 5"/>
                <a:gd name="T90" fmla="*/ 136 w 241"/>
                <a:gd name="T91" fmla="*/ 2 h 5"/>
                <a:gd name="T92" fmla="*/ 151 w 241"/>
                <a:gd name="T93" fmla="*/ 2 h 5"/>
                <a:gd name="T94" fmla="*/ 159 w 241"/>
                <a:gd name="T95" fmla="*/ 2 h 5"/>
                <a:gd name="T96" fmla="*/ 174 w 241"/>
                <a:gd name="T97" fmla="*/ 2 h 5"/>
                <a:gd name="T98" fmla="*/ 190 w 241"/>
                <a:gd name="T99" fmla="*/ 3 h 5"/>
                <a:gd name="T100" fmla="*/ 203 w 241"/>
                <a:gd name="T101" fmla="*/ 3 h 5"/>
                <a:gd name="T102" fmla="*/ 223 w 241"/>
                <a:gd name="T103" fmla="*/ 3 h 5"/>
                <a:gd name="T104" fmla="*/ 228 w 241"/>
                <a:gd name="T105" fmla="*/ 3 h 5"/>
                <a:gd name="T106" fmla="*/ 235 w 241"/>
                <a:gd name="T107" fmla="*/ 2 h 5"/>
                <a:gd name="T108" fmla="*/ 240 w 241"/>
                <a:gd name="T109" fmla="*/ 2 h 5"/>
                <a:gd name="T110" fmla="*/ 241 w 241"/>
                <a:gd name="T11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1" h="5">
                  <a:moveTo>
                    <a:pt x="241" y="2"/>
                  </a:moveTo>
                  <a:cubicBezTo>
                    <a:pt x="239" y="4"/>
                    <a:pt x="238" y="4"/>
                    <a:pt x="236" y="4"/>
                  </a:cubicBezTo>
                  <a:cubicBezTo>
                    <a:pt x="232" y="5"/>
                    <a:pt x="228" y="5"/>
                    <a:pt x="223" y="5"/>
                  </a:cubicBezTo>
                  <a:cubicBezTo>
                    <a:pt x="218" y="5"/>
                    <a:pt x="212" y="5"/>
                    <a:pt x="206" y="5"/>
                  </a:cubicBezTo>
                  <a:cubicBezTo>
                    <a:pt x="205" y="5"/>
                    <a:pt x="204" y="5"/>
                    <a:pt x="202" y="5"/>
                  </a:cubicBezTo>
                  <a:cubicBezTo>
                    <a:pt x="201" y="5"/>
                    <a:pt x="200" y="5"/>
                    <a:pt x="200" y="5"/>
                  </a:cubicBezTo>
                  <a:cubicBezTo>
                    <a:pt x="196" y="5"/>
                    <a:pt x="192" y="5"/>
                    <a:pt x="187" y="5"/>
                  </a:cubicBezTo>
                  <a:cubicBezTo>
                    <a:pt x="185" y="4"/>
                    <a:pt x="183" y="5"/>
                    <a:pt x="181" y="4"/>
                  </a:cubicBezTo>
                  <a:cubicBezTo>
                    <a:pt x="178" y="4"/>
                    <a:pt x="175" y="4"/>
                    <a:pt x="172" y="4"/>
                  </a:cubicBezTo>
                  <a:cubicBezTo>
                    <a:pt x="168" y="4"/>
                    <a:pt x="164" y="4"/>
                    <a:pt x="160" y="4"/>
                  </a:cubicBezTo>
                  <a:cubicBezTo>
                    <a:pt x="157" y="4"/>
                    <a:pt x="154" y="4"/>
                    <a:pt x="151" y="4"/>
                  </a:cubicBezTo>
                  <a:cubicBezTo>
                    <a:pt x="147" y="4"/>
                    <a:pt x="142" y="4"/>
                    <a:pt x="138" y="4"/>
                  </a:cubicBezTo>
                  <a:cubicBezTo>
                    <a:pt x="136" y="4"/>
                    <a:pt x="134" y="4"/>
                    <a:pt x="132" y="4"/>
                  </a:cubicBezTo>
                  <a:cubicBezTo>
                    <a:pt x="131" y="4"/>
                    <a:pt x="130" y="4"/>
                    <a:pt x="129" y="4"/>
                  </a:cubicBezTo>
                  <a:cubicBezTo>
                    <a:pt x="126" y="4"/>
                    <a:pt x="124" y="4"/>
                    <a:pt x="122" y="4"/>
                  </a:cubicBezTo>
                  <a:cubicBezTo>
                    <a:pt x="119" y="4"/>
                    <a:pt x="116" y="4"/>
                    <a:pt x="113" y="4"/>
                  </a:cubicBezTo>
                  <a:cubicBezTo>
                    <a:pt x="109" y="4"/>
                    <a:pt x="106" y="4"/>
                    <a:pt x="102" y="4"/>
                  </a:cubicBezTo>
                  <a:cubicBezTo>
                    <a:pt x="100" y="4"/>
                    <a:pt x="98" y="3"/>
                    <a:pt x="95" y="3"/>
                  </a:cubicBezTo>
                  <a:cubicBezTo>
                    <a:pt x="95" y="3"/>
                    <a:pt x="94" y="3"/>
                    <a:pt x="94" y="3"/>
                  </a:cubicBezTo>
                  <a:cubicBezTo>
                    <a:pt x="91" y="3"/>
                    <a:pt x="88" y="3"/>
                    <a:pt x="86" y="3"/>
                  </a:cubicBezTo>
                  <a:cubicBezTo>
                    <a:pt x="81" y="3"/>
                    <a:pt x="77" y="3"/>
                    <a:pt x="73" y="3"/>
                  </a:cubicBezTo>
                  <a:cubicBezTo>
                    <a:pt x="70" y="3"/>
                    <a:pt x="66" y="2"/>
                    <a:pt x="63" y="2"/>
                  </a:cubicBezTo>
                  <a:cubicBezTo>
                    <a:pt x="63" y="2"/>
                    <a:pt x="62" y="2"/>
                    <a:pt x="61" y="2"/>
                  </a:cubicBezTo>
                  <a:cubicBezTo>
                    <a:pt x="60" y="2"/>
                    <a:pt x="58" y="2"/>
                    <a:pt x="57" y="2"/>
                  </a:cubicBezTo>
                  <a:cubicBezTo>
                    <a:pt x="56" y="2"/>
                    <a:pt x="55" y="2"/>
                    <a:pt x="54" y="2"/>
                  </a:cubicBezTo>
                  <a:cubicBezTo>
                    <a:pt x="50" y="2"/>
                    <a:pt x="46" y="2"/>
                    <a:pt x="42" y="2"/>
                  </a:cubicBezTo>
                  <a:cubicBezTo>
                    <a:pt x="39" y="2"/>
                    <a:pt x="36" y="2"/>
                    <a:pt x="33" y="2"/>
                  </a:cubicBezTo>
                  <a:cubicBezTo>
                    <a:pt x="32" y="2"/>
                    <a:pt x="30" y="2"/>
                    <a:pt x="28" y="2"/>
                  </a:cubicBezTo>
                  <a:cubicBezTo>
                    <a:pt x="22" y="2"/>
                    <a:pt x="16" y="3"/>
                    <a:pt x="11" y="3"/>
                  </a:cubicBezTo>
                  <a:cubicBezTo>
                    <a:pt x="9" y="3"/>
                    <a:pt x="7" y="3"/>
                    <a:pt x="5" y="3"/>
                  </a:cubicBezTo>
                  <a:cubicBezTo>
                    <a:pt x="4" y="2"/>
                    <a:pt x="2" y="2"/>
                    <a:pt x="1" y="2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8" y="1"/>
                    <a:pt x="13" y="1"/>
                    <a:pt x="17" y="1"/>
                  </a:cubicBezTo>
                  <a:cubicBezTo>
                    <a:pt x="20" y="1"/>
                    <a:pt x="23" y="1"/>
                    <a:pt x="26" y="1"/>
                  </a:cubicBezTo>
                  <a:cubicBezTo>
                    <a:pt x="29" y="0"/>
                    <a:pt x="32" y="1"/>
                    <a:pt x="34" y="1"/>
                  </a:cubicBezTo>
                  <a:cubicBezTo>
                    <a:pt x="38" y="1"/>
                    <a:pt x="42" y="1"/>
                    <a:pt x="46" y="1"/>
                  </a:cubicBezTo>
                  <a:cubicBezTo>
                    <a:pt x="49" y="1"/>
                    <a:pt x="52" y="1"/>
                    <a:pt x="56" y="1"/>
                  </a:cubicBezTo>
                  <a:cubicBezTo>
                    <a:pt x="58" y="1"/>
                    <a:pt x="60" y="1"/>
                    <a:pt x="62" y="1"/>
                  </a:cubicBezTo>
                  <a:cubicBezTo>
                    <a:pt x="67" y="1"/>
                    <a:pt x="71" y="1"/>
                    <a:pt x="76" y="1"/>
                  </a:cubicBezTo>
                  <a:cubicBezTo>
                    <a:pt x="81" y="1"/>
                    <a:pt x="85" y="1"/>
                    <a:pt x="90" y="2"/>
                  </a:cubicBezTo>
                  <a:cubicBezTo>
                    <a:pt x="92" y="2"/>
                    <a:pt x="94" y="2"/>
                    <a:pt x="96" y="2"/>
                  </a:cubicBezTo>
                  <a:cubicBezTo>
                    <a:pt x="99" y="2"/>
                    <a:pt x="101" y="2"/>
                    <a:pt x="104" y="2"/>
                  </a:cubicBezTo>
                  <a:cubicBezTo>
                    <a:pt x="108" y="2"/>
                    <a:pt x="111" y="2"/>
                    <a:pt x="114" y="2"/>
                  </a:cubicBezTo>
                  <a:cubicBezTo>
                    <a:pt x="119" y="2"/>
                    <a:pt x="123" y="2"/>
                    <a:pt x="127" y="2"/>
                  </a:cubicBezTo>
                  <a:cubicBezTo>
                    <a:pt x="130" y="2"/>
                    <a:pt x="133" y="2"/>
                    <a:pt x="136" y="2"/>
                  </a:cubicBezTo>
                  <a:cubicBezTo>
                    <a:pt x="141" y="2"/>
                    <a:pt x="146" y="2"/>
                    <a:pt x="151" y="2"/>
                  </a:cubicBezTo>
                  <a:cubicBezTo>
                    <a:pt x="154" y="2"/>
                    <a:pt x="157" y="2"/>
                    <a:pt x="159" y="2"/>
                  </a:cubicBezTo>
                  <a:cubicBezTo>
                    <a:pt x="164" y="2"/>
                    <a:pt x="169" y="2"/>
                    <a:pt x="174" y="2"/>
                  </a:cubicBezTo>
                  <a:cubicBezTo>
                    <a:pt x="179" y="3"/>
                    <a:pt x="184" y="3"/>
                    <a:pt x="190" y="3"/>
                  </a:cubicBezTo>
                  <a:cubicBezTo>
                    <a:pt x="194" y="3"/>
                    <a:pt x="199" y="3"/>
                    <a:pt x="203" y="3"/>
                  </a:cubicBezTo>
                  <a:cubicBezTo>
                    <a:pt x="209" y="3"/>
                    <a:pt x="216" y="3"/>
                    <a:pt x="223" y="3"/>
                  </a:cubicBezTo>
                  <a:cubicBezTo>
                    <a:pt x="224" y="3"/>
                    <a:pt x="226" y="3"/>
                    <a:pt x="228" y="3"/>
                  </a:cubicBezTo>
                  <a:cubicBezTo>
                    <a:pt x="231" y="3"/>
                    <a:pt x="233" y="3"/>
                    <a:pt x="235" y="2"/>
                  </a:cubicBezTo>
                  <a:cubicBezTo>
                    <a:pt x="237" y="2"/>
                    <a:pt x="238" y="2"/>
                    <a:pt x="240" y="2"/>
                  </a:cubicBezTo>
                  <a:cubicBezTo>
                    <a:pt x="240" y="2"/>
                    <a:pt x="240" y="2"/>
                    <a:pt x="241" y="2"/>
                  </a:cubicBezTo>
                  <a:close/>
                </a:path>
              </a:pathLst>
            </a:custGeom>
            <a:grpFill/>
            <a:ln w="9525">
              <a:solidFill>
                <a:srgbClr val="5B9BD5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278" name="Freeform 605"/>
            <p:cNvSpPr>
              <a:spLocks/>
            </p:cNvSpPr>
            <p:nvPr/>
          </p:nvSpPr>
          <p:spPr bwMode="auto">
            <a:xfrm>
              <a:off x="12138026" y="5916613"/>
              <a:ext cx="17463" cy="1381125"/>
            </a:xfrm>
            <a:custGeom>
              <a:avLst/>
              <a:gdLst>
                <a:gd name="T0" fmla="*/ 3 w 4"/>
                <a:gd name="T1" fmla="*/ 319 h 319"/>
                <a:gd name="T2" fmla="*/ 3 w 4"/>
                <a:gd name="T3" fmla="*/ 305 h 319"/>
                <a:gd name="T4" fmla="*/ 3 w 4"/>
                <a:gd name="T5" fmla="*/ 291 h 319"/>
                <a:gd name="T6" fmla="*/ 3 w 4"/>
                <a:gd name="T7" fmla="*/ 278 h 319"/>
                <a:gd name="T8" fmla="*/ 3 w 4"/>
                <a:gd name="T9" fmla="*/ 255 h 319"/>
                <a:gd name="T10" fmla="*/ 3 w 4"/>
                <a:gd name="T11" fmla="*/ 241 h 319"/>
                <a:gd name="T12" fmla="*/ 2 w 4"/>
                <a:gd name="T13" fmla="*/ 214 h 319"/>
                <a:gd name="T14" fmla="*/ 1 w 4"/>
                <a:gd name="T15" fmla="*/ 191 h 319"/>
                <a:gd name="T16" fmla="*/ 0 w 4"/>
                <a:gd name="T17" fmla="*/ 173 h 319"/>
                <a:gd name="T18" fmla="*/ 0 w 4"/>
                <a:gd name="T19" fmla="*/ 158 h 319"/>
                <a:gd name="T20" fmla="*/ 0 w 4"/>
                <a:gd name="T21" fmla="*/ 145 h 319"/>
                <a:gd name="T22" fmla="*/ 0 w 4"/>
                <a:gd name="T23" fmla="*/ 138 h 319"/>
                <a:gd name="T24" fmla="*/ 0 w 4"/>
                <a:gd name="T25" fmla="*/ 120 h 319"/>
                <a:gd name="T26" fmla="*/ 0 w 4"/>
                <a:gd name="T27" fmla="*/ 98 h 319"/>
                <a:gd name="T28" fmla="*/ 1 w 4"/>
                <a:gd name="T29" fmla="*/ 78 h 319"/>
                <a:gd name="T30" fmla="*/ 1 w 4"/>
                <a:gd name="T31" fmla="*/ 53 h 319"/>
                <a:gd name="T32" fmla="*/ 1 w 4"/>
                <a:gd name="T33" fmla="*/ 36 h 319"/>
                <a:gd name="T34" fmla="*/ 1 w 4"/>
                <a:gd name="T35" fmla="*/ 20 h 319"/>
                <a:gd name="T36" fmla="*/ 1 w 4"/>
                <a:gd name="T37" fmla="*/ 1 h 319"/>
                <a:gd name="T38" fmla="*/ 3 w 4"/>
                <a:gd name="T39" fmla="*/ 5 h 319"/>
                <a:gd name="T40" fmla="*/ 3 w 4"/>
                <a:gd name="T41" fmla="*/ 18 h 319"/>
                <a:gd name="T42" fmla="*/ 3 w 4"/>
                <a:gd name="T43" fmla="*/ 27 h 319"/>
                <a:gd name="T44" fmla="*/ 2 w 4"/>
                <a:gd name="T45" fmla="*/ 41 h 319"/>
                <a:gd name="T46" fmla="*/ 2 w 4"/>
                <a:gd name="T47" fmla="*/ 60 h 319"/>
                <a:gd name="T48" fmla="*/ 2 w 4"/>
                <a:gd name="T49" fmla="*/ 87 h 319"/>
                <a:gd name="T50" fmla="*/ 2 w 4"/>
                <a:gd name="T51" fmla="*/ 106 h 319"/>
                <a:gd name="T52" fmla="*/ 2 w 4"/>
                <a:gd name="T53" fmla="*/ 133 h 319"/>
                <a:gd name="T54" fmla="*/ 2 w 4"/>
                <a:gd name="T55" fmla="*/ 147 h 319"/>
                <a:gd name="T56" fmla="*/ 2 w 4"/>
                <a:gd name="T57" fmla="*/ 166 h 319"/>
                <a:gd name="T58" fmla="*/ 2 w 4"/>
                <a:gd name="T59" fmla="*/ 182 h 319"/>
                <a:gd name="T60" fmla="*/ 2 w 4"/>
                <a:gd name="T61" fmla="*/ 199 h 319"/>
                <a:gd name="T62" fmla="*/ 3 w 4"/>
                <a:gd name="T63" fmla="*/ 221 h 319"/>
                <a:gd name="T64" fmla="*/ 4 w 4"/>
                <a:gd name="T65" fmla="*/ 243 h 319"/>
                <a:gd name="T66" fmla="*/ 4 w 4"/>
                <a:gd name="T67" fmla="*/ 258 h 319"/>
                <a:gd name="T68" fmla="*/ 4 w 4"/>
                <a:gd name="T69" fmla="*/ 269 h 319"/>
                <a:gd name="T70" fmla="*/ 4 w 4"/>
                <a:gd name="T71" fmla="*/ 298 h 319"/>
                <a:gd name="T72" fmla="*/ 3 w 4"/>
                <a:gd name="T73" fmla="*/ 31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" h="319">
                  <a:moveTo>
                    <a:pt x="3" y="319"/>
                  </a:moveTo>
                  <a:cubicBezTo>
                    <a:pt x="3" y="319"/>
                    <a:pt x="3" y="319"/>
                    <a:pt x="3" y="319"/>
                  </a:cubicBezTo>
                  <a:cubicBezTo>
                    <a:pt x="3" y="318"/>
                    <a:pt x="3" y="318"/>
                    <a:pt x="3" y="317"/>
                  </a:cubicBezTo>
                  <a:cubicBezTo>
                    <a:pt x="3" y="313"/>
                    <a:pt x="3" y="309"/>
                    <a:pt x="3" y="305"/>
                  </a:cubicBezTo>
                  <a:cubicBezTo>
                    <a:pt x="3" y="303"/>
                    <a:pt x="3" y="302"/>
                    <a:pt x="3" y="300"/>
                  </a:cubicBezTo>
                  <a:cubicBezTo>
                    <a:pt x="3" y="297"/>
                    <a:pt x="3" y="294"/>
                    <a:pt x="3" y="291"/>
                  </a:cubicBezTo>
                  <a:cubicBezTo>
                    <a:pt x="3" y="288"/>
                    <a:pt x="3" y="285"/>
                    <a:pt x="3" y="282"/>
                  </a:cubicBezTo>
                  <a:cubicBezTo>
                    <a:pt x="3" y="281"/>
                    <a:pt x="3" y="279"/>
                    <a:pt x="3" y="278"/>
                  </a:cubicBezTo>
                  <a:cubicBezTo>
                    <a:pt x="3" y="275"/>
                    <a:pt x="3" y="273"/>
                    <a:pt x="3" y="270"/>
                  </a:cubicBezTo>
                  <a:cubicBezTo>
                    <a:pt x="3" y="265"/>
                    <a:pt x="3" y="260"/>
                    <a:pt x="3" y="255"/>
                  </a:cubicBezTo>
                  <a:cubicBezTo>
                    <a:pt x="3" y="253"/>
                    <a:pt x="3" y="251"/>
                    <a:pt x="3" y="250"/>
                  </a:cubicBezTo>
                  <a:cubicBezTo>
                    <a:pt x="3" y="247"/>
                    <a:pt x="3" y="244"/>
                    <a:pt x="3" y="241"/>
                  </a:cubicBezTo>
                  <a:cubicBezTo>
                    <a:pt x="3" y="238"/>
                    <a:pt x="3" y="234"/>
                    <a:pt x="2" y="231"/>
                  </a:cubicBezTo>
                  <a:cubicBezTo>
                    <a:pt x="2" y="225"/>
                    <a:pt x="2" y="220"/>
                    <a:pt x="2" y="214"/>
                  </a:cubicBezTo>
                  <a:cubicBezTo>
                    <a:pt x="2" y="210"/>
                    <a:pt x="1" y="206"/>
                    <a:pt x="1" y="202"/>
                  </a:cubicBezTo>
                  <a:cubicBezTo>
                    <a:pt x="1" y="198"/>
                    <a:pt x="1" y="195"/>
                    <a:pt x="1" y="191"/>
                  </a:cubicBezTo>
                  <a:cubicBezTo>
                    <a:pt x="1" y="188"/>
                    <a:pt x="0" y="185"/>
                    <a:pt x="0" y="182"/>
                  </a:cubicBezTo>
                  <a:cubicBezTo>
                    <a:pt x="0" y="179"/>
                    <a:pt x="0" y="176"/>
                    <a:pt x="0" y="173"/>
                  </a:cubicBezTo>
                  <a:cubicBezTo>
                    <a:pt x="0" y="170"/>
                    <a:pt x="0" y="166"/>
                    <a:pt x="0" y="163"/>
                  </a:cubicBezTo>
                  <a:cubicBezTo>
                    <a:pt x="0" y="161"/>
                    <a:pt x="0" y="160"/>
                    <a:pt x="0" y="158"/>
                  </a:cubicBezTo>
                  <a:cubicBezTo>
                    <a:pt x="0" y="156"/>
                    <a:pt x="0" y="154"/>
                    <a:pt x="0" y="153"/>
                  </a:cubicBezTo>
                  <a:cubicBezTo>
                    <a:pt x="0" y="150"/>
                    <a:pt x="0" y="147"/>
                    <a:pt x="0" y="145"/>
                  </a:cubicBezTo>
                  <a:cubicBezTo>
                    <a:pt x="0" y="143"/>
                    <a:pt x="0" y="142"/>
                    <a:pt x="0" y="140"/>
                  </a:cubicBezTo>
                  <a:cubicBezTo>
                    <a:pt x="0" y="140"/>
                    <a:pt x="0" y="139"/>
                    <a:pt x="0" y="138"/>
                  </a:cubicBezTo>
                  <a:cubicBezTo>
                    <a:pt x="0" y="136"/>
                    <a:pt x="0" y="134"/>
                    <a:pt x="0" y="132"/>
                  </a:cubicBezTo>
                  <a:cubicBezTo>
                    <a:pt x="0" y="128"/>
                    <a:pt x="0" y="124"/>
                    <a:pt x="0" y="120"/>
                  </a:cubicBezTo>
                  <a:cubicBezTo>
                    <a:pt x="0" y="118"/>
                    <a:pt x="0" y="116"/>
                    <a:pt x="0" y="113"/>
                  </a:cubicBezTo>
                  <a:cubicBezTo>
                    <a:pt x="1" y="108"/>
                    <a:pt x="0" y="103"/>
                    <a:pt x="0" y="98"/>
                  </a:cubicBezTo>
                  <a:cubicBezTo>
                    <a:pt x="1" y="95"/>
                    <a:pt x="1" y="93"/>
                    <a:pt x="1" y="91"/>
                  </a:cubicBezTo>
                  <a:cubicBezTo>
                    <a:pt x="1" y="87"/>
                    <a:pt x="1" y="82"/>
                    <a:pt x="1" y="78"/>
                  </a:cubicBezTo>
                  <a:cubicBezTo>
                    <a:pt x="1" y="75"/>
                    <a:pt x="1" y="71"/>
                    <a:pt x="1" y="67"/>
                  </a:cubicBezTo>
                  <a:cubicBezTo>
                    <a:pt x="1" y="62"/>
                    <a:pt x="1" y="58"/>
                    <a:pt x="1" y="53"/>
                  </a:cubicBezTo>
                  <a:cubicBezTo>
                    <a:pt x="1" y="50"/>
                    <a:pt x="1" y="48"/>
                    <a:pt x="1" y="45"/>
                  </a:cubicBezTo>
                  <a:cubicBezTo>
                    <a:pt x="1" y="42"/>
                    <a:pt x="1" y="39"/>
                    <a:pt x="1" y="36"/>
                  </a:cubicBezTo>
                  <a:cubicBezTo>
                    <a:pt x="1" y="34"/>
                    <a:pt x="1" y="32"/>
                    <a:pt x="1" y="30"/>
                  </a:cubicBezTo>
                  <a:cubicBezTo>
                    <a:pt x="2" y="26"/>
                    <a:pt x="1" y="23"/>
                    <a:pt x="1" y="20"/>
                  </a:cubicBezTo>
                  <a:cubicBezTo>
                    <a:pt x="1" y="16"/>
                    <a:pt x="2" y="13"/>
                    <a:pt x="1" y="9"/>
                  </a:cubicBezTo>
                  <a:cubicBezTo>
                    <a:pt x="1" y="6"/>
                    <a:pt x="1" y="3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3" y="3"/>
                    <a:pt x="3" y="5"/>
                  </a:cubicBezTo>
                  <a:cubicBezTo>
                    <a:pt x="3" y="7"/>
                    <a:pt x="3" y="8"/>
                    <a:pt x="3" y="10"/>
                  </a:cubicBezTo>
                  <a:cubicBezTo>
                    <a:pt x="3" y="13"/>
                    <a:pt x="3" y="15"/>
                    <a:pt x="3" y="18"/>
                  </a:cubicBezTo>
                  <a:cubicBezTo>
                    <a:pt x="3" y="20"/>
                    <a:pt x="3" y="22"/>
                    <a:pt x="3" y="24"/>
                  </a:cubicBezTo>
                  <a:cubicBezTo>
                    <a:pt x="3" y="25"/>
                    <a:pt x="3" y="26"/>
                    <a:pt x="3" y="27"/>
                  </a:cubicBezTo>
                  <a:cubicBezTo>
                    <a:pt x="3" y="29"/>
                    <a:pt x="3" y="31"/>
                    <a:pt x="3" y="33"/>
                  </a:cubicBezTo>
                  <a:cubicBezTo>
                    <a:pt x="3" y="35"/>
                    <a:pt x="2" y="38"/>
                    <a:pt x="2" y="41"/>
                  </a:cubicBezTo>
                  <a:cubicBezTo>
                    <a:pt x="3" y="43"/>
                    <a:pt x="2" y="45"/>
                    <a:pt x="2" y="47"/>
                  </a:cubicBezTo>
                  <a:cubicBezTo>
                    <a:pt x="2" y="51"/>
                    <a:pt x="2" y="56"/>
                    <a:pt x="2" y="60"/>
                  </a:cubicBezTo>
                  <a:cubicBezTo>
                    <a:pt x="2" y="65"/>
                    <a:pt x="2" y="69"/>
                    <a:pt x="2" y="73"/>
                  </a:cubicBezTo>
                  <a:cubicBezTo>
                    <a:pt x="2" y="78"/>
                    <a:pt x="2" y="82"/>
                    <a:pt x="2" y="87"/>
                  </a:cubicBezTo>
                  <a:cubicBezTo>
                    <a:pt x="2" y="90"/>
                    <a:pt x="2" y="94"/>
                    <a:pt x="2" y="98"/>
                  </a:cubicBezTo>
                  <a:cubicBezTo>
                    <a:pt x="1" y="100"/>
                    <a:pt x="2" y="103"/>
                    <a:pt x="2" y="106"/>
                  </a:cubicBezTo>
                  <a:cubicBezTo>
                    <a:pt x="2" y="110"/>
                    <a:pt x="2" y="113"/>
                    <a:pt x="1" y="117"/>
                  </a:cubicBezTo>
                  <a:cubicBezTo>
                    <a:pt x="1" y="122"/>
                    <a:pt x="2" y="127"/>
                    <a:pt x="2" y="133"/>
                  </a:cubicBezTo>
                  <a:cubicBezTo>
                    <a:pt x="2" y="136"/>
                    <a:pt x="2" y="139"/>
                    <a:pt x="2" y="143"/>
                  </a:cubicBezTo>
                  <a:cubicBezTo>
                    <a:pt x="2" y="144"/>
                    <a:pt x="2" y="145"/>
                    <a:pt x="2" y="147"/>
                  </a:cubicBezTo>
                  <a:cubicBezTo>
                    <a:pt x="2" y="151"/>
                    <a:pt x="2" y="156"/>
                    <a:pt x="2" y="161"/>
                  </a:cubicBezTo>
                  <a:cubicBezTo>
                    <a:pt x="2" y="163"/>
                    <a:pt x="2" y="164"/>
                    <a:pt x="2" y="166"/>
                  </a:cubicBezTo>
                  <a:cubicBezTo>
                    <a:pt x="2" y="167"/>
                    <a:pt x="2" y="168"/>
                    <a:pt x="2" y="170"/>
                  </a:cubicBezTo>
                  <a:cubicBezTo>
                    <a:pt x="2" y="174"/>
                    <a:pt x="2" y="178"/>
                    <a:pt x="2" y="182"/>
                  </a:cubicBezTo>
                  <a:cubicBezTo>
                    <a:pt x="2" y="185"/>
                    <a:pt x="2" y="188"/>
                    <a:pt x="2" y="191"/>
                  </a:cubicBezTo>
                  <a:cubicBezTo>
                    <a:pt x="2" y="193"/>
                    <a:pt x="2" y="196"/>
                    <a:pt x="2" y="199"/>
                  </a:cubicBezTo>
                  <a:cubicBezTo>
                    <a:pt x="2" y="202"/>
                    <a:pt x="2" y="205"/>
                    <a:pt x="3" y="208"/>
                  </a:cubicBezTo>
                  <a:cubicBezTo>
                    <a:pt x="3" y="212"/>
                    <a:pt x="3" y="217"/>
                    <a:pt x="3" y="221"/>
                  </a:cubicBezTo>
                  <a:cubicBezTo>
                    <a:pt x="3" y="224"/>
                    <a:pt x="3" y="228"/>
                    <a:pt x="3" y="231"/>
                  </a:cubicBezTo>
                  <a:cubicBezTo>
                    <a:pt x="4" y="235"/>
                    <a:pt x="4" y="239"/>
                    <a:pt x="4" y="243"/>
                  </a:cubicBezTo>
                  <a:cubicBezTo>
                    <a:pt x="4" y="246"/>
                    <a:pt x="4" y="248"/>
                    <a:pt x="4" y="250"/>
                  </a:cubicBezTo>
                  <a:cubicBezTo>
                    <a:pt x="4" y="253"/>
                    <a:pt x="4" y="255"/>
                    <a:pt x="4" y="258"/>
                  </a:cubicBezTo>
                  <a:cubicBezTo>
                    <a:pt x="4" y="261"/>
                    <a:pt x="4" y="264"/>
                    <a:pt x="4" y="267"/>
                  </a:cubicBezTo>
                  <a:cubicBezTo>
                    <a:pt x="4" y="268"/>
                    <a:pt x="4" y="268"/>
                    <a:pt x="4" y="269"/>
                  </a:cubicBezTo>
                  <a:cubicBezTo>
                    <a:pt x="4" y="276"/>
                    <a:pt x="4" y="283"/>
                    <a:pt x="4" y="291"/>
                  </a:cubicBezTo>
                  <a:cubicBezTo>
                    <a:pt x="4" y="293"/>
                    <a:pt x="4" y="296"/>
                    <a:pt x="4" y="298"/>
                  </a:cubicBezTo>
                  <a:cubicBezTo>
                    <a:pt x="4" y="301"/>
                    <a:pt x="4" y="305"/>
                    <a:pt x="4" y="308"/>
                  </a:cubicBezTo>
                  <a:cubicBezTo>
                    <a:pt x="4" y="312"/>
                    <a:pt x="4" y="315"/>
                    <a:pt x="3" y="319"/>
                  </a:cubicBezTo>
                  <a:close/>
                </a:path>
              </a:pathLst>
            </a:custGeom>
            <a:grpFill/>
            <a:ln w="9525">
              <a:solidFill>
                <a:srgbClr val="5B9BD5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sp>
        <p:nvSpPr>
          <p:cNvPr id="286" name="Rectangle 159"/>
          <p:cNvSpPr>
            <a:spLocks noChangeArrowheads="1"/>
          </p:cNvSpPr>
          <p:nvPr/>
        </p:nvSpPr>
        <p:spPr bwMode="auto">
          <a:xfrm>
            <a:off x="5265761" y="4311967"/>
            <a:ext cx="1644679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Fornitori</a:t>
            </a:r>
            <a:r>
              <a:rPr kumimoji="0" lang="en-GB" altLang="it-IT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 </a:t>
            </a:r>
            <a:r>
              <a:rPr kumimoji="0" lang="en-GB" altLang="it-IT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attivi</a:t>
            </a:r>
            <a:r>
              <a:rPr kumimoji="0" lang="en-GB" altLang="it-IT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it-IT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su</a:t>
            </a:r>
            <a:r>
              <a:rPr kumimoji="0" lang="en-GB" altLang="it-IT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 rete PEPPOL</a:t>
            </a:r>
          </a:p>
        </p:txBody>
      </p:sp>
      <p:sp>
        <p:nvSpPr>
          <p:cNvPr id="287" name="Rectangle 163"/>
          <p:cNvSpPr>
            <a:spLocks noChangeArrowheads="1"/>
          </p:cNvSpPr>
          <p:nvPr/>
        </p:nvSpPr>
        <p:spPr bwMode="auto">
          <a:xfrm>
            <a:off x="5654257" y="4872112"/>
            <a:ext cx="88838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2400" b="1" i="1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</a:rPr>
              <a:t>1.578</a:t>
            </a:r>
            <a:endParaRPr kumimoji="0" lang="it-IT" altLang="it-IT" sz="2400" b="1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288" name="Rectangle 287"/>
          <p:cNvSpPr/>
          <p:nvPr/>
        </p:nvSpPr>
        <p:spPr>
          <a:xfrm>
            <a:off x="602338" y="6059779"/>
            <a:ext cx="838823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900" i="1" dirty="0">
                <a:solidFill>
                  <a:prstClr val="black"/>
                </a:solidFill>
              </a:rPr>
              <a:t>Fonte: </a:t>
            </a:r>
            <a:r>
              <a:rPr lang="it-IT" sz="900" i="1" dirty="0">
                <a:solidFill>
                  <a:prstClr val="black"/>
                </a:solidFill>
                <a:hlinkClick r:id="rId4"/>
              </a:rPr>
              <a:t>https://notier.regione.emilia-romagna.it/notier/pub/countDocumenti.html</a:t>
            </a:r>
            <a:endParaRPr lang="it-IT" sz="900" b="1" i="1" dirty="0">
              <a:solidFill>
                <a:prstClr val="black"/>
              </a:solidFill>
            </a:endParaRPr>
          </a:p>
        </p:txBody>
      </p:sp>
      <p:grpSp>
        <p:nvGrpSpPr>
          <p:cNvPr id="289" name="Group 749"/>
          <p:cNvGrpSpPr>
            <a:grpSpLocks noChangeAspect="1"/>
          </p:cNvGrpSpPr>
          <p:nvPr/>
        </p:nvGrpSpPr>
        <p:grpSpPr bwMode="auto">
          <a:xfrm>
            <a:off x="6344942" y="5305106"/>
            <a:ext cx="468000" cy="468000"/>
            <a:chOff x="3520" y="2686"/>
            <a:chExt cx="340" cy="340"/>
          </a:xfrm>
          <a:solidFill>
            <a:srgbClr val="5B9BD5"/>
          </a:solidFill>
        </p:grpSpPr>
        <p:sp>
          <p:nvSpPr>
            <p:cNvPr id="290" name="Freeform 750"/>
            <p:cNvSpPr>
              <a:spLocks noEditPoints="1"/>
            </p:cNvSpPr>
            <p:nvPr/>
          </p:nvSpPr>
          <p:spPr bwMode="auto">
            <a:xfrm>
              <a:off x="3520" y="268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</a:endParaRPr>
            </a:p>
          </p:txBody>
        </p:sp>
        <p:sp>
          <p:nvSpPr>
            <p:cNvPr id="291" name="Freeform 751"/>
            <p:cNvSpPr>
              <a:spLocks/>
            </p:cNvSpPr>
            <p:nvPr/>
          </p:nvSpPr>
          <p:spPr bwMode="auto">
            <a:xfrm>
              <a:off x="3582" y="2789"/>
              <a:ext cx="144" cy="137"/>
            </a:xfrm>
            <a:custGeom>
              <a:avLst/>
              <a:gdLst>
                <a:gd name="T0" fmla="*/ 209 w 216"/>
                <a:gd name="T1" fmla="*/ 187 h 207"/>
                <a:gd name="T2" fmla="*/ 171 w 216"/>
                <a:gd name="T3" fmla="*/ 179 h 207"/>
                <a:gd name="T4" fmla="*/ 156 w 216"/>
                <a:gd name="T5" fmla="*/ 177 h 207"/>
                <a:gd name="T6" fmla="*/ 145 w 216"/>
                <a:gd name="T7" fmla="*/ 147 h 207"/>
                <a:gd name="T8" fmla="*/ 167 w 216"/>
                <a:gd name="T9" fmla="*/ 96 h 207"/>
                <a:gd name="T10" fmla="*/ 157 w 216"/>
                <a:gd name="T11" fmla="*/ 22 h 207"/>
                <a:gd name="T12" fmla="*/ 108 w 216"/>
                <a:gd name="T13" fmla="*/ 0 h 207"/>
                <a:gd name="T14" fmla="*/ 59 w 216"/>
                <a:gd name="T15" fmla="*/ 22 h 207"/>
                <a:gd name="T16" fmla="*/ 50 w 216"/>
                <a:gd name="T17" fmla="*/ 96 h 207"/>
                <a:gd name="T18" fmla="*/ 72 w 216"/>
                <a:gd name="T19" fmla="*/ 147 h 207"/>
                <a:gd name="T20" fmla="*/ 61 w 216"/>
                <a:gd name="T21" fmla="*/ 177 h 207"/>
                <a:gd name="T22" fmla="*/ 45 w 216"/>
                <a:gd name="T23" fmla="*/ 179 h 207"/>
                <a:gd name="T24" fmla="*/ 8 w 216"/>
                <a:gd name="T25" fmla="*/ 187 h 207"/>
                <a:gd name="T26" fmla="*/ 3 w 216"/>
                <a:gd name="T27" fmla="*/ 201 h 207"/>
                <a:gd name="T28" fmla="*/ 12 w 216"/>
                <a:gd name="T29" fmla="*/ 207 h 207"/>
                <a:gd name="T30" fmla="*/ 17 w 216"/>
                <a:gd name="T31" fmla="*/ 206 h 207"/>
                <a:gd name="T32" fmla="*/ 46 w 216"/>
                <a:gd name="T33" fmla="*/ 200 h 207"/>
                <a:gd name="T34" fmla="*/ 71 w 216"/>
                <a:gd name="T35" fmla="*/ 195 h 207"/>
                <a:gd name="T36" fmla="*/ 91 w 216"/>
                <a:gd name="T37" fmla="*/ 162 h 207"/>
                <a:gd name="T38" fmla="*/ 90 w 216"/>
                <a:gd name="T39" fmla="*/ 135 h 207"/>
                <a:gd name="T40" fmla="*/ 71 w 216"/>
                <a:gd name="T41" fmla="*/ 91 h 207"/>
                <a:gd name="T42" fmla="*/ 76 w 216"/>
                <a:gd name="T43" fmla="*/ 36 h 207"/>
                <a:gd name="T44" fmla="*/ 108 w 216"/>
                <a:gd name="T45" fmla="*/ 22 h 207"/>
                <a:gd name="T46" fmla="*/ 108 w 216"/>
                <a:gd name="T47" fmla="*/ 21 h 207"/>
                <a:gd name="T48" fmla="*/ 109 w 216"/>
                <a:gd name="T49" fmla="*/ 22 h 207"/>
                <a:gd name="T50" fmla="*/ 141 w 216"/>
                <a:gd name="T51" fmla="*/ 36 h 207"/>
                <a:gd name="T52" fmla="*/ 146 w 216"/>
                <a:gd name="T53" fmla="*/ 91 h 207"/>
                <a:gd name="T54" fmla="*/ 127 w 216"/>
                <a:gd name="T55" fmla="*/ 135 h 207"/>
                <a:gd name="T56" fmla="*/ 125 w 216"/>
                <a:gd name="T57" fmla="*/ 162 h 207"/>
                <a:gd name="T58" fmla="*/ 146 w 216"/>
                <a:gd name="T59" fmla="*/ 195 h 207"/>
                <a:gd name="T60" fmla="*/ 170 w 216"/>
                <a:gd name="T61" fmla="*/ 200 h 207"/>
                <a:gd name="T62" fmla="*/ 200 w 216"/>
                <a:gd name="T63" fmla="*/ 206 h 207"/>
                <a:gd name="T64" fmla="*/ 204 w 216"/>
                <a:gd name="T65" fmla="*/ 207 h 207"/>
                <a:gd name="T66" fmla="*/ 214 w 216"/>
                <a:gd name="T67" fmla="*/ 201 h 207"/>
                <a:gd name="T68" fmla="*/ 209 w 216"/>
                <a:gd name="T69" fmla="*/ 18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6" h="207">
                  <a:moveTo>
                    <a:pt x="209" y="187"/>
                  </a:moveTo>
                  <a:cubicBezTo>
                    <a:pt x="194" y="180"/>
                    <a:pt x="182" y="180"/>
                    <a:pt x="171" y="179"/>
                  </a:cubicBezTo>
                  <a:cubicBezTo>
                    <a:pt x="165" y="179"/>
                    <a:pt x="159" y="179"/>
                    <a:pt x="156" y="177"/>
                  </a:cubicBezTo>
                  <a:cubicBezTo>
                    <a:pt x="149" y="173"/>
                    <a:pt x="143" y="153"/>
                    <a:pt x="145" y="147"/>
                  </a:cubicBezTo>
                  <a:cubicBezTo>
                    <a:pt x="153" y="134"/>
                    <a:pt x="162" y="114"/>
                    <a:pt x="167" y="96"/>
                  </a:cubicBezTo>
                  <a:cubicBezTo>
                    <a:pt x="174" y="64"/>
                    <a:pt x="171" y="39"/>
                    <a:pt x="157" y="22"/>
                  </a:cubicBezTo>
                  <a:cubicBezTo>
                    <a:pt x="139" y="0"/>
                    <a:pt x="111" y="0"/>
                    <a:pt x="108" y="0"/>
                  </a:cubicBezTo>
                  <a:cubicBezTo>
                    <a:pt x="106" y="0"/>
                    <a:pt x="77" y="0"/>
                    <a:pt x="59" y="22"/>
                  </a:cubicBezTo>
                  <a:cubicBezTo>
                    <a:pt x="45" y="39"/>
                    <a:pt x="42" y="64"/>
                    <a:pt x="50" y="96"/>
                  </a:cubicBezTo>
                  <a:cubicBezTo>
                    <a:pt x="54" y="114"/>
                    <a:pt x="63" y="134"/>
                    <a:pt x="72" y="147"/>
                  </a:cubicBezTo>
                  <a:cubicBezTo>
                    <a:pt x="73" y="153"/>
                    <a:pt x="67" y="173"/>
                    <a:pt x="61" y="177"/>
                  </a:cubicBezTo>
                  <a:cubicBezTo>
                    <a:pt x="57" y="179"/>
                    <a:pt x="52" y="179"/>
                    <a:pt x="45" y="179"/>
                  </a:cubicBezTo>
                  <a:cubicBezTo>
                    <a:pt x="35" y="180"/>
                    <a:pt x="22" y="180"/>
                    <a:pt x="8" y="187"/>
                  </a:cubicBezTo>
                  <a:cubicBezTo>
                    <a:pt x="2" y="189"/>
                    <a:pt x="0" y="196"/>
                    <a:pt x="3" y="201"/>
                  </a:cubicBezTo>
                  <a:cubicBezTo>
                    <a:pt x="4" y="205"/>
                    <a:pt x="8" y="207"/>
                    <a:pt x="12" y="207"/>
                  </a:cubicBezTo>
                  <a:cubicBezTo>
                    <a:pt x="14" y="207"/>
                    <a:pt x="15" y="207"/>
                    <a:pt x="17" y="206"/>
                  </a:cubicBezTo>
                  <a:cubicBezTo>
                    <a:pt x="28" y="201"/>
                    <a:pt x="37" y="201"/>
                    <a:pt x="46" y="200"/>
                  </a:cubicBezTo>
                  <a:cubicBezTo>
                    <a:pt x="55" y="200"/>
                    <a:pt x="63" y="200"/>
                    <a:pt x="71" y="195"/>
                  </a:cubicBezTo>
                  <a:cubicBezTo>
                    <a:pt x="85" y="188"/>
                    <a:pt x="90" y="168"/>
                    <a:pt x="91" y="162"/>
                  </a:cubicBezTo>
                  <a:cubicBezTo>
                    <a:pt x="93" y="153"/>
                    <a:pt x="95" y="142"/>
                    <a:pt x="90" y="135"/>
                  </a:cubicBezTo>
                  <a:cubicBezTo>
                    <a:pt x="82" y="125"/>
                    <a:pt x="74" y="106"/>
                    <a:pt x="71" y="91"/>
                  </a:cubicBezTo>
                  <a:cubicBezTo>
                    <a:pt x="65" y="66"/>
                    <a:pt x="66" y="47"/>
                    <a:pt x="76" y="36"/>
                  </a:cubicBezTo>
                  <a:cubicBezTo>
                    <a:pt x="87" y="21"/>
                    <a:pt x="108" y="22"/>
                    <a:pt x="108" y="22"/>
                  </a:cubicBezTo>
                  <a:cubicBezTo>
                    <a:pt x="108" y="22"/>
                    <a:pt x="108" y="21"/>
                    <a:pt x="108" y="21"/>
                  </a:cubicBezTo>
                  <a:cubicBezTo>
                    <a:pt x="108" y="21"/>
                    <a:pt x="108" y="22"/>
                    <a:pt x="109" y="22"/>
                  </a:cubicBezTo>
                  <a:cubicBezTo>
                    <a:pt x="109" y="22"/>
                    <a:pt x="129" y="21"/>
                    <a:pt x="141" y="36"/>
                  </a:cubicBezTo>
                  <a:cubicBezTo>
                    <a:pt x="150" y="47"/>
                    <a:pt x="152" y="66"/>
                    <a:pt x="146" y="91"/>
                  </a:cubicBezTo>
                  <a:cubicBezTo>
                    <a:pt x="142" y="106"/>
                    <a:pt x="134" y="125"/>
                    <a:pt x="127" y="135"/>
                  </a:cubicBezTo>
                  <a:cubicBezTo>
                    <a:pt x="122" y="142"/>
                    <a:pt x="123" y="153"/>
                    <a:pt x="125" y="162"/>
                  </a:cubicBezTo>
                  <a:cubicBezTo>
                    <a:pt x="126" y="168"/>
                    <a:pt x="132" y="188"/>
                    <a:pt x="146" y="195"/>
                  </a:cubicBezTo>
                  <a:cubicBezTo>
                    <a:pt x="154" y="200"/>
                    <a:pt x="162" y="200"/>
                    <a:pt x="170" y="200"/>
                  </a:cubicBezTo>
                  <a:cubicBezTo>
                    <a:pt x="179" y="201"/>
                    <a:pt x="189" y="201"/>
                    <a:pt x="200" y="206"/>
                  </a:cubicBezTo>
                  <a:cubicBezTo>
                    <a:pt x="201" y="207"/>
                    <a:pt x="203" y="207"/>
                    <a:pt x="204" y="207"/>
                  </a:cubicBezTo>
                  <a:cubicBezTo>
                    <a:pt x="208" y="207"/>
                    <a:pt x="212" y="205"/>
                    <a:pt x="214" y="201"/>
                  </a:cubicBezTo>
                  <a:cubicBezTo>
                    <a:pt x="216" y="196"/>
                    <a:pt x="214" y="189"/>
                    <a:pt x="209" y="18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</a:endParaRPr>
            </a:p>
          </p:txBody>
        </p:sp>
        <p:sp>
          <p:nvSpPr>
            <p:cNvPr id="292" name="Freeform 752"/>
            <p:cNvSpPr>
              <a:spLocks/>
            </p:cNvSpPr>
            <p:nvPr/>
          </p:nvSpPr>
          <p:spPr bwMode="auto">
            <a:xfrm>
              <a:off x="3702" y="2802"/>
              <a:ext cx="95" cy="111"/>
            </a:xfrm>
            <a:custGeom>
              <a:avLst/>
              <a:gdLst>
                <a:gd name="T0" fmla="*/ 136 w 143"/>
                <a:gd name="T1" fmla="*/ 147 h 167"/>
                <a:gd name="T2" fmla="*/ 109 w 143"/>
                <a:gd name="T3" fmla="*/ 139 h 167"/>
                <a:gd name="T4" fmla="*/ 95 w 143"/>
                <a:gd name="T5" fmla="*/ 136 h 167"/>
                <a:gd name="T6" fmla="*/ 89 w 143"/>
                <a:gd name="T7" fmla="*/ 118 h 167"/>
                <a:gd name="T8" fmla="*/ 106 w 143"/>
                <a:gd name="T9" fmla="*/ 78 h 167"/>
                <a:gd name="T10" fmla="*/ 99 w 143"/>
                <a:gd name="T11" fmla="*/ 20 h 167"/>
                <a:gd name="T12" fmla="*/ 56 w 143"/>
                <a:gd name="T13" fmla="*/ 1 h 167"/>
                <a:gd name="T14" fmla="*/ 14 w 143"/>
                <a:gd name="T15" fmla="*/ 20 h 167"/>
                <a:gd name="T16" fmla="*/ 6 w 143"/>
                <a:gd name="T17" fmla="*/ 78 h 167"/>
                <a:gd name="T18" fmla="*/ 24 w 143"/>
                <a:gd name="T19" fmla="*/ 118 h 167"/>
                <a:gd name="T20" fmla="*/ 18 w 143"/>
                <a:gd name="T21" fmla="*/ 136 h 167"/>
                <a:gd name="T22" fmla="*/ 16 w 143"/>
                <a:gd name="T23" fmla="*/ 151 h 167"/>
                <a:gd name="T24" fmla="*/ 24 w 143"/>
                <a:gd name="T25" fmla="*/ 155 h 167"/>
                <a:gd name="T26" fmla="*/ 31 w 143"/>
                <a:gd name="T27" fmla="*/ 153 h 167"/>
                <a:gd name="T28" fmla="*/ 41 w 143"/>
                <a:gd name="T29" fmla="*/ 107 h 167"/>
                <a:gd name="T30" fmla="*/ 27 w 143"/>
                <a:gd name="T31" fmla="*/ 73 h 167"/>
                <a:gd name="T32" fmla="*/ 31 w 143"/>
                <a:gd name="T33" fmla="*/ 33 h 167"/>
                <a:gd name="T34" fmla="*/ 56 w 143"/>
                <a:gd name="T35" fmla="*/ 22 h 167"/>
                <a:gd name="T36" fmla="*/ 82 w 143"/>
                <a:gd name="T37" fmla="*/ 33 h 167"/>
                <a:gd name="T38" fmla="*/ 86 w 143"/>
                <a:gd name="T39" fmla="*/ 73 h 167"/>
                <a:gd name="T40" fmla="*/ 71 w 143"/>
                <a:gd name="T41" fmla="*/ 107 h 167"/>
                <a:gd name="T42" fmla="*/ 82 w 143"/>
                <a:gd name="T43" fmla="*/ 153 h 167"/>
                <a:gd name="T44" fmla="*/ 83 w 143"/>
                <a:gd name="T45" fmla="*/ 154 h 167"/>
                <a:gd name="T46" fmla="*/ 106 w 143"/>
                <a:gd name="T47" fmla="*/ 160 h 167"/>
                <a:gd name="T48" fmla="*/ 125 w 143"/>
                <a:gd name="T49" fmla="*/ 165 h 167"/>
                <a:gd name="T50" fmla="*/ 131 w 143"/>
                <a:gd name="T51" fmla="*/ 167 h 167"/>
                <a:gd name="T52" fmla="*/ 140 w 143"/>
                <a:gd name="T53" fmla="*/ 162 h 167"/>
                <a:gd name="T54" fmla="*/ 136 w 143"/>
                <a:gd name="T55" fmla="*/ 14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3" h="167">
                  <a:moveTo>
                    <a:pt x="136" y="147"/>
                  </a:moveTo>
                  <a:cubicBezTo>
                    <a:pt x="128" y="142"/>
                    <a:pt x="118" y="140"/>
                    <a:pt x="109" y="139"/>
                  </a:cubicBezTo>
                  <a:cubicBezTo>
                    <a:pt x="104" y="138"/>
                    <a:pt x="98" y="137"/>
                    <a:pt x="95" y="136"/>
                  </a:cubicBezTo>
                  <a:cubicBezTo>
                    <a:pt x="89" y="131"/>
                    <a:pt x="88" y="121"/>
                    <a:pt x="89" y="118"/>
                  </a:cubicBezTo>
                  <a:cubicBezTo>
                    <a:pt x="96" y="109"/>
                    <a:pt x="103" y="93"/>
                    <a:pt x="106" y="78"/>
                  </a:cubicBezTo>
                  <a:cubicBezTo>
                    <a:pt x="112" y="53"/>
                    <a:pt x="110" y="34"/>
                    <a:pt x="99" y="20"/>
                  </a:cubicBezTo>
                  <a:cubicBezTo>
                    <a:pt x="83" y="0"/>
                    <a:pt x="58" y="1"/>
                    <a:pt x="56" y="1"/>
                  </a:cubicBezTo>
                  <a:cubicBezTo>
                    <a:pt x="54" y="1"/>
                    <a:pt x="30" y="0"/>
                    <a:pt x="14" y="20"/>
                  </a:cubicBezTo>
                  <a:cubicBezTo>
                    <a:pt x="3" y="34"/>
                    <a:pt x="0" y="53"/>
                    <a:pt x="6" y="78"/>
                  </a:cubicBezTo>
                  <a:cubicBezTo>
                    <a:pt x="10" y="93"/>
                    <a:pt x="17" y="109"/>
                    <a:pt x="24" y="118"/>
                  </a:cubicBezTo>
                  <a:cubicBezTo>
                    <a:pt x="25" y="121"/>
                    <a:pt x="24" y="132"/>
                    <a:pt x="18" y="136"/>
                  </a:cubicBezTo>
                  <a:cubicBezTo>
                    <a:pt x="13" y="140"/>
                    <a:pt x="12" y="146"/>
                    <a:pt x="16" y="151"/>
                  </a:cubicBezTo>
                  <a:cubicBezTo>
                    <a:pt x="18" y="154"/>
                    <a:pt x="21" y="155"/>
                    <a:pt x="24" y="155"/>
                  </a:cubicBezTo>
                  <a:cubicBezTo>
                    <a:pt x="26" y="155"/>
                    <a:pt x="29" y="155"/>
                    <a:pt x="31" y="153"/>
                  </a:cubicBezTo>
                  <a:cubicBezTo>
                    <a:pt x="45" y="142"/>
                    <a:pt x="49" y="118"/>
                    <a:pt x="41" y="107"/>
                  </a:cubicBezTo>
                  <a:cubicBezTo>
                    <a:pt x="36" y="99"/>
                    <a:pt x="30" y="85"/>
                    <a:pt x="27" y="73"/>
                  </a:cubicBezTo>
                  <a:cubicBezTo>
                    <a:pt x="23" y="55"/>
                    <a:pt x="24" y="42"/>
                    <a:pt x="31" y="33"/>
                  </a:cubicBezTo>
                  <a:cubicBezTo>
                    <a:pt x="39" y="22"/>
                    <a:pt x="55" y="22"/>
                    <a:pt x="56" y="22"/>
                  </a:cubicBezTo>
                  <a:cubicBezTo>
                    <a:pt x="58" y="22"/>
                    <a:pt x="73" y="22"/>
                    <a:pt x="82" y="33"/>
                  </a:cubicBezTo>
                  <a:cubicBezTo>
                    <a:pt x="89" y="42"/>
                    <a:pt x="90" y="55"/>
                    <a:pt x="86" y="73"/>
                  </a:cubicBezTo>
                  <a:cubicBezTo>
                    <a:pt x="83" y="85"/>
                    <a:pt x="77" y="99"/>
                    <a:pt x="71" y="107"/>
                  </a:cubicBezTo>
                  <a:cubicBezTo>
                    <a:pt x="63" y="118"/>
                    <a:pt x="67" y="142"/>
                    <a:pt x="82" y="153"/>
                  </a:cubicBezTo>
                  <a:cubicBezTo>
                    <a:pt x="82" y="153"/>
                    <a:pt x="83" y="154"/>
                    <a:pt x="83" y="154"/>
                  </a:cubicBezTo>
                  <a:cubicBezTo>
                    <a:pt x="90" y="158"/>
                    <a:pt x="98" y="159"/>
                    <a:pt x="106" y="160"/>
                  </a:cubicBezTo>
                  <a:cubicBezTo>
                    <a:pt x="113" y="161"/>
                    <a:pt x="121" y="162"/>
                    <a:pt x="125" y="165"/>
                  </a:cubicBezTo>
                  <a:cubicBezTo>
                    <a:pt x="127" y="166"/>
                    <a:pt x="129" y="167"/>
                    <a:pt x="131" y="167"/>
                  </a:cubicBezTo>
                  <a:cubicBezTo>
                    <a:pt x="134" y="167"/>
                    <a:pt x="138" y="165"/>
                    <a:pt x="140" y="162"/>
                  </a:cubicBezTo>
                  <a:cubicBezTo>
                    <a:pt x="143" y="157"/>
                    <a:pt x="141" y="150"/>
                    <a:pt x="136" y="14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</a:endParaRPr>
            </a:p>
          </p:txBody>
        </p:sp>
      </p:grpSp>
      <p:grpSp>
        <p:nvGrpSpPr>
          <p:cNvPr id="293" name="Group 99"/>
          <p:cNvGrpSpPr>
            <a:grpSpLocks noChangeAspect="1"/>
          </p:cNvGrpSpPr>
          <p:nvPr/>
        </p:nvGrpSpPr>
        <p:grpSpPr bwMode="auto">
          <a:xfrm>
            <a:off x="4007118" y="5324758"/>
            <a:ext cx="468000" cy="468000"/>
            <a:chOff x="5779" y="1137"/>
            <a:chExt cx="340" cy="340"/>
          </a:xfrm>
          <a:solidFill>
            <a:srgbClr val="5B9BD5"/>
          </a:solidFill>
        </p:grpSpPr>
        <p:sp>
          <p:nvSpPr>
            <p:cNvPr id="294" name="Freeform 100"/>
            <p:cNvSpPr>
              <a:spLocks noEditPoints="1"/>
            </p:cNvSpPr>
            <p:nvPr/>
          </p:nvSpPr>
          <p:spPr bwMode="auto">
            <a:xfrm>
              <a:off x="5878" y="1207"/>
              <a:ext cx="163" cy="199"/>
            </a:xfrm>
            <a:custGeom>
              <a:avLst/>
              <a:gdLst>
                <a:gd name="T0" fmla="*/ 244 w 245"/>
                <a:gd name="T1" fmla="*/ 60 h 299"/>
                <a:gd name="T2" fmla="*/ 242 w 245"/>
                <a:gd name="T3" fmla="*/ 56 h 299"/>
                <a:gd name="T4" fmla="*/ 190 w 245"/>
                <a:gd name="T5" fmla="*/ 3 h 299"/>
                <a:gd name="T6" fmla="*/ 182 w 245"/>
                <a:gd name="T7" fmla="*/ 0 h 299"/>
                <a:gd name="T8" fmla="*/ 85 w 245"/>
                <a:gd name="T9" fmla="*/ 0 h 299"/>
                <a:gd name="T10" fmla="*/ 75 w 245"/>
                <a:gd name="T11" fmla="*/ 11 h 299"/>
                <a:gd name="T12" fmla="*/ 75 w 245"/>
                <a:gd name="T13" fmla="*/ 64 h 299"/>
                <a:gd name="T14" fmla="*/ 11 w 245"/>
                <a:gd name="T15" fmla="*/ 64 h 299"/>
                <a:gd name="T16" fmla="*/ 0 w 245"/>
                <a:gd name="T17" fmla="*/ 75 h 299"/>
                <a:gd name="T18" fmla="*/ 0 w 245"/>
                <a:gd name="T19" fmla="*/ 288 h 299"/>
                <a:gd name="T20" fmla="*/ 11 w 245"/>
                <a:gd name="T21" fmla="*/ 299 h 299"/>
                <a:gd name="T22" fmla="*/ 160 w 245"/>
                <a:gd name="T23" fmla="*/ 299 h 299"/>
                <a:gd name="T24" fmla="*/ 171 w 245"/>
                <a:gd name="T25" fmla="*/ 288 h 299"/>
                <a:gd name="T26" fmla="*/ 171 w 245"/>
                <a:gd name="T27" fmla="*/ 235 h 299"/>
                <a:gd name="T28" fmla="*/ 235 w 245"/>
                <a:gd name="T29" fmla="*/ 235 h 299"/>
                <a:gd name="T30" fmla="*/ 245 w 245"/>
                <a:gd name="T31" fmla="*/ 224 h 299"/>
                <a:gd name="T32" fmla="*/ 245 w 245"/>
                <a:gd name="T33" fmla="*/ 64 h 299"/>
                <a:gd name="T34" fmla="*/ 244 w 245"/>
                <a:gd name="T35" fmla="*/ 60 h 299"/>
                <a:gd name="T36" fmla="*/ 192 w 245"/>
                <a:gd name="T37" fmla="*/ 36 h 299"/>
                <a:gd name="T38" fmla="*/ 210 w 245"/>
                <a:gd name="T39" fmla="*/ 54 h 299"/>
                <a:gd name="T40" fmla="*/ 192 w 245"/>
                <a:gd name="T41" fmla="*/ 54 h 299"/>
                <a:gd name="T42" fmla="*/ 192 w 245"/>
                <a:gd name="T43" fmla="*/ 36 h 299"/>
                <a:gd name="T44" fmla="*/ 149 w 245"/>
                <a:gd name="T45" fmla="*/ 278 h 299"/>
                <a:gd name="T46" fmla="*/ 21 w 245"/>
                <a:gd name="T47" fmla="*/ 278 h 299"/>
                <a:gd name="T48" fmla="*/ 21 w 245"/>
                <a:gd name="T49" fmla="*/ 86 h 299"/>
                <a:gd name="T50" fmla="*/ 96 w 245"/>
                <a:gd name="T51" fmla="*/ 86 h 299"/>
                <a:gd name="T52" fmla="*/ 96 w 245"/>
                <a:gd name="T53" fmla="*/ 128 h 299"/>
                <a:gd name="T54" fmla="*/ 107 w 245"/>
                <a:gd name="T55" fmla="*/ 139 h 299"/>
                <a:gd name="T56" fmla="*/ 149 w 245"/>
                <a:gd name="T57" fmla="*/ 139 h 299"/>
                <a:gd name="T58" fmla="*/ 149 w 245"/>
                <a:gd name="T59" fmla="*/ 278 h 299"/>
                <a:gd name="T60" fmla="*/ 117 w 245"/>
                <a:gd name="T61" fmla="*/ 118 h 299"/>
                <a:gd name="T62" fmla="*/ 117 w 245"/>
                <a:gd name="T63" fmla="*/ 100 h 299"/>
                <a:gd name="T64" fmla="*/ 135 w 245"/>
                <a:gd name="T65" fmla="*/ 118 h 299"/>
                <a:gd name="T66" fmla="*/ 117 w 245"/>
                <a:gd name="T67" fmla="*/ 118 h 299"/>
                <a:gd name="T68" fmla="*/ 224 w 245"/>
                <a:gd name="T69" fmla="*/ 214 h 299"/>
                <a:gd name="T70" fmla="*/ 171 w 245"/>
                <a:gd name="T71" fmla="*/ 214 h 299"/>
                <a:gd name="T72" fmla="*/ 171 w 245"/>
                <a:gd name="T73" fmla="*/ 128 h 299"/>
                <a:gd name="T74" fmla="*/ 169 w 245"/>
                <a:gd name="T75" fmla="*/ 123 h 299"/>
                <a:gd name="T76" fmla="*/ 167 w 245"/>
                <a:gd name="T77" fmla="*/ 120 h 299"/>
                <a:gd name="T78" fmla="*/ 115 w 245"/>
                <a:gd name="T79" fmla="*/ 67 h 299"/>
                <a:gd name="T80" fmla="*/ 108 w 245"/>
                <a:gd name="T81" fmla="*/ 64 h 299"/>
                <a:gd name="T82" fmla="*/ 96 w 245"/>
                <a:gd name="T83" fmla="*/ 64 h 299"/>
                <a:gd name="T84" fmla="*/ 96 w 245"/>
                <a:gd name="T85" fmla="*/ 22 h 299"/>
                <a:gd name="T86" fmla="*/ 171 w 245"/>
                <a:gd name="T87" fmla="*/ 22 h 299"/>
                <a:gd name="T88" fmla="*/ 171 w 245"/>
                <a:gd name="T89" fmla="*/ 64 h 299"/>
                <a:gd name="T90" fmla="*/ 181 w 245"/>
                <a:gd name="T91" fmla="*/ 75 h 299"/>
                <a:gd name="T92" fmla="*/ 224 w 245"/>
                <a:gd name="T93" fmla="*/ 75 h 299"/>
                <a:gd name="T94" fmla="*/ 224 w 245"/>
                <a:gd name="T95" fmla="*/ 214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5" h="299">
                  <a:moveTo>
                    <a:pt x="244" y="60"/>
                  </a:moveTo>
                  <a:cubicBezTo>
                    <a:pt x="244" y="58"/>
                    <a:pt x="243" y="57"/>
                    <a:pt x="242" y="56"/>
                  </a:cubicBezTo>
                  <a:cubicBezTo>
                    <a:pt x="190" y="3"/>
                    <a:pt x="190" y="3"/>
                    <a:pt x="190" y="3"/>
                  </a:cubicBezTo>
                  <a:cubicBezTo>
                    <a:pt x="188" y="1"/>
                    <a:pt x="185" y="0"/>
                    <a:pt x="182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79" y="0"/>
                    <a:pt x="75" y="5"/>
                    <a:pt x="75" y="11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5" y="64"/>
                    <a:pt x="0" y="69"/>
                    <a:pt x="0" y="75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294"/>
                    <a:pt x="5" y="299"/>
                    <a:pt x="11" y="299"/>
                  </a:cubicBezTo>
                  <a:cubicBezTo>
                    <a:pt x="160" y="299"/>
                    <a:pt x="160" y="299"/>
                    <a:pt x="160" y="299"/>
                  </a:cubicBezTo>
                  <a:cubicBezTo>
                    <a:pt x="166" y="299"/>
                    <a:pt x="171" y="294"/>
                    <a:pt x="171" y="288"/>
                  </a:cubicBezTo>
                  <a:cubicBezTo>
                    <a:pt x="171" y="235"/>
                    <a:pt x="171" y="235"/>
                    <a:pt x="171" y="235"/>
                  </a:cubicBezTo>
                  <a:cubicBezTo>
                    <a:pt x="235" y="235"/>
                    <a:pt x="235" y="235"/>
                    <a:pt x="235" y="235"/>
                  </a:cubicBezTo>
                  <a:cubicBezTo>
                    <a:pt x="241" y="235"/>
                    <a:pt x="245" y="230"/>
                    <a:pt x="245" y="224"/>
                  </a:cubicBezTo>
                  <a:cubicBezTo>
                    <a:pt x="245" y="64"/>
                    <a:pt x="245" y="64"/>
                    <a:pt x="245" y="64"/>
                  </a:cubicBezTo>
                  <a:cubicBezTo>
                    <a:pt x="245" y="63"/>
                    <a:pt x="245" y="61"/>
                    <a:pt x="244" y="60"/>
                  </a:cubicBezTo>
                  <a:close/>
                  <a:moveTo>
                    <a:pt x="192" y="36"/>
                  </a:moveTo>
                  <a:cubicBezTo>
                    <a:pt x="210" y="54"/>
                    <a:pt x="210" y="54"/>
                    <a:pt x="210" y="54"/>
                  </a:cubicBezTo>
                  <a:cubicBezTo>
                    <a:pt x="192" y="54"/>
                    <a:pt x="192" y="54"/>
                    <a:pt x="192" y="54"/>
                  </a:cubicBezTo>
                  <a:lnTo>
                    <a:pt x="192" y="36"/>
                  </a:lnTo>
                  <a:close/>
                  <a:moveTo>
                    <a:pt x="149" y="278"/>
                  </a:moveTo>
                  <a:cubicBezTo>
                    <a:pt x="21" y="278"/>
                    <a:pt x="21" y="278"/>
                    <a:pt x="21" y="278"/>
                  </a:cubicBezTo>
                  <a:cubicBezTo>
                    <a:pt x="21" y="86"/>
                    <a:pt x="21" y="86"/>
                    <a:pt x="21" y="86"/>
                  </a:cubicBezTo>
                  <a:cubicBezTo>
                    <a:pt x="96" y="86"/>
                    <a:pt x="96" y="86"/>
                    <a:pt x="96" y="86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96" y="134"/>
                    <a:pt x="101" y="139"/>
                    <a:pt x="107" y="139"/>
                  </a:cubicBezTo>
                  <a:cubicBezTo>
                    <a:pt x="149" y="139"/>
                    <a:pt x="149" y="139"/>
                    <a:pt x="149" y="139"/>
                  </a:cubicBezTo>
                  <a:lnTo>
                    <a:pt x="149" y="278"/>
                  </a:lnTo>
                  <a:close/>
                  <a:moveTo>
                    <a:pt x="117" y="118"/>
                  </a:moveTo>
                  <a:cubicBezTo>
                    <a:pt x="117" y="100"/>
                    <a:pt x="117" y="100"/>
                    <a:pt x="117" y="100"/>
                  </a:cubicBezTo>
                  <a:cubicBezTo>
                    <a:pt x="135" y="118"/>
                    <a:pt x="135" y="118"/>
                    <a:pt x="135" y="118"/>
                  </a:cubicBezTo>
                  <a:lnTo>
                    <a:pt x="117" y="118"/>
                  </a:lnTo>
                  <a:close/>
                  <a:moveTo>
                    <a:pt x="224" y="214"/>
                  </a:moveTo>
                  <a:cubicBezTo>
                    <a:pt x="171" y="214"/>
                    <a:pt x="171" y="214"/>
                    <a:pt x="171" y="214"/>
                  </a:cubicBezTo>
                  <a:cubicBezTo>
                    <a:pt x="171" y="128"/>
                    <a:pt x="171" y="128"/>
                    <a:pt x="171" y="128"/>
                  </a:cubicBezTo>
                  <a:cubicBezTo>
                    <a:pt x="171" y="126"/>
                    <a:pt x="170" y="125"/>
                    <a:pt x="169" y="123"/>
                  </a:cubicBezTo>
                  <a:cubicBezTo>
                    <a:pt x="169" y="122"/>
                    <a:pt x="168" y="121"/>
                    <a:pt x="167" y="120"/>
                  </a:cubicBezTo>
                  <a:cubicBezTo>
                    <a:pt x="115" y="67"/>
                    <a:pt x="115" y="67"/>
                    <a:pt x="115" y="67"/>
                  </a:cubicBezTo>
                  <a:cubicBezTo>
                    <a:pt x="113" y="65"/>
                    <a:pt x="111" y="64"/>
                    <a:pt x="108" y="64"/>
                  </a:cubicBezTo>
                  <a:cubicBezTo>
                    <a:pt x="96" y="64"/>
                    <a:pt x="96" y="64"/>
                    <a:pt x="96" y="64"/>
                  </a:cubicBezTo>
                  <a:cubicBezTo>
                    <a:pt x="96" y="22"/>
                    <a:pt x="96" y="22"/>
                    <a:pt x="96" y="22"/>
                  </a:cubicBezTo>
                  <a:cubicBezTo>
                    <a:pt x="171" y="22"/>
                    <a:pt x="171" y="22"/>
                    <a:pt x="171" y="22"/>
                  </a:cubicBezTo>
                  <a:cubicBezTo>
                    <a:pt x="171" y="64"/>
                    <a:pt x="171" y="64"/>
                    <a:pt x="171" y="64"/>
                  </a:cubicBezTo>
                  <a:cubicBezTo>
                    <a:pt x="171" y="70"/>
                    <a:pt x="175" y="75"/>
                    <a:pt x="181" y="75"/>
                  </a:cubicBezTo>
                  <a:cubicBezTo>
                    <a:pt x="224" y="75"/>
                    <a:pt x="224" y="75"/>
                    <a:pt x="224" y="75"/>
                  </a:cubicBezTo>
                  <a:lnTo>
                    <a:pt x="224" y="2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>
                <a:latin typeface="+mn-lt"/>
              </a:endParaRPr>
            </a:p>
          </p:txBody>
        </p:sp>
        <p:sp>
          <p:nvSpPr>
            <p:cNvPr id="295" name="Freeform 101"/>
            <p:cNvSpPr>
              <a:spLocks noEditPoints="1"/>
            </p:cNvSpPr>
            <p:nvPr/>
          </p:nvSpPr>
          <p:spPr bwMode="auto">
            <a:xfrm>
              <a:off x="5779" y="113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>
                <a:latin typeface="+mn-lt"/>
              </a:endParaRPr>
            </a:p>
          </p:txBody>
        </p:sp>
      </p:grpSp>
      <p:grpSp>
        <p:nvGrpSpPr>
          <p:cNvPr id="298" name="Group 291"/>
          <p:cNvGrpSpPr>
            <a:grpSpLocks noChangeAspect="1"/>
          </p:cNvGrpSpPr>
          <p:nvPr/>
        </p:nvGrpSpPr>
        <p:grpSpPr bwMode="auto">
          <a:xfrm>
            <a:off x="1506179" y="5308878"/>
            <a:ext cx="468000" cy="468000"/>
            <a:chOff x="1197" y="1315"/>
            <a:chExt cx="340" cy="340"/>
          </a:xfrm>
          <a:solidFill>
            <a:srgbClr val="5B9BD5"/>
          </a:solidFill>
        </p:grpSpPr>
        <p:sp>
          <p:nvSpPr>
            <p:cNvPr id="299" name="Freeform 292"/>
            <p:cNvSpPr>
              <a:spLocks noEditPoints="1"/>
            </p:cNvSpPr>
            <p:nvPr/>
          </p:nvSpPr>
          <p:spPr bwMode="auto">
            <a:xfrm>
              <a:off x="1197" y="131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</a:endParaRPr>
            </a:p>
          </p:txBody>
        </p:sp>
        <p:sp>
          <p:nvSpPr>
            <p:cNvPr id="300" name="Freeform 293"/>
            <p:cNvSpPr>
              <a:spLocks noEditPoints="1"/>
            </p:cNvSpPr>
            <p:nvPr/>
          </p:nvSpPr>
          <p:spPr bwMode="auto">
            <a:xfrm>
              <a:off x="1261" y="1442"/>
              <a:ext cx="212" cy="113"/>
            </a:xfrm>
            <a:custGeom>
              <a:avLst/>
              <a:gdLst>
                <a:gd name="T0" fmla="*/ 317 w 320"/>
                <a:gd name="T1" fmla="*/ 45 h 170"/>
                <a:gd name="T2" fmla="*/ 295 w 320"/>
                <a:gd name="T3" fmla="*/ 24 h 170"/>
                <a:gd name="T4" fmla="*/ 288 w 320"/>
                <a:gd name="T5" fmla="*/ 21 h 170"/>
                <a:gd name="T6" fmla="*/ 245 w 320"/>
                <a:gd name="T7" fmla="*/ 21 h 170"/>
                <a:gd name="T8" fmla="*/ 245 w 320"/>
                <a:gd name="T9" fmla="*/ 10 h 170"/>
                <a:gd name="T10" fmla="*/ 234 w 320"/>
                <a:gd name="T11" fmla="*/ 0 h 170"/>
                <a:gd name="T12" fmla="*/ 10 w 320"/>
                <a:gd name="T13" fmla="*/ 0 h 170"/>
                <a:gd name="T14" fmla="*/ 0 w 320"/>
                <a:gd name="T15" fmla="*/ 10 h 170"/>
                <a:gd name="T16" fmla="*/ 0 w 320"/>
                <a:gd name="T17" fmla="*/ 117 h 170"/>
                <a:gd name="T18" fmla="*/ 10 w 320"/>
                <a:gd name="T19" fmla="*/ 128 h 170"/>
                <a:gd name="T20" fmla="*/ 23 w 320"/>
                <a:gd name="T21" fmla="*/ 128 h 170"/>
                <a:gd name="T22" fmla="*/ 21 w 320"/>
                <a:gd name="T23" fmla="*/ 138 h 170"/>
                <a:gd name="T24" fmla="*/ 53 w 320"/>
                <a:gd name="T25" fmla="*/ 170 h 170"/>
                <a:gd name="T26" fmla="*/ 80 w 320"/>
                <a:gd name="T27" fmla="*/ 156 h 170"/>
                <a:gd name="T28" fmla="*/ 106 w 320"/>
                <a:gd name="T29" fmla="*/ 170 h 170"/>
                <a:gd name="T30" fmla="*/ 138 w 320"/>
                <a:gd name="T31" fmla="*/ 138 h 170"/>
                <a:gd name="T32" fmla="*/ 136 w 320"/>
                <a:gd name="T33" fmla="*/ 128 h 170"/>
                <a:gd name="T34" fmla="*/ 234 w 320"/>
                <a:gd name="T35" fmla="*/ 128 h 170"/>
                <a:gd name="T36" fmla="*/ 236 w 320"/>
                <a:gd name="T37" fmla="*/ 128 h 170"/>
                <a:gd name="T38" fmla="*/ 234 w 320"/>
                <a:gd name="T39" fmla="*/ 138 h 170"/>
                <a:gd name="T40" fmla="*/ 266 w 320"/>
                <a:gd name="T41" fmla="*/ 170 h 170"/>
                <a:gd name="T42" fmla="*/ 298 w 320"/>
                <a:gd name="T43" fmla="*/ 138 h 170"/>
                <a:gd name="T44" fmla="*/ 296 w 320"/>
                <a:gd name="T45" fmla="*/ 128 h 170"/>
                <a:gd name="T46" fmla="*/ 309 w 320"/>
                <a:gd name="T47" fmla="*/ 128 h 170"/>
                <a:gd name="T48" fmla="*/ 320 w 320"/>
                <a:gd name="T49" fmla="*/ 117 h 170"/>
                <a:gd name="T50" fmla="*/ 320 w 320"/>
                <a:gd name="T51" fmla="*/ 53 h 170"/>
                <a:gd name="T52" fmla="*/ 317 w 320"/>
                <a:gd name="T53" fmla="*/ 45 h 170"/>
                <a:gd name="T54" fmla="*/ 21 w 320"/>
                <a:gd name="T55" fmla="*/ 21 h 170"/>
                <a:gd name="T56" fmla="*/ 224 w 320"/>
                <a:gd name="T57" fmla="*/ 21 h 170"/>
                <a:gd name="T58" fmla="*/ 224 w 320"/>
                <a:gd name="T59" fmla="*/ 32 h 170"/>
                <a:gd name="T60" fmla="*/ 224 w 320"/>
                <a:gd name="T61" fmla="*/ 106 h 170"/>
                <a:gd name="T62" fmla="*/ 21 w 320"/>
                <a:gd name="T63" fmla="*/ 106 h 170"/>
                <a:gd name="T64" fmla="*/ 21 w 320"/>
                <a:gd name="T65" fmla="*/ 21 h 170"/>
                <a:gd name="T66" fmla="*/ 53 w 320"/>
                <a:gd name="T67" fmla="*/ 149 h 170"/>
                <a:gd name="T68" fmla="*/ 42 w 320"/>
                <a:gd name="T69" fmla="*/ 138 h 170"/>
                <a:gd name="T70" fmla="*/ 53 w 320"/>
                <a:gd name="T71" fmla="*/ 128 h 170"/>
                <a:gd name="T72" fmla="*/ 64 w 320"/>
                <a:gd name="T73" fmla="*/ 138 h 170"/>
                <a:gd name="T74" fmla="*/ 53 w 320"/>
                <a:gd name="T75" fmla="*/ 149 h 170"/>
                <a:gd name="T76" fmla="*/ 117 w 320"/>
                <a:gd name="T77" fmla="*/ 138 h 170"/>
                <a:gd name="T78" fmla="*/ 106 w 320"/>
                <a:gd name="T79" fmla="*/ 149 h 170"/>
                <a:gd name="T80" fmla="*/ 96 w 320"/>
                <a:gd name="T81" fmla="*/ 138 h 170"/>
                <a:gd name="T82" fmla="*/ 106 w 320"/>
                <a:gd name="T83" fmla="*/ 128 h 170"/>
                <a:gd name="T84" fmla="*/ 117 w 320"/>
                <a:gd name="T85" fmla="*/ 138 h 170"/>
                <a:gd name="T86" fmla="*/ 277 w 320"/>
                <a:gd name="T87" fmla="*/ 138 h 170"/>
                <a:gd name="T88" fmla="*/ 266 w 320"/>
                <a:gd name="T89" fmla="*/ 149 h 170"/>
                <a:gd name="T90" fmla="*/ 256 w 320"/>
                <a:gd name="T91" fmla="*/ 138 h 170"/>
                <a:gd name="T92" fmla="*/ 266 w 320"/>
                <a:gd name="T93" fmla="*/ 128 h 170"/>
                <a:gd name="T94" fmla="*/ 277 w 320"/>
                <a:gd name="T95" fmla="*/ 138 h 170"/>
                <a:gd name="T96" fmla="*/ 298 w 320"/>
                <a:gd name="T97" fmla="*/ 106 h 170"/>
                <a:gd name="T98" fmla="*/ 245 w 320"/>
                <a:gd name="T99" fmla="*/ 106 h 170"/>
                <a:gd name="T100" fmla="*/ 245 w 320"/>
                <a:gd name="T101" fmla="*/ 42 h 170"/>
                <a:gd name="T102" fmla="*/ 283 w 320"/>
                <a:gd name="T103" fmla="*/ 42 h 170"/>
                <a:gd name="T104" fmla="*/ 298 w 320"/>
                <a:gd name="T105" fmla="*/ 57 h 170"/>
                <a:gd name="T106" fmla="*/ 298 w 320"/>
                <a:gd name="T107" fmla="*/ 10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0" h="170">
                  <a:moveTo>
                    <a:pt x="317" y="45"/>
                  </a:moveTo>
                  <a:cubicBezTo>
                    <a:pt x="295" y="24"/>
                    <a:pt x="295" y="24"/>
                    <a:pt x="295" y="24"/>
                  </a:cubicBezTo>
                  <a:cubicBezTo>
                    <a:pt x="293" y="22"/>
                    <a:pt x="290" y="21"/>
                    <a:pt x="288" y="21"/>
                  </a:cubicBezTo>
                  <a:cubicBezTo>
                    <a:pt x="245" y="21"/>
                    <a:pt x="245" y="21"/>
                    <a:pt x="245" y="21"/>
                  </a:cubicBezTo>
                  <a:cubicBezTo>
                    <a:pt x="245" y="10"/>
                    <a:pt x="245" y="10"/>
                    <a:pt x="245" y="10"/>
                  </a:cubicBezTo>
                  <a:cubicBezTo>
                    <a:pt x="245" y="4"/>
                    <a:pt x="240" y="0"/>
                    <a:pt x="23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3"/>
                    <a:pt x="4" y="128"/>
                    <a:pt x="10" y="128"/>
                  </a:cubicBezTo>
                  <a:cubicBezTo>
                    <a:pt x="23" y="128"/>
                    <a:pt x="23" y="128"/>
                    <a:pt x="23" y="128"/>
                  </a:cubicBezTo>
                  <a:cubicBezTo>
                    <a:pt x="22" y="131"/>
                    <a:pt x="21" y="135"/>
                    <a:pt x="21" y="138"/>
                  </a:cubicBezTo>
                  <a:cubicBezTo>
                    <a:pt x="21" y="156"/>
                    <a:pt x="35" y="170"/>
                    <a:pt x="53" y="170"/>
                  </a:cubicBezTo>
                  <a:cubicBezTo>
                    <a:pt x="64" y="170"/>
                    <a:pt x="74" y="165"/>
                    <a:pt x="80" y="156"/>
                  </a:cubicBezTo>
                  <a:cubicBezTo>
                    <a:pt x="85" y="165"/>
                    <a:pt x="95" y="170"/>
                    <a:pt x="106" y="170"/>
                  </a:cubicBezTo>
                  <a:cubicBezTo>
                    <a:pt x="124" y="170"/>
                    <a:pt x="138" y="156"/>
                    <a:pt x="138" y="138"/>
                  </a:cubicBezTo>
                  <a:cubicBezTo>
                    <a:pt x="138" y="135"/>
                    <a:pt x="138" y="131"/>
                    <a:pt x="136" y="128"/>
                  </a:cubicBezTo>
                  <a:cubicBezTo>
                    <a:pt x="234" y="128"/>
                    <a:pt x="234" y="128"/>
                    <a:pt x="234" y="128"/>
                  </a:cubicBezTo>
                  <a:cubicBezTo>
                    <a:pt x="236" y="128"/>
                    <a:pt x="236" y="128"/>
                    <a:pt x="236" y="128"/>
                  </a:cubicBezTo>
                  <a:cubicBezTo>
                    <a:pt x="235" y="131"/>
                    <a:pt x="234" y="135"/>
                    <a:pt x="234" y="138"/>
                  </a:cubicBezTo>
                  <a:cubicBezTo>
                    <a:pt x="234" y="156"/>
                    <a:pt x="249" y="170"/>
                    <a:pt x="266" y="170"/>
                  </a:cubicBezTo>
                  <a:cubicBezTo>
                    <a:pt x="284" y="170"/>
                    <a:pt x="298" y="156"/>
                    <a:pt x="298" y="138"/>
                  </a:cubicBezTo>
                  <a:cubicBezTo>
                    <a:pt x="298" y="135"/>
                    <a:pt x="298" y="131"/>
                    <a:pt x="296" y="128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5" y="128"/>
                    <a:pt x="320" y="123"/>
                    <a:pt x="320" y="117"/>
                  </a:cubicBezTo>
                  <a:cubicBezTo>
                    <a:pt x="320" y="53"/>
                    <a:pt x="320" y="53"/>
                    <a:pt x="320" y="53"/>
                  </a:cubicBezTo>
                  <a:cubicBezTo>
                    <a:pt x="320" y="50"/>
                    <a:pt x="319" y="47"/>
                    <a:pt x="317" y="45"/>
                  </a:cubicBezTo>
                  <a:close/>
                  <a:moveTo>
                    <a:pt x="21" y="21"/>
                  </a:moveTo>
                  <a:cubicBezTo>
                    <a:pt x="224" y="21"/>
                    <a:pt x="224" y="21"/>
                    <a:pt x="224" y="21"/>
                  </a:cubicBezTo>
                  <a:cubicBezTo>
                    <a:pt x="224" y="32"/>
                    <a:pt x="224" y="32"/>
                    <a:pt x="224" y="32"/>
                  </a:cubicBezTo>
                  <a:cubicBezTo>
                    <a:pt x="224" y="106"/>
                    <a:pt x="224" y="106"/>
                    <a:pt x="224" y="106"/>
                  </a:cubicBezTo>
                  <a:cubicBezTo>
                    <a:pt x="21" y="106"/>
                    <a:pt x="21" y="106"/>
                    <a:pt x="21" y="106"/>
                  </a:cubicBezTo>
                  <a:lnTo>
                    <a:pt x="21" y="21"/>
                  </a:lnTo>
                  <a:close/>
                  <a:moveTo>
                    <a:pt x="53" y="149"/>
                  </a:moveTo>
                  <a:cubicBezTo>
                    <a:pt x="47" y="149"/>
                    <a:pt x="42" y="144"/>
                    <a:pt x="42" y="138"/>
                  </a:cubicBezTo>
                  <a:cubicBezTo>
                    <a:pt x="42" y="132"/>
                    <a:pt x="47" y="128"/>
                    <a:pt x="53" y="128"/>
                  </a:cubicBezTo>
                  <a:cubicBezTo>
                    <a:pt x="59" y="128"/>
                    <a:pt x="64" y="132"/>
                    <a:pt x="64" y="138"/>
                  </a:cubicBezTo>
                  <a:cubicBezTo>
                    <a:pt x="64" y="144"/>
                    <a:pt x="59" y="149"/>
                    <a:pt x="53" y="149"/>
                  </a:cubicBezTo>
                  <a:close/>
                  <a:moveTo>
                    <a:pt x="117" y="138"/>
                  </a:moveTo>
                  <a:cubicBezTo>
                    <a:pt x="117" y="144"/>
                    <a:pt x="112" y="149"/>
                    <a:pt x="106" y="149"/>
                  </a:cubicBezTo>
                  <a:cubicBezTo>
                    <a:pt x="100" y="149"/>
                    <a:pt x="96" y="144"/>
                    <a:pt x="96" y="138"/>
                  </a:cubicBezTo>
                  <a:cubicBezTo>
                    <a:pt x="96" y="132"/>
                    <a:pt x="100" y="128"/>
                    <a:pt x="106" y="128"/>
                  </a:cubicBezTo>
                  <a:cubicBezTo>
                    <a:pt x="112" y="128"/>
                    <a:pt x="117" y="132"/>
                    <a:pt x="117" y="138"/>
                  </a:cubicBezTo>
                  <a:close/>
                  <a:moveTo>
                    <a:pt x="277" y="138"/>
                  </a:moveTo>
                  <a:cubicBezTo>
                    <a:pt x="277" y="144"/>
                    <a:pt x="272" y="149"/>
                    <a:pt x="266" y="149"/>
                  </a:cubicBezTo>
                  <a:cubicBezTo>
                    <a:pt x="260" y="149"/>
                    <a:pt x="256" y="144"/>
                    <a:pt x="256" y="138"/>
                  </a:cubicBezTo>
                  <a:cubicBezTo>
                    <a:pt x="256" y="132"/>
                    <a:pt x="260" y="128"/>
                    <a:pt x="266" y="128"/>
                  </a:cubicBezTo>
                  <a:cubicBezTo>
                    <a:pt x="272" y="128"/>
                    <a:pt x="277" y="132"/>
                    <a:pt x="277" y="138"/>
                  </a:cubicBezTo>
                  <a:close/>
                  <a:moveTo>
                    <a:pt x="298" y="106"/>
                  </a:moveTo>
                  <a:cubicBezTo>
                    <a:pt x="245" y="106"/>
                    <a:pt x="245" y="106"/>
                    <a:pt x="245" y="106"/>
                  </a:cubicBezTo>
                  <a:cubicBezTo>
                    <a:pt x="245" y="42"/>
                    <a:pt x="245" y="42"/>
                    <a:pt x="245" y="42"/>
                  </a:cubicBezTo>
                  <a:cubicBezTo>
                    <a:pt x="283" y="42"/>
                    <a:pt x="283" y="42"/>
                    <a:pt x="283" y="42"/>
                  </a:cubicBezTo>
                  <a:cubicBezTo>
                    <a:pt x="298" y="57"/>
                    <a:pt x="298" y="57"/>
                    <a:pt x="298" y="57"/>
                  </a:cubicBezTo>
                  <a:lnTo>
                    <a:pt x="298" y="10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</a:endParaRPr>
            </a:p>
          </p:txBody>
        </p:sp>
      </p:grpSp>
      <p:grpSp>
        <p:nvGrpSpPr>
          <p:cNvPr id="301" name="Group 336"/>
          <p:cNvGrpSpPr>
            <a:grpSpLocks noChangeAspect="1"/>
          </p:cNvGrpSpPr>
          <p:nvPr/>
        </p:nvGrpSpPr>
        <p:grpSpPr bwMode="auto">
          <a:xfrm>
            <a:off x="5148162" y="2130914"/>
            <a:ext cx="468000" cy="468000"/>
            <a:chOff x="4220" y="1197"/>
            <a:chExt cx="340" cy="340"/>
          </a:xfrm>
          <a:solidFill>
            <a:srgbClr val="5B9BD5"/>
          </a:solidFill>
        </p:grpSpPr>
        <p:sp>
          <p:nvSpPr>
            <p:cNvPr id="302" name="Freeform 337"/>
            <p:cNvSpPr>
              <a:spLocks noEditPoints="1"/>
            </p:cNvSpPr>
            <p:nvPr/>
          </p:nvSpPr>
          <p:spPr bwMode="auto">
            <a:xfrm>
              <a:off x="4220" y="119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</a:endParaRPr>
            </a:p>
          </p:txBody>
        </p:sp>
        <p:sp>
          <p:nvSpPr>
            <p:cNvPr id="303" name="Freeform 338"/>
            <p:cNvSpPr>
              <a:spLocks noEditPoints="1"/>
            </p:cNvSpPr>
            <p:nvPr/>
          </p:nvSpPr>
          <p:spPr bwMode="auto">
            <a:xfrm>
              <a:off x="4312" y="1261"/>
              <a:ext cx="156" cy="212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</a:endParaRPr>
            </a:p>
          </p:txBody>
        </p:sp>
        <p:sp>
          <p:nvSpPr>
            <p:cNvPr id="304" name="Freeform 339"/>
            <p:cNvSpPr>
              <a:spLocks/>
            </p:cNvSpPr>
            <p:nvPr/>
          </p:nvSpPr>
          <p:spPr bwMode="auto">
            <a:xfrm>
              <a:off x="4340" y="1431"/>
              <a:ext cx="99" cy="14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</a:endParaRPr>
            </a:p>
          </p:txBody>
        </p:sp>
        <p:sp>
          <p:nvSpPr>
            <p:cNvPr id="305" name="Freeform 340"/>
            <p:cNvSpPr>
              <a:spLocks/>
            </p:cNvSpPr>
            <p:nvPr/>
          </p:nvSpPr>
          <p:spPr bwMode="auto">
            <a:xfrm>
              <a:off x="4340" y="1402"/>
              <a:ext cx="99" cy="14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</a:endParaRPr>
            </a:p>
          </p:txBody>
        </p:sp>
        <p:sp>
          <p:nvSpPr>
            <p:cNvPr id="306" name="Freeform 341"/>
            <p:cNvSpPr>
              <a:spLocks/>
            </p:cNvSpPr>
            <p:nvPr/>
          </p:nvSpPr>
          <p:spPr bwMode="auto">
            <a:xfrm>
              <a:off x="4340" y="1374"/>
              <a:ext cx="99" cy="14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</a:endParaRPr>
            </a:p>
          </p:txBody>
        </p:sp>
        <p:sp>
          <p:nvSpPr>
            <p:cNvPr id="307" name="Freeform 342"/>
            <p:cNvSpPr>
              <a:spLocks/>
            </p:cNvSpPr>
            <p:nvPr/>
          </p:nvSpPr>
          <p:spPr bwMode="auto">
            <a:xfrm>
              <a:off x="4340" y="1346"/>
              <a:ext cx="99" cy="14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</a:endParaRPr>
            </a:p>
          </p:txBody>
        </p:sp>
      </p:grpSp>
      <p:grpSp>
        <p:nvGrpSpPr>
          <p:cNvPr id="308" name="Group 336"/>
          <p:cNvGrpSpPr>
            <a:grpSpLocks noChangeAspect="1"/>
          </p:cNvGrpSpPr>
          <p:nvPr/>
        </p:nvGrpSpPr>
        <p:grpSpPr bwMode="auto">
          <a:xfrm>
            <a:off x="2643177" y="2131382"/>
            <a:ext cx="468000" cy="468000"/>
            <a:chOff x="4220" y="1197"/>
            <a:chExt cx="340" cy="340"/>
          </a:xfrm>
          <a:solidFill>
            <a:srgbClr val="5B9BD5"/>
          </a:solidFill>
        </p:grpSpPr>
        <p:sp>
          <p:nvSpPr>
            <p:cNvPr id="309" name="Freeform 337"/>
            <p:cNvSpPr>
              <a:spLocks noEditPoints="1"/>
            </p:cNvSpPr>
            <p:nvPr/>
          </p:nvSpPr>
          <p:spPr bwMode="auto">
            <a:xfrm>
              <a:off x="4220" y="119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</a:endParaRPr>
            </a:p>
          </p:txBody>
        </p:sp>
        <p:sp>
          <p:nvSpPr>
            <p:cNvPr id="310" name="Freeform 338"/>
            <p:cNvSpPr>
              <a:spLocks noEditPoints="1"/>
            </p:cNvSpPr>
            <p:nvPr/>
          </p:nvSpPr>
          <p:spPr bwMode="auto">
            <a:xfrm>
              <a:off x="4312" y="1261"/>
              <a:ext cx="156" cy="212"/>
            </a:xfrm>
            <a:custGeom>
              <a:avLst/>
              <a:gdLst>
                <a:gd name="T0" fmla="*/ 234 w 235"/>
                <a:gd name="T1" fmla="*/ 81 h 320"/>
                <a:gd name="T2" fmla="*/ 232 w 235"/>
                <a:gd name="T3" fmla="*/ 77 h 320"/>
                <a:gd name="T4" fmla="*/ 157 w 235"/>
                <a:gd name="T5" fmla="*/ 3 h 320"/>
                <a:gd name="T6" fmla="*/ 154 w 235"/>
                <a:gd name="T7" fmla="*/ 0 h 320"/>
                <a:gd name="T8" fmla="*/ 150 w 235"/>
                <a:gd name="T9" fmla="*/ 0 h 320"/>
                <a:gd name="T10" fmla="*/ 11 w 235"/>
                <a:gd name="T11" fmla="*/ 0 h 320"/>
                <a:gd name="T12" fmla="*/ 0 w 235"/>
                <a:gd name="T13" fmla="*/ 10 h 320"/>
                <a:gd name="T14" fmla="*/ 0 w 235"/>
                <a:gd name="T15" fmla="*/ 309 h 320"/>
                <a:gd name="T16" fmla="*/ 11 w 235"/>
                <a:gd name="T17" fmla="*/ 320 h 320"/>
                <a:gd name="T18" fmla="*/ 224 w 235"/>
                <a:gd name="T19" fmla="*/ 320 h 320"/>
                <a:gd name="T20" fmla="*/ 235 w 235"/>
                <a:gd name="T21" fmla="*/ 309 h 320"/>
                <a:gd name="T22" fmla="*/ 235 w 235"/>
                <a:gd name="T23" fmla="*/ 85 h 320"/>
                <a:gd name="T24" fmla="*/ 234 w 235"/>
                <a:gd name="T25" fmla="*/ 81 h 320"/>
                <a:gd name="T26" fmla="*/ 160 w 235"/>
                <a:gd name="T27" fmla="*/ 36 h 320"/>
                <a:gd name="T28" fmla="*/ 199 w 235"/>
                <a:gd name="T29" fmla="*/ 74 h 320"/>
                <a:gd name="T30" fmla="*/ 160 w 235"/>
                <a:gd name="T31" fmla="*/ 74 h 320"/>
                <a:gd name="T32" fmla="*/ 160 w 235"/>
                <a:gd name="T33" fmla="*/ 36 h 320"/>
                <a:gd name="T34" fmla="*/ 22 w 235"/>
                <a:gd name="T35" fmla="*/ 298 h 320"/>
                <a:gd name="T36" fmla="*/ 22 w 235"/>
                <a:gd name="T37" fmla="*/ 21 h 320"/>
                <a:gd name="T38" fmla="*/ 139 w 235"/>
                <a:gd name="T39" fmla="*/ 21 h 320"/>
                <a:gd name="T40" fmla="*/ 139 w 235"/>
                <a:gd name="T41" fmla="*/ 85 h 320"/>
                <a:gd name="T42" fmla="*/ 150 w 235"/>
                <a:gd name="T43" fmla="*/ 96 h 320"/>
                <a:gd name="T44" fmla="*/ 214 w 235"/>
                <a:gd name="T45" fmla="*/ 96 h 320"/>
                <a:gd name="T46" fmla="*/ 214 w 235"/>
                <a:gd name="T47" fmla="*/ 298 h 320"/>
                <a:gd name="T48" fmla="*/ 22 w 235"/>
                <a:gd name="T49" fmla="*/ 29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5" h="320">
                  <a:moveTo>
                    <a:pt x="234" y="81"/>
                  </a:moveTo>
                  <a:cubicBezTo>
                    <a:pt x="234" y="80"/>
                    <a:pt x="233" y="78"/>
                    <a:pt x="232" y="77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5" y="1"/>
                    <a:pt x="154" y="0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4"/>
                    <a:pt x="235" y="82"/>
                    <a:pt x="234" y="81"/>
                  </a:cubicBezTo>
                  <a:close/>
                  <a:moveTo>
                    <a:pt x="160" y="36"/>
                  </a:moveTo>
                  <a:cubicBezTo>
                    <a:pt x="199" y="74"/>
                    <a:pt x="199" y="74"/>
                    <a:pt x="199" y="74"/>
                  </a:cubicBezTo>
                  <a:cubicBezTo>
                    <a:pt x="160" y="74"/>
                    <a:pt x="160" y="74"/>
                    <a:pt x="160" y="74"/>
                  </a:cubicBezTo>
                  <a:lnTo>
                    <a:pt x="160" y="36"/>
                  </a:lnTo>
                  <a:close/>
                  <a:moveTo>
                    <a:pt x="22" y="298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85"/>
                    <a:pt x="139" y="85"/>
                    <a:pt x="139" y="85"/>
                  </a:cubicBezTo>
                  <a:cubicBezTo>
                    <a:pt x="139" y="91"/>
                    <a:pt x="144" y="96"/>
                    <a:pt x="150" y="96"/>
                  </a:cubicBezTo>
                  <a:cubicBezTo>
                    <a:pt x="214" y="96"/>
                    <a:pt x="214" y="96"/>
                    <a:pt x="214" y="96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2" y="29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</a:endParaRPr>
            </a:p>
          </p:txBody>
        </p:sp>
        <p:sp>
          <p:nvSpPr>
            <p:cNvPr id="311" name="Freeform 339"/>
            <p:cNvSpPr>
              <a:spLocks/>
            </p:cNvSpPr>
            <p:nvPr/>
          </p:nvSpPr>
          <p:spPr bwMode="auto">
            <a:xfrm>
              <a:off x="4340" y="1431"/>
              <a:ext cx="99" cy="14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</a:endParaRPr>
            </a:p>
          </p:txBody>
        </p:sp>
        <p:sp>
          <p:nvSpPr>
            <p:cNvPr id="312" name="Freeform 340"/>
            <p:cNvSpPr>
              <a:spLocks/>
            </p:cNvSpPr>
            <p:nvPr/>
          </p:nvSpPr>
          <p:spPr bwMode="auto">
            <a:xfrm>
              <a:off x="4340" y="1402"/>
              <a:ext cx="99" cy="14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1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1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</a:endParaRPr>
            </a:p>
          </p:txBody>
        </p:sp>
        <p:sp>
          <p:nvSpPr>
            <p:cNvPr id="313" name="Freeform 341"/>
            <p:cNvSpPr>
              <a:spLocks/>
            </p:cNvSpPr>
            <p:nvPr/>
          </p:nvSpPr>
          <p:spPr bwMode="auto">
            <a:xfrm>
              <a:off x="4340" y="1374"/>
              <a:ext cx="99" cy="14"/>
            </a:xfrm>
            <a:custGeom>
              <a:avLst/>
              <a:gdLst>
                <a:gd name="T0" fmla="*/ 139 w 149"/>
                <a:gd name="T1" fmla="*/ 0 h 22"/>
                <a:gd name="T2" fmla="*/ 11 w 149"/>
                <a:gd name="T3" fmla="*/ 0 h 22"/>
                <a:gd name="T4" fmla="*/ 0 w 149"/>
                <a:gd name="T5" fmla="*/ 11 h 22"/>
                <a:gd name="T6" fmla="*/ 11 w 149"/>
                <a:gd name="T7" fmla="*/ 22 h 22"/>
                <a:gd name="T8" fmla="*/ 139 w 149"/>
                <a:gd name="T9" fmla="*/ 22 h 22"/>
                <a:gd name="T10" fmla="*/ 149 w 149"/>
                <a:gd name="T11" fmla="*/ 11 h 22"/>
                <a:gd name="T12" fmla="*/ 139 w 1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2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45" y="22"/>
                    <a:pt x="149" y="17"/>
                    <a:pt x="149" y="11"/>
                  </a:cubicBezTo>
                  <a:cubicBezTo>
                    <a:pt x="149" y="5"/>
                    <a:pt x="145" y="0"/>
                    <a:pt x="139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</a:endParaRPr>
            </a:p>
          </p:txBody>
        </p:sp>
        <p:sp>
          <p:nvSpPr>
            <p:cNvPr id="314" name="Freeform 342"/>
            <p:cNvSpPr>
              <a:spLocks/>
            </p:cNvSpPr>
            <p:nvPr/>
          </p:nvSpPr>
          <p:spPr bwMode="auto">
            <a:xfrm>
              <a:off x="4340" y="1346"/>
              <a:ext cx="99" cy="14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</a:endParaRPr>
            </a:p>
          </p:txBody>
        </p: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12171" y="1506538"/>
            <a:ext cx="3923249" cy="2167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16928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40</a:t>
            </a:fld>
            <a:endParaRPr lang="it-IT" altLang="it-IT" dirty="0"/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1235895" y="129762"/>
            <a:ext cx="832561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it-IT" altLang="it-IT" sz="28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Modifiche regole tecniche FE (2/2)</a:t>
            </a:r>
            <a:endParaRPr lang="it-IT" altLang="it-IT" sz="1200" b="1" dirty="0">
              <a:solidFill>
                <a:srgbClr val="006600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107267" y="1704827"/>
            <a:ext cx="6454246" cy="1759250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ysDash"/>
            <a:miter lim="800000"/>
          </a:ln>
          <a:effectLst/>
        </p:spPr>
        <p:txBody>
          <a:bodyPr lIns="91413" tIns="36000" rIns="91413" bIns="35990" anchor="ctr"/>
          <a:lstStyle/>
          <a:p>
            <a:pPr marR="0" lvl="0" algn="just" defTabSz="7997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endParaRPr lang="it-IT" sz="1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173164" y="1704827"/>
            <a:ext cx="1798636" cy="1759249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dentificativo dell’Ordine</a:t>
            </a:r>
            <a:endParaRPr kumimoji="0" lang="it-IT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107267" y="3979383"/>
            <a:ext cx="6454245" cy="126995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chemeClr val="bg1">
                <a:lumMod val="50000"/>
              </a:schemeClr>
            </a:solidFill>
            <a:prstDash val="sysDash"/>
            <a:miter lim="800000"/>
          </a:ln>
          <a:effectLst/>
        </p:spPr>
        <p:txBody>
          <a:bodyPr lIns="91413" tIns="36000" rIns="91413" bIns="35990" anchor="ctr"/>
          <a:lstStyle/>
          <a:p>
            <a:pPr algn="just"/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173163" y="3979382"/>
            <a:ext cx="1798637" cy="1269951"/>
          </a:xfrm>
          <a:prstGeom prst="rect">
            <a:avLst/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800" b="1" kern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ferimenti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mministrativi</a:t>
            </a:r>
            <a:endParaRPr kumimoji="0" lang="it-IT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107266" y="1709750"/>
            <a:ext cx="645424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La fattura elettronica emessa nel formato </a:t>
            </a:r>
            <a:r>
              <a:rPr lang="it-IT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FatturaPA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 contiene nello schema XML l’elemento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&lt;</a:t>
            </a:r>
            <a:r>
              <a:rPr lang="it-IT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IdDocumento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 dove deve essere riportato l’identificativo dell’Ordine a cui la fattura fa riferimento. </a:t>
            </a:r>
          </a:p>
          <a:p>
            <a:pPr algn="just"/>
            <a:endParaRPr lang="it-IT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Se la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fattura non è stata emessa a fronte di un Ordine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 è sufficiente valorizzare il campo &lt;</a:t>
            </a:r>
            <a:r>
              <a:rPr lang="it-IT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IdDocumento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&gt; con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#NO#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107265" y="3988688"/>
            <a:ext cx="645424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Il campo facoltativo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Riferimento Amministrazione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 che può identificare l’ufficio Intestatario della fattura viene mantenuto anche nella nuova versione UBL 3.0 utilizzando il segmento </a:t>
            </a:r>
            <a:r>
              <a:rPr lang="it-IT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Contact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it-IT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Name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 presente nell’</a:t>
            </a:r>
            <a:r>
              <a:rPr lang="it-IT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AccountingSupplierParty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just"/>
            <a:endParaRPr lang="it-IT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2437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/>
        </p:nvGrpSpPr>
        <p:grpSpPr>
          <a:xfrm>
            <a:off x="2017710" y="1894224"/>
            <a:ext cx="2412049" cy="753096"/>
            <a:chOff x="1980842" y="1894224"/>
            <a:chExt cx="2448918" cy="753096"/>
          </a:xfrm>
        </p:grpSpPr>
        <p:cxnSp>
          <p:nvCxnSpPr>
            <p:cNvPr id="133" name="Straight Arrow Connector 132"/>
            <p:cNvCxnSpPr/>
            <p:nvPr/>
          </p:nvCxnSpPr>
          <p:spPr bwMode="auto">
            <a:xfrm flipV="1">
              <a:off x="4426277" y="2179320"/>
              <a:ext cx="3483" cy="468000"/>
            </a:xfrm>
            <a:prstGeom prst="straightConnector1">
              <a:avLst/>
            </a:prstGeom>
            <a:solidFill>
              <a:srgbClr val="006600"/>
            </a:solidFill>
            <a:ln w="19050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lg" len="med"/>
            </a:ln>
            <a:effectLst/>
          </p:spPr>
        </p:cxnSp>
        <p:cxnSp>
          <p:nvCxnSpPr>
            <p:cNvPr id="135" name="Straight Arrow Connector 134"/>
            <p:cNvCxnSpPr/>
            <p:nvPr/>
          </p:nvCxnSpPr>
          <p:spPr bwMode="auto">
            <a:xfrm flipH="1" flipV="1">
              <a:off x="1980842" y="2181204"/>
              <a:ext cx="2448000" cy="10119"/>
            </a:xfrm>
            <a:prstGeom prst="straightConnector1">
              <a:avLst/>
            </a:prstGeom>
            <a:solidFill>
              <a:srgbClr val="006600"/>
            </a:solidFill>
            <a:ln w="19050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lg" len="med"/>
            </a:ln>
            <a:effectLst/>
          </p:spPr>
        </p:cxnSp>
        <p:cxnSp>
          <p:nvCxnSpPr>
            <p:cNvPr id="14" name="Straight Arrow Connector 13"/>
            <p:cNvCxnSpPr/>
            <p:nvPr/>
          </p:nvCxnSpPr>
          <p:spPr bwMode="auto">
            <a:xfrm flipV="1">
              <a:off x="1991376" y="1894224"/>
              <a:ext cx="2216" cy="288000"/>
            </a:xfrm>
            <a:prstGeom prst="straightConnector1">
              <a:avLst/>
            </a:prstGeom>
            <a:solidFill>
              <a:srgbClr val="006600"/>
            </a:solidFill>
            <a:ln w="19050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grpSp>
        <p:nvGrpSpPr>
          <p:cNvPr id="22" name="Group 21"/>
          <p:cNvGrpSpPr/>
          <p:nvPr/>
        </p:nvGrpSpPr>
        <p:grpSpPr>
          <a:xfrm>
            <a:off x="1172655" y="3216433"/>
            <a:ext cx="3256367" cy="230641"/>
            <a:chOff x="1172655" y="3216433"/>
            <a:chExt cx="3256367" cy="230641"/>
          </a:xfrm>
        </p:grpSpPr>
        <p:cxnSp>
          <p:nvCxnSpPr>
            <p:cNvPr id="114" name="Straight Arrow Connector 113"/>
            <p:cNvCxnSpPr/>
            <p:nvPr/>
          </p:nvCxnSpPr>
          <p:spPr bwMode="auto">
            <a:xfrm flipH="1" flipV="1">
              <a:off x="1172655" y="3426775"/>
              <a:ext cx="3248690" cy="10119"/>
            </a:xfrm>
            <a:prstGeom prst="straightConnector1">
              <a:avLst/>
            </a:prstGeom>
            <a:solidFill>
              <a:srgbClr val="006600"/>
            </a:solidFill>
            <a:ln w="19050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triangle" w="lg" len="med"/>
            </a:ln>
            <a:effectLst/>
          </p:spPr>
        </p:cxnSp>
        <p:cxnSp>
          <p:nvCxnSpPr>
            <p:cNvPr id="123" name="Straight Arrow Connector 122"/>
            <p:cNvCxnSpPr/>
            <p:nvPr/>
          </p:nvCxnSpPr>
          <p:spPr bwMode="auto">
            <a:xfrm flipV="1">
              <a:off x="4426539" y="3216433"/>
              <a:ext cx="2483" cy="230641"/>
            </a:xfrm>
            <a:prstGeom prst="straightConnector1">
              <a:avLst/>
            </a:prstGeom>
            <a:solidFill>
              <a:srgbClr val="006600"/>
            </a:solidFill>
            <a:ln w="19050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lg" len="med"/>
            </a:ln>
            <a:effectLst/>
          </p:spPr>
        </p:cxnSp>
      </p:grpSp>
      <p:sp>
        <p:nvSpPr>
          <p:cNvPr id="7218" name="Segnaposto numero diapositiva 9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buNone/>
              <a:tabLst/>
              <a:defRPr/>
            </a:pPr>
            <a:fld id="{9539DF35-EC0B-4069-9591-CDCD58FB9F20}" type="slidenum">
              <a:rPr kumimoji="0" lang="it-IT" altLang="it-IT" sz="1200" b="1" i="0" u="none" strike="noStrike" kern="1200" cap="none" spc="0" normalizeH="0" baseline="0" noProof="0" smtClean="0">
                <a:ln>
                  <a:noFill/>
                </a:ln>
                <a:solidFill>
                  <a:srgbClr val="336600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0000"/>
                </a:buClr>
                <a:buSzPct val="70000"/>
                <a:buFont typeface="Wingdings" pitchFamily="2" charset="2"/>
                <a:buNone/>
                <a:tabLst/>
                <a:defRPr/>
              </a:pPr>
              <a:t>41</a:t>
            </a:fld>
            <a:endParaRPr kumimoji="0" lang="it-IT" altLang="it-IT" sz="1200" b="1" i="0" u="none" strike="noStrike" kern="1200" cap="none" spc="0" normalizeH="0" baseline="0" noProof="0">
              <a:ln>
                <a:noFill/>
              </a:ln>
              <a:solidFill>
                <a:srgbClr val="336600"/>
              </a:solidFill>
              <a:effectLst/>
              <a:uLnTx/>
              <a:uFillTx/>
              <a:latin typeface="Tahoma" panose="020B0604030504040204" pitchFamily="34" charset="0"/>
              <a:ea typeface="+mn-ea"/>
              <a:cs typeface="+mn-cs"/>
            </a:endParaRPr>
          </a:p>
        </p:txBody>
      </p:sp>
      <p:sp>
        <p:nvSpPr>
          <p:cNvPr id="305" name="Cloud 304"/>
          <p:cNvSpPr/>
          <p:nvPr/>
        </p:nvSpPr>
        <p:spPr bwMode="auto">
          <a:xfrm>
            <a:off x="4181957" y="840495"/>
            <a:ext cx="1770109" cy="1431747"/>
          </a:xfrm>
          <a:prstGeom prst="cloud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307" name="Straight Arrow Connector 306"/>
          <p:cNvCxnSpPr/>
          <p:nvPr/>
        </p:nvCxnSpPr>
        <p:spPr bwMode="auto">
          <a:xfrm flipV="1">
            <a:off x="1129255" y="2925278"/>
            <a:ext cx="922314" cy="1"/>
          </a:xfrm>
          <a:prstGeom prst="straightConnector1">
            <a:avLst/>
          </a:prstGeom>
          <a:solidFill>
            <a:srgbClr val="006600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cxnSp>
        <p:nvCxnSpPr>
          <p:cNvPr id="308" name="Elbow Connector 307"/>
          <p:cNvCxnSpPr/>
          <p:nvPr/>
        </p:nvCxnSpPr>
        <p:spPr bwMode="auto">
          <a:xfrm>
            <a:off x="1108441" y="2773194"/>
            <a:ext cx="2945893" cy="1125"/>
          </a:xfrm>
          <a:prstGeom prst="bentConnector3">
            <a:avLst>
              <a:gd name="adj1" fmla="val 50000"/>
            </a:avLst>
          </a:prstGeom>
          <a:solidFill>
            <a:srgbClr val="006600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lg" len="med"/>
            <a:tailEnd type="triangle" w="lg" len="med"/>
          </a:ln>
          <a:effectLst/>
        </p:spPr>
      </p:cxnSp>
      <p:cxnSp>
        <p:nvCxnSpPr>
          <p:cNvPr id="309" name="Straight Arrow Connector 308"/>
          <p:cNvCxnSpPr/>
          <p:nvPr/>
        </p:nvCxnSpPr>
        <p:spPr bwMode="auto">
          <a:xfrm flipV="1">
            <a:off x="4780378" y="2999901"/>
            <a:ext cx="1152000" cy="1"/>
          </a:xfrm>
          <a:prstGeom prst="straightConnector1">
            <a:avLst/>
          </a:prstGeom>
          <a:solidFill>
            <a:srgbClr val="006600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cxnSp>
        <p:nvCxnSpPr>
          <p:cNvPr id="310" name="Straight Arrow Connector 309"/>
          <p:cNvCxnSpPr/>
          <p:nvPr/>
        </p:nvCxnSpPr>
        <p:spPr bwMode="auto">
          <a:xfrm flipH="1" flipV="1">
            <a:off x="4783951" y="2907656"/>
            <a:ext cx="1152000" cy="1"/>
          </a:xfrm>
          <a:prstGeom prst="straightConnector1">
            <a:avLst/>
          </a:prstGeom>
          <a:solidFill>
            <a:srgbClr val="006600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grpSp>
        <p:nvGrpSpPr>
          <p:cNvPr id="311" name="Group 310"/>
          <p:cNvGrpSpPr/>
          <p:nvPr/>
        </p:nvGrpSpPr>
        <p:grpSpPr>
          <a:xfrm>
            <a:off x="579810" y="1291274"/>
            <a:ext cx="756000" cy="4919454"/>
            <a:chOff x="617130" y="1291274"/>
            <a:chExt cx="756000" cy="4919454"/>
          </a:xfrm>
        </p:grpSpPr>
        <p:sp>
          <p:nvSpPr>
            <p:cNvPr id="407" name="Rounded Rectangle 406"/>
            <p:cNvSpPr/>
            <p:nvPr/>
          </p:nvSpPr>
          <p:spPr bwMode="auto">
            <a:xfrm>
              <a:off x="780818" y="1420491"/>
              <a:ext cx="432000" cy="4790237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square" lIns="91440" tIns="39600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0000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it-IT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Operatori Economici</a:t>
              </a:r>
            </a:p>
          </p:txBody>
        </p:sp>
        <p:sp>
          <p:nvSpPr>
            <p:cNvPr id="408" name="Oval 407"/>
            <p:cNvSpPr/>
            <p:nvPr/>
          </p:nvSpPr>
          <p:spPr bwMode="auto">
            <a:xfrm>
              <a:off x="617130" y="1291274"/>
              <a:ext cx="756000" cy="756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0000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it-IT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grpSp>
          <p:nvGrpSpPr>
            <p:cNvPr id="409" name="Group 569"/>
            <p:cNvGrpSpPr>
              <a:grpSpLocks noChangeAspect="1"/>
            </p:cNvGrpSpPr>
            <p:nvPr/>
          </p:nvGrpSpPr>
          <p:grpSpPr bwMode="auto">
            <a:xfrm>
              <a:off x="670163" y="1358941"/>
              <a:ext cx="648000" cy="648000"/>
              <a:chOff x="5648" y="3248"/>
              <a:chExt cx="340" cy="340"/>
            </a:xfrm>
            <a:solidFill>
              <a:schemeClr val="accent1">
                <a:lumMod val="75000"/>
              </a:schemeClr>
            </a:solidFill>
          </p:grpSpPr>
          <p:sp>
            <p:nvSpPr>
              <p:cNvPr id="410" name="Freeform 570"/>
              <p:cNvSpPr>
                <a:spLocks noEditPoints="1"/>
              </p:cNvSpPr>
              <p:nvPr/>
            </p:nvSpPr>
            <p:spPr bwMode="auto">
              <a:xfrm>
                <a:off x="5712" y="3326"/>
                <a:ext cx="212" cy="170"/>
              </a:xfrm>
              <a:custGeom>
                <a:avLst/>
                <a:gdLst>
                  <a:gd name="T0" fmla="*/ 288 w 320"/>
                  <a:gd name="T1" fmla="*/ 9 h 256"/>
                  <a:gd name="T2" fmla="*/ 277 w 320"/>
                  <a:gd name="T3" fmla="*/ 0 h 256"/>
                  <a:gd name="T4" fmla="*/ 224 w 320"/>
                  <a:gd name="T5" fmla="*/ 0 h 256"/>
                  <a:gd name="T6" fmla="*/ 213 w 320"/>
                  <a:gd name="T7" fmla="*/ 10 h 256"/>
                  <a:gd name="T8" fmla="*/ 201 w 320"/>
                  <a:gd name="T9" fmla="*/ 146 h 256"/>
                  <a:gd name="T10" fmla="*/ 112 w 320"/>
                  <a:gd name="T11" fmla="*/ 87 h 256"/>
                  <a:gd name="T12" fmla="*/ 101 w 320"/>
                  <a:gd name="T13" fmla="*/ 87 h 256"/>
                  <a:gd name="T14" fmla="*/ 96 w 320"/>
                  <a:gd name="T15" fmla="*/ 96 h 256"/>
                  <a:gd name="T16" fmla="*/ 96 w 320"/>
                  <a:gd name="T17" fmla="*/ 140 h 256"/>
                  <a:gd name="T18" fmla="*/ 16 w 320"/>
                  <a:gd name="T19" fmla="*/ 87 h 256"/>
                  <a:gd name="T20" fmla="*/ 5 w 320"/>
                  <a:gd name="T21" fmla="*/ 87 h 256"/>
                  <a:gd name="T22" fmla="*/ 0 w 320"/>
                  <a:gd name="T23" fmla="*/ 96 h 256"/>
                  <a:gd name="T24" fmla="*/ 0 w 320"/>
                  <a:gd name="T25" fmla="*/ 245 h 256"/>
                  <a:gd name="T26" fmla="*/ 10 w 320"/>
                  <a:gd name="T27" fmla="*/ 256 h 256"/>
                  <a:gd name="T28" fmla="*/ 309 w 320"/>
                  <a:gd name="T29" fmla="*/ 256 h 256"/>
                  <a:gd name="T30" fmla="*/ 317 w 320"/>
                  <a:gd name="T31" fmla="*/ 252 h 256"/>
                  <a:gd name="T32" fmla="*/ 320 w 320"/>
                  <a:gd name="T33" fmla="*/ 244 h 256"/>
                  <a:gd name="T34" fmla="*/ 288 w 320"/>
                  <a:gd name="T35" fmla="*/ 9 h 256"/>
                  <a:gd name="T36" fmla="*/ 196 w 320"/>
                  <a:gd name="T37" fmla="*/ 169 h 256"/>
                  <a:gd name="T38" fmla="*/ 198 w 320"/>
                  <a:gd name="T39" fmla="*/ 170 h 256"/>
                  <a:gd name="T40" fmla="*/ 193 w 320"/>
                  <a:gd name="T41" fmla="*/ 235 h 256"/>
                  <a:gd name="T42" fmla="*/ 117 w 320"/>
                  <a:gd name="T43" fmla="*/ 235 h 256"/>
                  <a:gd name="T44" fmla="*/ 117 w 320"/>
                  <a:gd name="T45" fmla="*/ 116 h 256"/>
                  <a:gd name="T46" fmla="*/ 196 w 320"/>
                  <a:gd name="T47" fmla="*/ 169 h 256"/>
                  <a:gd name="T48" fmla="*/ 96 w 320"/>
                  <a:gd name="T49" fmla="*/ 166 h 256"/>
                  <a:gd name="T50" fmla="*/ 96 w 320"/>
                  <a:gd name="T51" fmla="*/ 235 h 256"/>
                  <a:gd name="T52" fmla="*/ 21 w 320"/>
                  <a:gd name="T53" fmla="*/ 235 h 256"/>
                  <a:gd name="T54" fmla="*/ 21 w 320"/>
                  <a:gd name="T55" fmla="*/ 116 h 256"/>
                  <a:gd name="T56" fmla="*/ 96 w 320"/>
                  <a:gd name="T57" fmla="*/ 166 h 256"/>
                  <a:gd name="T58" fmla="*/ 214 w 320"/>
                  <a:gd name="T59" fmla="*/ 235 h 256"/>
                  <a:gd name="T60" fmla="*/ 233 w 320"/>
                  <a:gd name="T61" fmla="*/ 21 h 256"/>
                  <a:gd name="T62" fmla="*/ 268 w 320"/>
                  <a:gd name="T63" fmla="*/ 21 h 256"/>
                  <a:gd name="T64" fmla="*/ 297 w 320"/>
                  <a:gd name="T65" fmla="*/ 235 h 256"/>
                  <a:gd name="T66" fmla="*/ 214 w 320"/>
                  <a:gd name="T67" fmla="*/ 235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20" h="256">
                    <a:moveTo>
                      <a:pt x="288" y="9"/>
                    </a:moveTo>
                    <a:cubicBezTo>
                      <a:pt x="287" y="4"/>
                      <a:pt x="282" y="0"/>
                      <a:pt x="277" y="0"/>
                    </a:cubicBezTo>
                    <a:cubicBezTo>
                      <a:pt x="224" y="0"/>
                      <a:pt x="224" y="0"/>
                      <a:pt x="224" y="0"/>
                    </a:cubicBezTo>
                    <a:cubicBezTo>
                      <a:pt x="218" y="0"/>
                      <a:pt x="214" y="4"/>
                      <a:pt x="213" y="10"/>
                    </a:cubicBezTo>
                    <a:cubicBezTo>
                      <a:pt x="201" y="146"/>
                      <a:pt x="201" y="146"/>
                      <a:pt x="201" y="146"/>
                    </a:cubicBezTo>
                    <a:cubicBezTo>
                      <a:pt x="112" y="87"/>
                      <a:pt x="112" y="87"/>
                      <a:pt x="112" y="87"/>
                    </a:cubicBezTo>
                    <a:cubicBezTo>
                      <a:pt x="109" y="85"/>
                      <a:pt x="105" y="85"/>
                      <a:pt x="101" y="87"/>
                    </a:cubicBezTo>
                    <a:cubicBezTo>
                      <a:pt x="98" y="88"/>
                      <a:pt x="96" y="92"/>
                      <a:pt x="96" y="96"/>
                    </a:cubicBezTo>
                    <a:cubicBezTo>
                      <a:pt x="96" y="140"/>
                      <a:pt x="96" y="140"/>
                      <a:pt x="96" y="140"/>
                    </a:cubicBezTo>
                    <a:cubicBezTo>
                      <a:pt x="16" y="87"/>
                      <a:pt x="16" y="87"/>
                      <a:pt x="16" y="87"/>
                    </a:cubicBezTo>
                    <a:cubicBezTo>
                      <a:pt x="13" y="85"/>
                      <a:pt x="9" y="85"/>
                      <a:pt x="5" y="87"/>
                    </a:cubicBezTo>
                    <a:cubicBezTo>
                      <a:pt x="2" y="88"/>
                      <a:pt x="0" y="92"/>
                      <a:pt x="0" y="96"/>
                    </a:cubicBezTo>
                    <a:cubicBezTo>
                      <a:pt x="0" y="245"/>
                      <a:pt x="0" y="245"/>
                      <a:pt x="0" y="245"/>
                    </a:cubicBezTo>
                    <a:cubicBezTo>
                      <a:pt x="0" y="251"/>
                      <a:pt x="4" y="256"/>
                      <a:pt x="10" y="256"/>
                    </a:cubicBezTo>
                    <a:cubicBezTo>
                      <a:pt x="309" y="256"/>
                      <a:pt x="309" y="256"/>
                      <a:pt x="309" y="256"/>
                    </a:cubicBezTo>
                    <a:cubicBezTo>
                      <a:pt x="312" y="256"/>
                      <a:pt x="315" y="255"/>
                      <a:pt x="317" y="252"/>
                    </a:cubicBezTo>
                    <a:cubicBezTo>
                      <a:pt x="319" y="250"/>
                      <a:pt x="320" y="247"/>
                      <a:pt x="320" y="244"/>
                    </a:cubicBezTo>
                    <a:lnTo>
                      <a:pt x="288" y="9"/>
                    </a:lnTo>
                    <a:close/>
                    <a:moveTo>
                      <a:pt x="196" y="169"/>
                    </a:moveTo>
                    <a:cubicBezTo>
                      <a:pt x="197" y="169"/>
                      <a:pt x="198" y="169"/>
                      <a:pt x="198" y="170"/>
                    </a:cubicBezTo>
                    <a:cubicBezTo>
                      <a:pt x="193" y="235"/>
                      <a:pt x="193" y="235"/>
                      <a:pt x="193" y="235"/>
                    </a:cubicBezTo>
                    <a:cubicBezTo>
                      <a:pt x="117" y="235"/>
                      <a:pt x="117" y="235"/>
                      <a:pt x="117" y="235"/>
                    </a:cubicBezTo>
                    <a:cubicBezTo>
                      <a:pt x="117" y="116"/>
                      <a:pt x="117" y="116"/>
                      <a:pt x="117" y="116"/>
                    </a:cubicBezTo>
                    <a:lnTo>
                      <a:pt x="196" y="169"/>
                    </a:lnTo>
                    <a:close/>
                    <a:moveTo>
                      <a:pt x="96" y="166"/>
                    </a:moveTo>
                    <a:cubicBezTo>
                      <a:pt x="96" y="235"/>
                      <a:pt x="96" y="235"/>
                      <a:pt x="96" y="235"/>
                    </a:cubicBezTo>
                    <a:cubicBezTo>
                      <a:pt x="21" y="235"/>
                      <a:pt x="21" y="235"/>
                      <a:pt x="21" y="235"/>
                    </a:cubicBezTo>
                    <a:cubicBezTo>
                      <a:pt x="21" y="116"/>
                      <a:pt x="21" y="116"/>
                      <a:pt x="21" y="116"/>
                    </a:cubicBezTo>
                    <a:lnTo>
                      <a:pt x="96" y="166"/>
                    </a:lnTo>
                    <a:close/>
                    <a:moveTo>
                      <a:pt x="214" y="235"/>
                    </a:moveTo>
                    <a:cubicBezTo>
                      <a:pt x="233" y="21"/>
                      <a:pt x="233" y="21"/>
                      <a:pt x="233" y="21"/>
                    </a:cubicBezTo>
                    <a:cubicBezTo>
                      <a:pt x="268" y="21"/>
                      <a:pt x="268" y="21"/>
                      <a:pt x="268" y="21"/>
                    </a:cubicBezTo>
                    <a:cubicBezTo>
                      <a:pt x="297" y="235"/>
                      <a:pt x="297" y="235"/>
                      <a:pt x="297" y="235"/>
                    </a:cubicBezTo>
                    <a:lnTo>
                      <a:pt x="214" y="235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1" name="Freeform 571"/>
              <p:cNvSpPr>
                <a:spLocks noEditPoints="1"/>
              </p:cNvSpPr>
              <p:nvPr/>
            </p:nvSpPr>
            <p:spPr bwMode="auto">
              <a:xfrm>
                <a:off x="5648" y="3248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2" name="Rounded Rectangle 311"/>
          <p:cNvSpPr/>
          <p:nvPr/>
        </p:nvSpPr>
        <p:spPr>
          <a:xfrm>
            <a:off x="2058771" y="2366864"/>
            <a:ext cx="1742375" cy="2987378"/>
          </a:xfrm>
          <a:prstGeom prst="roundRect">
            <a:avLst>
              <a:gd name="adj" fmla="val 5560"/>
            </a:avLst>
          </a:prstGeom>
          <a:solidFill>
            <a:schemeClr val="bg1">
              <a:alpha val="7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rtlCol="0" anchor="t" anchorCtr="0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3" name="Left-Right Arrow 312"/>
          <p:cNvSpPr/>
          <p:nvPr/>
        </p:nvSpPr>
        <p:spPr bwMode="auto">
          <a:xfrm rot="16200000">
            <a:off x="2632477" y="4096501"/>
            <a:ext cx="607693" cy="288471"/>
          </a:xfrm>
          <a:prstGeom prst="leftRightArrow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14" name="Rounded Rectangle 313"/>
          <p:cNvSpPr/>
          <p:nvPr/>
        </p:nvSpPr>
        <p:spPr>
          <a:xfrm>
            <a:off x="5922584" y="2366863"/>
            <a:ext cx="2090488" cy="2799497"/>
          </a:xfrm>
          <a:prstGeom prst="roundRect">
            <a:avLst>
              <a:gd name="adj" fmla="val 5560"/>
            </a:avLst>
          </a:prstGeom>
          <a:solidFill>
            <a:srgbClr val="DE5D6E">
              <a:alpha val="14902"/>
            </a:srgbClr>
          </a:solidFill>
          <a:ln w="19050">
            <a:solidFill>
              <a:srgbClr val="DE5D6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rtlCol="0" anchor="t" anchorCtr="0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5" name="Can 314"/>
          <p:cNvSpPr/>
          <p:nvPr/>
        </p:nvSpPr>
        <p:spPr bwMode="auto">
          <a:xfrm>
            <a:off x="6294111" y="4216888"/>
            <a:ext cx="1404000" cy="764687"/>
          </a:xfrm>
          <a:prstGeom prst="can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txBody>
          <a:bodyPr lIns="0" tIns="7200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16" name="Group 315"/>
          <p:cNvGrpSpPr/>
          <p:nvPr/>
        </p:nvGrpSpPr>
        <p:grpSpPr>
          <a:xfrm>
            <a:off x="9156233" y="1291274"/>
            <a:ext cx="756000" cy="4919454"/>
            <a:chOff x="8969632" y="1291274"/>
            <a:chExt cx="756000" cy="4919454"/>
          </a:xfrm>
        </p:grpSpPr>
        <p:sp>
          <p:nvSpPr>
            <p:cNvPr id="401" name="Rounded Rectangle 400"/>
            <p:cNvSpPr/>
            <p:nvPr/>
          </p:nvSpPr>
          <p:spPr bwMode="auto">
            <a:xfrm>
              <a:off x="9134243" y="1420491"/>
              <a:ext cx="432000" cy="4790237"/>
            </a:xfrm>
            <a:prstGeom prst="roundRect">
              <a:avLst/>
            </a:prstGeom>
            <a:solidFill>
              <a:srgbClr val="92D05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91440" tIns="25200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0000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it-IT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PA Locale</a:t>
              </a:r>
            </a:p>
          </p:txBody>
        </p:sp>
        <p:grpSp>
          <p:nvGrpSpPr>
            <p:cNvPr id="402" name="Group 401"/>
            <p:cNvGrpSpPr/>
            <p:nvPr/>
          </p:nvGrpSpPr>
          <p:grpSpPr>
            <a:xfrm>
              <a:off x="8969632" y="1291274"/>
              <a:ext cx="756000" cy="756000"/>
              <a:chOff x="8502907" y="1277616"/>
              <a:chExt cx="756000" cy="756000"/>
            </a:xfrm>
          </p:grpSpPr>
          <p:sp>
            <p:nvSpPr>
              <p:cNvPr id="403" name="Oval 402"/>
              <p:cNvSpPr/>
              <p:nvPr/>
            </p:nvSpPr>
            <p:spPr bwMode="auto">
              <a:xfrm>
                <a:off x="8502907" y="1277616"/>
                <a:ext cx="756000" cy="756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0000"/>
                  </a:buClr>
                  <a:buSzPct val="70000"/>
                  <a:buFont typeface="Wingdings" pitchFamily="2" charset="2"/>
                  <a:buNone/>
                  <a:tabLst/>
                  <a:defRPr/>
                </a:pPr>
                <a:endParaRPr kumimoji="0" lang="it-IT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grpSp>
            <p:nvGrpSpPr>
              <p:cNvPr id="404" name="Group 331"/>
              <p:cNvGrpSpPr>
                <a:grpSpLocks noChangeAspect="1"/>
              </p:cNvGrpSpPr>
              <p:nvPr/>
            </p:nvGrpSpPr>
            <p:grpSpPr bwMode="auto">
              <a:xfrm>
                <a:off x="8557830" y="1333333"/>
                <a:ext cx="648000" cy="648000"/>
                <a:chOff x="3628" y="1334"/>
                <a:chExt cx="340" cy="340"/>
              </a:xfrm>
              <a:solidFill>
                <a:srgbClr val="92D050"/>
              </a:solidFill>
            </p:grpSpPr>
            <p:sp>
              <p:nvSpPr>
                <p:cNvPr id="405" name="Freeform 332"/>
                <p:cNvSpPr>
                  <a:spLocks noEditPoints="1"/>
                </p:cNvSpPr>
                <p:nvPr/>
              </p:nvSpPr>
              <p:spPr bwMode="auto">
                <a:xfrm>
                  <a:off x="3628" y="1334"/>
                  <a:ext cx="340" cy="340"/>
                </a:xfrm>
                <a:custGeom>
                  <a:avLst/>
                  <a:gdLst>
                    <a:gd name="T0" fmla="*/ 256 w 512"/>
                    <a:gd name="T1" fmla="*/ 22 h 512"/>
                    <a:gd name="T2" fmla="*/ 491 w 512"/>
                    <a:gd name="T3" fmla="*/ 256 h 512"/>
                    <a:gd name="T4" fmla="*/ 256 w 512"/>
                    <a:gd name="T5" fmla="*/ 491 h 512"/>
                    <a:gd name="T6" fmla="*/ 21 w 512"/>
                    <a:gd name="T7" fmla="*/ 256 h 512"/>
                    <a:gd name="T8" fmla="*/ 256 w 512"/>
                    <a:gd name="T9" fmla="*/ 22 h 512"/>
                    <a:gd name="T10" fmla="*/ 256 w 512"/>
                    <a:gd name="T11" fmla="*/ 0 h 512"/>
                    <a:gd name="T12" fmla="*/ 0 w 512"/>
                    <a:gd name="T13" fmla="*/ 256 h 512"/>
                    <a:gd name="T14" fmla="*/ 256 w 512"/>
                    <a:gd name="T15" fmla="*/ 512 h 512"/>
                    <a:gd name="T16" fmla="*/ 512 w 512"/>
                    <a:gd name="T17" fmla="*/ 256 h 512"/>
                    <a:gd name="T18" fmla="*/ 256 w 512"/>
                    <a:gd name="T19" fmla="*/ 0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12" h="512">
                      <a:moveTo>
                        <a:pt x="256" y="22"/>
                      </a:moveTo>
                      <a:cubicBezTo>
                        <a:pt x="385" y="22"/>
                        <a:pt x="491" y="127"/>
                        <a:pt x="491" y="256"/>
                      </a:cubicBezTo>
                      <a:cubicBezTo>
                        <a:pt x="491" y="386"/>
                        <a:pt x="385" y="491"/>
                        <a:pt x="256" y="491"/>
                      </a:cubicBezTo>
                      <a:cubicBezTo>
                        <a:pt x="127" y="491"/>
                        <a:pt x="21" y="386"/>
                        <a:pt x="21" y="256"/>
                      </a:cubicBezTo>
                      <a:cubicBezTo>
                        <a:pt x="21" y="127"/>
                        <a:pt x="127" y="22"/>
                        <a:pt x="256" y="22"/>
                      </a:cubicBezTo>
                      <a:moveTo>
                        <a:pt x="256" y="0"/>
                      </a:moveTo>
                      <a:cubicBezTo>
                        <a:pt x="115" y="0"/>
                        <a:pt x="0" y="115"/>
                        <a:pt x="0" y="256"/>
                      </a:cubicBezTo>
                      <a:cubicBezTo>
                        <a:pt x="0" y="398"/>
                        <a:pt x="115" y="512"/>
                        <a:pt x="256" y="512"/>
                      </a:cubicBezTo>
                      <a:cubicBezTo>
                        <a:pt x="397" y="512"/>
                        <a:pt x="512" y="398"/>
                        <a:pt x="512" y="256"/>
                      </a:cubicBezTo>
                      <a:cubicBezTo>
                        <a:pt x="512" y="115"/>
                        <a:pt x="397" y="0"/>
                        <a:pt x="25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06" name="Freeform 333"/>
                <p:cNvSpPr>
                  <a:spLocks noEditPoints="1"/>
                </p:cNvSpPr>
                <p:nvPr/>
              </p:nvSpPr>
              <p:spPr bwMode="auto">
                <a:xfrm>
                  <a:off x="3699" y="1398"/>
                  <a:ext cx="198" cy="198"/>
                </a:xfrm>
                <a:custGeom>
                  <a:avLst/>
                  <a:gdLst>
                    <a:gd name="T0" fmla="*/ 170 w 298"/>
                    <a:gd name="T1" fmla="*/ 86 h 299"/>
                    <a:gd name="T2" fmla="*/ 160 w 298"/>
                    <a:gd name="T3" fmla="*/ 96 h 299"/>
                    <a:gd name="T4" fmla="*/ 138 w 298"/>
                    <a:gd name="T5" fmla="*/ 96 h 299"/>
                    <a:gd name="T6" fmla="*/ 128 w 298"/>
                    <a:gd name="T7" fmla="*/ 86 h 299"/>
                    <a:gd name="T8" fmla="*/ 128 w 298"/>
                    <a:gd name="T9" fmla="*/ 64 h 299"/>
                    <a:gd name="T10" fmla="*/ 138 w 298"/>
                    <a:gd name="T11" fmla="*/ 54 h 299"/>
                    <a:gd name="T12" fmla="*/ 160 w 298"/>
                    <a:gd name="T13" fmla="*/ 54 h 299"/>
                    <a:gd name="T14" fmla="*/ 170 w 298"/>
                    <a:gd name="T15" fmla="*/ 64 h 299"/>
                    <a:gd name="T16" fmla="*/ 298 w 298"/>
                    <a:gd name="T17" fmla="*/ 75 h 299"/>
                    <a:gd name="T18" fmla="*/ 288 w 298"/>
                    <a:gd name="T19" fmla="*/ 288 h 299"/>
                    <a:gd name="T20" fmla="*/ 21 w 298"/>
                    <a:gd name="T21" fmla="*/ 299 h 299"/>
                    <a:gd name="T22" fmla="*/ 10 w 298"/>
                    <a:gd name="T23" fmla="*/ 86 h 299"/>
                    <a:gd name="T24" fmla="*/ 10 w 298"/>
                    <a:gd name="T25" fmla="*/ 64 h 299"/>
                    <a:gd name="T26" fmla="*/ 74 w 298"/>
                    <a:gd name="T27" fmla="*/ 11 h 299"/>
                    <a:gd name="T28" fmla="*/ 213 w 298"/>
                    <a:gd name="T29" fmla="*/ 0 h 299"/>
                    <a:gd name="T30" fmla="*/ 224 w 298"/>
                    <a:gd name="T31" fmla="*/ 64 h 299"/>
                    <a:gd name="T32" fmla="*/ 298 w 298"/>
                    <a:gd name="T33" fmla="*/ 75 h 299"/>
                    <a:gd name="T34" fmla="*/ 160 w 298"/>
                    <a:gd name="T35" fmla="*/ 278 h 299"/>
                    <a:gd name="T36" fmla="*/ 181 w 298"/>
                    <a:gd name="T37" fmla="*/ 214 h 299"/>
                    <a:gd name="T38" fmla="*/ 138 w 298"/>
                    <a:gd name="T39" fmla="*/ 214 h 299"/>
                    <a:gd name="T40" fmla="*/ 117 w 298"/>
                    <a:gd name="T41" fmla="*/ 278 h 299"/>
                    <a:gd name="T42" fmla="*/ 138 w 298"/>
                    <a:gd name="T43" fmla="*/ 214 h 299"/>
                    <a:gd name="T44" fmla="*/ 213 w 298"/>
                    <a:gd name="T45" fmla="*/ 86 h 299"/>
                    <a:gd name="T46" fmla="*/ 202 w 298"/>
                    <a:gd name="T47" fmla="*/ 22 h 299"/>
                    <a:gd name="T48" fmla="*/ 96 w 298"/>
                    <a:gd name="T49" fmla="*/ 75 h 299"/>
                    <a:gd name="T50" fmla="*/ 32 w 298"/>
                    <a:gd name="T51" fmla="*/ 86 h 299"/>
                    <a:gd name="T52" fmla="*/ 96 w 298"/>
                    <a:gd name="T53" fmla="*/ 278 h 299"/>
                    <a:gd name="T54" fmla="*/ 106 w 298"/>
                    <a:gd name="T55" fmla="*/ 192 h 299"/>
                    <a:gd name="T56" fmla="*/ 202 w 298"/>
                    <a:gd name="T57" fmla="*/ 203 h 299"/>
                    <a:gd name="T58" fmla="*/ 266 w 298"/>
                    <a:gd name="T59" fmla="*/ 278 h 299"/>
                    <a:gd name="T60" fmla="*/ 64 w 298"/>
                    <a:gd name="T61" fmla="*/ 107 h 299"/>
                    <a:gd name="T62" fmla="*/ 64 w 298"/>
                    <a:gd name="T63" fmla="*/ 128 h 299"/>
                    <a:gd name="T64" fmla="*/ 64 w 298"/>
                    <a:gd name="T65" fmla="*/ 107 h 299"/>
                    <a:gd name="T66" fmla="*/ 53 w 298"/>
                    <a:gd name="T67" fmla="*/ 160 h 299"/>
                    <a:gd name="T68" fmla="*/ 74 w 298"/>
                    <a:gd name="T69" fmla="*/ 160 h 299"/>
                    <a:gd name="T70" fmla="*/ 106 w 298"/>
                    <a:gd name="T71" fmla="*/ 150 h 299"/>
                    <a:gd name="T72" fmla="*/ 106 w 298"/>
                    <a:gd name="T73" fmla="*/ 171 h 299"/>
                    <a:gd name="T74" fmla="*/ 106 w 298"/>
                    <a:gd name="T75" fmla="*/ 150 h 299"/>
                    <a:gd name="T76" fmla="*/ 96 w 298"/>
                    <a:gd name="T77" fmla="*/ 118 h 299"/>
                    <a:gd name="T78" fmla="*/ 117 w 298"/>
                    <a:gd name="T79" fmla="*/ 118 h 299"/>
                    <a:gd name="T80" fmla="*/ 149 w 298"/>
                    <a:gd name="T81" fmla="*/ 150 h 299"/>
                    <a:gd name="T82" fmla="*/ 149 w 298"/>
                    <a:gd name="T83" fmla="*/ 171 h 299"/>
                    <a:gd name="T84" fmla="*/ 149 w 298"/>
                    <a:gd name="T85" fmla="*/ 150 h 299"/>
                    <a:gd name="T86" fmla="*/ 181 w 298"/>
                    <a:gd name="T87" fmla="*/ 160 h 299"/>
                    <a:gd name="T88" fmla="*/ 202 w 298"/>
                    <a:gd name="T89" fmla="*/ 160 h 299"/>
                    <a:gd name="T90" fmla="*/ 192 w 298"/>
                    <a:gd name="T91" fmla="*/ 107 h 299"/>
                    <a:gd name="T92" fmla="*/ 192 w 298"/>
                    <a:gd name="T93" fmla="*/ 128 h 299"/>
                    <a:gd name="T94" fmla="*/ 192 w 298"/>
                    <a:gd name="T95" fmla="*/ 107 h 299"/>
                    <a:gd name="T96" fmla="*/ 53 w 298"/>
                    <a:gd name="T97" fmla="*/ 203 h 299"/>
                    <a:gd name="T98" fmla="*/ 74 w 298"/>
                    <a:gd name="T99" fmla="*/ 203 h 299"/>
                    <a:gd name="T100" fmla="*/ 64 w 298"/>
                    <a:gd name="T101" fmla="*/ 235 h 299"/>
                    <a:gd name="T102" fmla="*/ 64 w 298"/>
                    <a:gd name="T103" fmla="*/ 256 h 299"/>
                    <a:gd name="T104" fmla="*/ 64 w 298"/>
                    <a:gd name="T105" fmla="*/ 235 h 299"/>
                    <a:gd name="T106" fmla="*/ 245 w 298"/>
                    <a:gd name="T107" fmla="*/ 118 h 299"/>
                    <a:gd name="T108" fmla="*/ 224 w 298"/>
                    <a:gd name="T109" fmla="*/ 118 h 299"/>
                    <a:gd name="T110" fmla="*/ 234 w 298"/>
                    <a:gd name="T111" fmla="*/ 171 h 299"/>
                    <a:gd name="T112" fmla="*/ 234 w 298"/>
                    <a:gd name="T113" fmla="*/ 150 h 299"/>
                    <a:gd name="T114" fmla="*/ 234 w 298"/>
                    <a:gd name="T115" fmla="*/ 171 h 299"/>
                    <a:gd name="T116" fmla="*/ 245 w 298"/>
                    <a:gd name="T117" fmla="*/ 203 h 299"/>
                    <a:gd name="T118" fmla="*/ 224 w 298"/>
                    <a:gd name="T119" fmla="*/ 203 h 299"/>
                    <a:gd name="T120" fmla="*/ 234 w 298"/>
                    <a:gd name="T121" fmla="*/ 256 h 299"/>
                    <a:gd name="T122" fmla="*/ 234 w 298"/>
                    <a:gd name="T123" fmla="*/ 235 h 299"/>
                    <a:gd name="T124" fmla="*/ 234 w 298"/>
                    <a:gd name="T125" fmla="*/ 256 h 2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98" h="299">
                      <a:moveTo>
                        <a:pt x="181" y="75"/>
                      </a:moveTo>
                      <a:cubicBezTo>
                        <a:pt x="181" y="81"/>
                        <a:pt x="176" y="86"/>
                        <a:pt x="170" y="86"/>
                      </a:cubicBezTo>
                      <a:cubicBezTo>
                        <a:pt x="160" y="86"/>
                        <a:pt x="160" y="86"/>
                        <a:pt x="160" y="86"/>
                      </a:cubicBezTo>
                      <a:cubicBezTo>
                        <a:pt x="160" y="96"/>
                        <a:pt x="160" y="96"/>
                        <a:pt x="160" y="96"/>
                      </a:cubicBezTo>
                      <a:cubicBezTo>
                        <a:pt x="160" y="102"/>
                        <a:pt x="155" y="107"/>
                        <a:pt x="149" y="107"/>
                      </a:cubicBezTo>
                      <a:cubicBezTo>
                        <a:pt x="143" y="107"/>
                        <a:pt x="138" y="102"/>
                        <a:pt x="138" y="96"/>
                      </a:cubicBezTo>
                      <a:cubicBezTo>
                        <a:pt x="138" y="86"/>
                        <a:pt x="138" y="86"/>
                        <a:pt x="138" y="86"/>
                      </a:cubicBezTo>
                      <a:cubicBezTo>
                        <a:pt x="128" y="86"/>
                        <a:pt x="128" y="86"/>
                        <a:pt x="128" y="86"/>
                      </a:cubicBezTo>
                      <a:cubicBezTo>
                        <a:pt x="122" y="86"/>
                        <a:pt x="117" y="81"/>
                        <a:pt x="117" y="75"/>
                      </a:cubicBezTo>
                      <a:cubicBezTo>
                        <a:pt x="117" y="69"/>
                        <a:pt x="122" y="64"/>
                        <a:pt x="128" y="64"/>
                      </a:cubicBezTo>
                      <a:cubicBezTo>
                        <a:pt x="138" y="64"/>
                        <a:pt x="138" y="64"/>
                        <a:pt x="138" y="64"/>
                      </a:cubicBezTo>
                      <a:cubicBezTo>
                        <a:pt x="138" y="54"/>
                        <a:pt x="138" y="54"/>
                        <a:pt x="138" y="54"/>
                      </a:cubicBezTo>
                      <a:cubicBezTo>
                        <a:pt x="138" y="48"/>
                        <a:pt x="143" y="43"/>
                        <a:pt x="149" y="43"/>
                      </a:cubicBezTo>
                      <a:cubicBezTo>
                        <a:pt x="155" y="43"/>
                        <a:pt x="160" y="48"/>
                        <a:pt x="160" y="54"/>
                      </a:cubicBezTo>
                      <a:cubicBezTo>
                        <a:pt x="160" y="64"/>
                        <a:pt x="160" y="64"/>
                        <a:pt x="160" y="64"/>
                      </a:cubicBezTo>
                      <a:cubicBezTo>
                        <a:pt x="170" y="64"/>
                        <a:pt x="170" y="64"/>
                        <a:pt x="170" y="64"/>
                      </a:cubicBezTo>
                      <a:cubicBezTo>
                        <a:pt x="176" y="64"/>
                        <a:pt x="181" y="69"/>
                        <a:pt x="181" y="75"/>
                      </a:cubicBezTo>
                      <a:close/>
                      <a:moveTo>
                        <a:pt x="298" y="75"/>
                      </a:moveTo>
                      <a:cubicBezTo>
                        <a:pt x="298" y="81"/>
                        <a:pt x="294" y="86"/>
                        <a:pt x="288" y="86"/>
                      </a:cubicBezTo>
                      <a:cubicBezTo>
                        <a:pt x="288" y="288"/>
                        <a:pt x="288" y="288"/>
                        <a:pt x="288" y="288"/>
                      </a:cubicBezTo>
                      <a:cubicBezTo>
                        <a:pt x="288" y="294"/>
                        <a:pt x="283" y="299"/>
                        <a:pt x="277" y="299"/>
                      </a:cubicBezTo>
                      <a:cubicBezTo>
                        <a:pt x="21" y="299"/>
                        <a:pt x="21" y="299"/>
                        <a:pt x="21" y="299"/>
                      </a:cubicBezTo>
                      <a:cubicBezTo>
                        <a:pt x="15" y="299"/>
                        <a:pt x="10" y="294"/>
                        <a:pt x="10" y="288"/>
                      </a:cubicBezTo>
                      <a:cubicBezTo>
                        <a:pt x="10" y="86"/>
                        <a:pt x="10" y="86"/>
                        <a:pt x="10" y="86"/>
                      </a:cubicBezTo>
                      <a:cubicBezTo>
                        <a:pt x="4" y="86"/>
                        <a:pt x="0" y="81"/>
                        <a:pt x="0" y="75"/>
                      </a:cubicBezTo>
                      <a:cubicBezTo>
                        <a:pt x="0" y="69"/>
                        <a:pt x="4" y="64"/>
                        <a:pt x="10" y="64"/>
                      </a:cubicBezTo>
                      <a:cubicBezTo>
                        <a:pt x="74" y="64"/>
                        <a:pt x="74" y="64"/>
                        <a:pt x="74" y="64"/>
                      </a:cubicBezTo>
                      <a:cubicBezTo>
                        <a:pt x="74" y="11"/>
                        <a:pt x="74" y="11"/>
                        <a:pt x="74" y="11"/>
                      </a:cubicBezTo>
                      <a:cubicBezTo>
                        <a:pt x="74" y="5"/>
                        <a:pt x="79" y="0"/>
                        <a:pt x="85" y="0"/>
                      </a:cubicBezTo>
                      <a:cubicBezTo>
                        <a:pt x="213" y="0"/>
                        <a:pt x="213" y="0"/>
                        <a:pt x="213" y="0"/>
                      </a:cubicBezTo>
                      <a:cubicBezTo>
                        <a:pt x="219" y="0"/>
                        <a:pt x="224" y="5"/>
                        <a:pt x="224" y="11"/>
                      </a:cubicBezTo>
                      <a:cubicBezTo>
                        <a:pt x="224" y="64"/>
                        <a:pt x="224" y="64"/>
                        <a:pt x="224" y="64"/>
                      </a:cubicBezTo>
                      <a:cubicBezTo>
                        <a:pt x="288" y="64"/>
                        <a:pt x="288" y="64"/>
                        <a:pt x="288" y="64"/>
                      </a:cubicBezTo>
                      <a:cubicBezTo>
                        <a:pt x="294" y="64"/>
                        <a:pt x="298" y="69"/>
                        <a:pt x="298" y="75"/>
                      </a:cubicBezTo>
                      <a:close/>
                      <a:moveTo>
                        <a:pt x="160" y="214"/>
                      </a:moveTo>
                      <a:cubicBezTo>
                        <a:pt x="160" y="278"/>
                        <a:pt x="160" y="278"/>
                        <a:pt x="160" y="278"/>
                      </a:cubicBezTo>
                      <a:cubicBezTo>
                        <a:pt x="181" y="278"/>
                        <a:pt x="181" y="278"/>
                        <a:pt x="181" y="278"/>
                      </a:cubicBezTo>
                      <a:cubicBezTo>
                        <a:pt x="181" y="214"/>
                        <a:pt x="181" y="214"/>
                        <a:pt x="181" y="214"/>
                      </a:cubicBezTo>
                      <a:lnTo>
                        <a:pt x="160" y="214"/>
                      </a:lnTo>
                      <a:close/>
                      <a:moveTo>
                        <a:pt x="138" y="214"/>
                      </a:moveTo>
                      <a:cubicBezTo>
                        <a:pt x="117" y="214"/>
                        <a:pt x="117" y="214"/>
                        <a:pt x="117" y="214"/>
                      </a:cubicBezTo>
                      <a:cubicBezTo>
                        <a:pt x="117" y="278"/>
                        <a:pt x="117" y="278"/>
                        <a:pt x="117" y="278"/>
                      </a:cubicBezTo>
                      <a:cubicBezTo>
                        <a:pt x="138" y="278"/>
                        <a:pt x="138" y="278"/>
                        <a:pt x="138" y="278"/>
                      </a:cubicBezTo>
                      <a:lnTo>
                        <a:pt x="138" y="214"/>
                      </a:lnTo>
                      <a:close/>
                      <a:moveTo>
                        <a:pt x="266" y="86"/>
                      </a:moveTo>
                      <a:cubicBezTo>
                        <a:pt x="213" y="86"/>
                        <a:pt x="213" y="86"/>
                        <a:pt x="213" y="86"/>
                      </a:cubicBezTo>
                      <a:cubicBezTo>
                        <a:pt x="207" y="86"/>
                        <a:pt x="202" y="81"/>
                        <a:pt x="202" y="75"/>
                      </a:cubicBezTo>
                      <a:cubicBezTo>
                        <a:pt x="202" y="22"/>
                        <a:pt x="202" y="22"/>
                        <a:pt x="202" y="22"/>
                      </a:cubicBezTo>
                      <a:cubicBezTo>
                        <a:pt x="96" y="22"/>
                        <a:pt x="96" y="22"/>
                        <a:pt x="96" y="22"/>
                      </a:cubicBezTo>
                      <a:cubicBezTo>
                        <a:pt x="96" y="75"/>
                        <a:pt x="96" y="75"/>
                        <a:pt x="96" y="75"/>
                      </a:cubicBezTo>
                      <a:cubicBezTo>
                        <a:pt x="96" y="81"/>
                        <a:pt x="91" y="86"/>
                        <a:pt x="85" y="86"/>
                      </a:cubicBezTo>
                      <a:cubicBezTo>
                        <a:pt x="32" y="86"/>
                        <a:pt x="32" y="86"/>
                        <a:pt x="32" y="86"/>
                      </a:cubicBezTo>
                      <a:cubicBezTo>
                        <a:pt x="32" y="278"/>
                        <a:pt x="32" y="278"/>
                        <a:pt x="32" y="278"/>
                      </a:cubicBezTo>
                      <a:cubicBezTo>
                        <a:pt x="96" y="278"/>
                        <a:pt x="96" y="278"/>
                        <a:pt x="96" y="278"/>
                      </a:cubicBezTo>
                      <a:cubicBezTo>
                        <a:pt x="96" y="203"/>
                        <a:pt x="96" y="203"/>
                        <a:pt x="96" y="203"/>
                      </a:cubicBezTo>
                      <a:cubicBezTo>
                        <a:pt x="96" y="197"/>
                        <a:pt x="100" y="192"/>
                        <a:pt x="106" y="192"/>
                      </a:cubicBezTo>
                      <a:cubicBezTo>
                        <a:pt x="192" y="192"/>
                        <a:pt x="192" y="192"/>
                        <a:pt x="192" y="192"/>
                      </a:cubicBezTo>
                      <a:cubicBezTo>
                        <a:pt x="198" y="192"/>
                        <a:pt x="202" y="197"/>
                        <a:pt x="202" y="203"/>
                      </a:cubicBezTo>
                      <a:cubicBezTo>
                        <a:pt x="202" y="278"/>
                        <a:pt x="202" y="278"/>
                        <a:pt x="202" y="278"/>
                      </a:cubicBezTo>
                      <a:cubicBezTo>
                        <a:pt x="266" y="278"/>
                        <a:pt x="266" y="278"/>
                        <a:pt x="266" y="278"/>
                      </a:cubicBezTo>
                      <a:lnTo>
                        <a:pt x="266" y="86"/>
                      </a:lnTo>
                      <a:close/>
                      <a:moveTo>
                        <a:pt x="64" y="107"/>
                      </a:moveTo>
                      <a:cubicBezTo>
                        <a:pt x="58" y="107"/>
                        <a:pt x="53" y="112"/>
                        <a:pt x="53" y="118"/>
                      </a:cubicBezTo>
                      <a:cubicBezTo>
                        <a:pt x="53" y="124"/>
                        <a:pt x="58" y="128"/>
                        <a:pt x="64" y="128"/>
                      </a:cubicBezTo>
                      <a:cubicBezTo>
                        <a:pt x="70" y="128"/>
                        <a:pt x="74" y="124"/>
                        <a:pt x="74" y="118"/>
                      </a:cubicBezTo>
                      <a:cubicBezTo>
                        <a:pt x="74" y="112"/>
                        <a:pt x="70" y="107"/>
                        <a:pt x="64" y="107"/>
                      </a:cubicBezTo>
                      <a:close/>
                      <a:moveTo>
                        <a:pt x="64" y="150"/>
                      </a:moveTo>
                      <a:cubicBezTo>
                        <a:pt x="58" y="150"/>
                        <a:pt x="53" y="154"/>
                        <a:pt x="53" y="160"/>
                      </a:cubicBezTo>
                      <a:cubicBezTo>
                        <a:pt x="53" y="166"/>
                        <a:pt x="58" y="171"/>
                        <a:pt x="64" y="171"/>
                      </a:cubicBezTo>
                      <a:cubicBezTo>
                        <a:pt x="70" y="171"/>
                        <a:pt x="74" y="166"/>
                        <a:pt x="74" y="160"/>
                      </a:cubicBezTo>
                      <a:cubicBezTo>
                        <a:pt x="74" y="154"/>
                        <a:pt x="70" y="150"/>
                        <a:pt x="64" y="150"/>
                      </a:cubicBezTo>
                      <a:close/>
                      <a:moveTo>
                        <a:pt x="106" y="150"/>
                      </a:moveTo>
                      <a:cubicBezTo>
                        <a:pt x="100" y="150"/>
                        <a:pt x="96" y="154"/>
                        <a:pt x="96" y="160"/>
                      </a:cubicBezTo>
                      <a:cubicBezTo>
                        <a:pt x="96" y="166"/>
                        <a:pt x="100" y="171"/>
                        <a:pt x="106" y="171"/>
                      </a:cubicBezTo>
                      <a:cubicBezTo>
                        <a:pt x="112" y="171"/>
                        <a:pt x="117" y="166"/>
                        <a:pt x="117" y="160"/>
                      </a:cubicBezTo>
                      <a:cubicBezTo>
                        <a:pt x="117" y="154"/>
                        <a:pt x="112" y="150"/>
                        <a:pt x="106" y="150"/>
                      </a:cubicBezTo>
                      <a:close/>
                      <a:moveTo>
                        <a:pt x="106" y="107"/>
                      </a:moveTo>
                      <a:cubicBezTo>
                        <a:pt x="100" y="107"/>
                        <a:pt x="96" y="112"/>
                        <a:pt x="96" y="118"/>
                      </a:cubicBezTo>
                      <a:cubicBezTo>
                        <a:pt x="96" y="124"/>
                        <a:pt x="100" y="128"/>
                        <a:pt x="106" y="128"/>
                      </a:cubicBezTo>
                      <a:cubicBezTo>
                        <a:pt x="112" y="128"/>
                        <a:pt x="117" y="124"/>
                        <a:pt x="117" y="118"/>
                      </a:cubicBezTo>
                      <a:cubicBezTo>
                        <a:pt x="117" y="112"/>
                        <a:pt x="112" y="107"/>
                        <a:pt x="106" y="107"/>
                      </a:cubicBezTo>
                      <a:close/>
                      <a:moveTo>
                        <a:pt x="149" y="150"/>
                      </a:moveTo>
                      <a:cubicBezTo>
                        <a:pt x="143" y="150"/>
                        <a:pt x="138" y="154"/>
                        <a:pt x="138" y="160"/>
                      </a:cubicBezTo>
                      <a:cubicBezTo>
                        <a:pt x="138" y="166"/>
                        <a:pt x="143" y="171"/>
                        <a:pt x="149" y="171"/>
                      </a:cubicBezTo>
                      <a:cubicBezTo>
                        <a:pt x="155" y="171"/>
                        <a:pt x="160" y="166"/>
                        <a:pt x="160" y="160"/>
                      </a:cubicBezTo>
                      <a:cubicBezTo>
                        <a:pt x="160" y="154"/>
                        <a:pt x="155" y="150"/>
                        <a:pt x="149" y="150"/>
                      </a:cubicBezTo>
                      <a:close/>
                      <a:moveTo>
                        <a:pt x="192" y="150"/>
                      </a:moveTo>
                      <a:cubicBezTo>
                        <a:pt x="186" y="150"/>
                        <a:pt x="181" y="154"/>
                        <a:pt x="181" y="160"/>
                      </a:cubicBezTo>
                      <a:cubicBezTo>
                        <a:pt x="181" y="166"/>
                        <a:pt x="186" y="171"/>
                        <a:pt x="192" y="171"/>
                      </a:cubicBezTo>
                      <a:cubicBezTo>
                        <a:pt x="198" y="171"/>
                        <a:pt x="202" y="166"/>
                        <a:pt x="202" y="160"/>
                      </a:cubicBezTo>
                      <a:cubicBezTo>
                        <a:pt x="202" y="154"/>
                        <a:pt x="198" y="150"/>
                        <a:pt x="192" y="150"/>
                      </a:cubicBezTo>
                      <a:close/>
                      <a:moveTo>
                        <a:pt x="192" y="107"/>
                      </a:moveTo>
                      <a:cubicBezTo>
                        <a:pt x="186" y="107"/>
                        <a:pt x="181" y="112"/>
                        <a:pt x="181" y="118"/>
                      </a:cubicBezTo>
                      <a:cubicBezTo>
                        <a:pt x="181" y="124"/>
                        <a:pt x="186" y="128"/>
                        <a:pt x="192" y="128"/>
                      </a:cubicBezTo>
                      <a:cubicBezTo>
                        <a:pt x="198" y="128"/>
                        <a:pt x="202" y="124"/>
                        <a:pt x="202" y="118"/>
                      </a:cubicBezTo>
                      <a:cubicBezTo>
                        <a:pt x="202" y="112"/>
                        <a:pt x="198" y="107"/>
                        <a:pt x="192" y="107"/>
                      </a:cubicBezTo>
                      <a:close/>
                      <a:moveTo>
                        <a:pt x="64" y="192"/>
                      </a:moveTo>
                      <a:cubicBezTo>
                        <a:pt x="58" y="192"/>
                        <a:pt x="53" y="197"/>
                        <a:pt x="53" y="203"/>
                      </a:cubicBezTo>
                      <a:cubicBezTo>
                        <a:pt x="53" y="209"/>
                        <a:pt x="58" y="214"/>
                        <a:pt x="64" y="214"/>
                      </a:cubicBezTo>
                      <a:cubicBezTo>
                        <a:pt x="70" y="214"/>
                        <a:pt x="74" y="209"/>
                        <a:pt x="74" y="203"/>
                      </a:cubicBezTo>
                      <a:cubicBezTo>
                        <a:pt x="74" y="197"/>
                        <a:pt x="70" y="192"/>
                        <a:pt x="64" y="192"/>
                      </a:cubicBezTo>
                      <a:close/>
                      <a:moveTo>
                        <a:pt x="64" y="235"/>
                      </a:moveTo>
                      <a:cubicBezTo>
                        <a:pt x="58" y="235"/>
                        <a:pt x="53" y="240"/>
                        <a:pt x="53" y="246"/>
                      </a:cubicBezTo>
                      <a:cubicBezTo>
                        <a:pt x="53" y="252"/>
                        <a:pt x="58" y="256"/>
                        <a:pt x="64" y="256"/>
                      </a:cubicBezTo>
                      <a:cubicBezTo>
                        <a:pt x="70" y="256"/>
                        <a:pt x="74" y="252"/>
                        <a:pt x="74" y="246"/>
                      </a:cubicBezTo>
                      <a:cubicBezTo>
                        <a:pt x="74" y="240"/>
                        <a:pt x="70" y="235"/>
                        <a:pt x="64" y="235"/>
                      </a:cubicBezTo>
                      <a:close/>
                      <a:moveTo>
                        <a:pt x="234" y="128"/>
                      </a:moveTo>
                      <a:cubicBezTo>
                        <a:pt x="240" y="128"/>
                        <a:pt x="245" y="124"/>
                        <a:pt x="245" y="118"/>
                      </a:cubicBezTo>
                      <a:cubicBezTo>
                        <a:pt x="245" y="112"/>
                        <a:pt x="240" y="107"/>
                        <a:pt x="234" y="107"/>
                      </a:cubicBezTo>
                      <a:cubicBezTo>
                        <a:pt x="228" y="107"/>
                        <a:pt x="224" y="112"/>
                        <a:pt x="224" y="118"/>
                      </a:cubicBezTo>
                      <a:cubicBezTo>
                        <a:pt x="224" y="124"/>
                        <a:pt x="228" y="128"/>
                        <a:pt x="234" y="128"/>
                      </a:cubicBezTo>
                      <a:close/>
                      <a:moveTo>
                        <a:pt x="234" y="171"/>
                      </a:moveTo>
                      <a:cubicBezTo>
                        <a:pt x="240" y="171"/>
                        <a:pt x="245" y="166"/>
                        <a:pt x="245" y="160"/>
                      </a:cubicBezTo>
                      <a:cubicBezTo>
                        <a:pt x="245" y="154"/>
                        <a:pt x="240" y="150"/>
                        <a:pt x="234" y="150"/>
                      </a:cubicBezTo>
                      <a:cubicBezTo>
                        <a:pt x="228" y="150"/>
                        <a:pt x="224" y="154"/>
                        <a:pt x="224" y="160"/>
                      </a:cubicBezTo>
                      <a:cubicBezTo>
                        <a:pt x="224" y="166"/>
                        <a:pt x="228" y="171"/>
                        <a:pt x="234" y="171"/>
                      </a:cubicBezTo>
                      <a:close/>
                      <a:moveTo>
                        <a:pt x="234" y="214"/>
                      </a:moveTo>
                      <a:cubicBezTo>
                        <a:pt x="240" y="214"/>
                        <a:pt x="245" y="209"/>
                        <a:pt x="245" y="203"/>
                      </a:cubicBezTo>
                      <a:cubicBezTo>
                        <a:pt x="245" y="197"/>
                        <a:pt x="240" y="192"/>
                        <a:pt x="234" y="192"/>
                      </a:cubicBezTo>
                      <a:cubicBezTo>
                        <a:pt x="228" y="192"/>
                        <a:pt x="224" y="197"/>
                        <a:pt x="224" y="203"/>
                      </a:cubicBezTo>
                      <a:cubicBezTo>
                        <a:pt x="224" y="209"/>
                        <a:pt x="228" y="214"/>
                        <a:pt x="234" y="214"/>
                      </a:cubicBezTo>
                      <a:close/>
                      <a:moveTo>
                        <a:pt x="234" y="256"/>
                      </a:moveTo>
                      <a:cubicBezTo>
                        <a:pt x="240" y="256"/>
                        <a:pt x="245" y="252"/>
                        <a:pt x="245" y="246"/>
                      </a:cubicBezTo>
                      <a:cubicBezTo>
                        <a:pt x="245" y="240"/>
                        <a:pt x="240" y="235"/>
                        <a:pt x="234" y="235"/>
                      </a:cubicBezTo>
                      <a:cubicBezTo>
                        <a:pt x="228" y="235"/>
                        <a:pt x="224" y="240"/>
                        <a:pt x="224" y="246"/>
                      </a:cubicBezTo>
                      <a:cubicBezTo>
                        <a:pt x="224" y="252"/>
                        <a:pt x="228" y="256"/>
                        <a:pt x="234" y="25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317" name="TextBox 316"/>
          <p:cNvSpPr txBox="1"/>
          <p:nvPr/>
        </p:nvSpPr>
        <p:spPr>
          <a:xfrm>
            <a:off x="3041214" y="4646902"/>
            <a:ext cx="78833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BL</a:t>
            </a:r>
          </a:p>
        </p:txBody>
      </p:sp>
      <p:sp>
        <p:nvSpPr>
          <p:cNvPr id="318" name="Rounded Rectangle 317"/>
          <p:cNvSpPr/>
          <p:nvPr/>
        </p:nvSpPr>
        <p:spPr bwMode="auto">
          <a:xfrm>
            <a:off x="2182975" y="4552376"/>
            <a:ext cx="1459877" cy="393987"/>
          </a:xfrm>
          <a:prstGeom prst="roundRect">
            <a:avLst/>
          </a:prstGeom>
          <a:noFill/>
          <a:ln w="19050">
            <a:solidFill>
              <a:schemeClr val="accent3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72000" rtlCol="0" anchor="t" anchorCtr="1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1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19" name="Group 318"/>
          <p:cNvGrpSpPr>
            <a:grpSpLocks noChangeAspect="1"/>
          </p:cNvGrpSpPr>
          <p:nvPr/>
        </p:nvGrpSpPr>
        <p:grpSpPr bwMode="auto">
          <a:xfrm>
            <a:off x="2964019" y="4616427"/>
            <a:ext cx="252000" cy="252000"/>
            <a:chOff x="3852" y="1696"/>
            <a:chExt cx="340" cy="340"/>
          </a:xfrm>
          <a:solidFill>
            <a:schemeClr val="accent5"/>
          </a:solidFill>
        </p:grpSpPr>
        <p:sp>
          <p:nvSpPr>
            <p:cNvPr id="399" name="Freeform 236"/>
            <p:cNvSpPr>
              <a:spLocks/>
            </p:cNvSpPr>
            <p:nvPr/>
          </p:nvSpPr>
          <p:spPr bwMode="auto">
            <a:xfrm>
              <a:off x="3916" y="1802"/>
              <a:ext cx="212" cy="128"/>
            </a:xfrm>
            <a:custGeom>
              <a:avLst/>
              <a:gdLst>
                <a:gd name="T0" fmla="*/ 319 w 320"/>
                <a:gd name="T1" fmla="*/ 101 h 193"/>
                <a:gd name="T2" fmla="*/ 319 w 320"/>
                <a:gd name="T3" fmla="*/ 93 h 193"/>
                <a:gd name="T4" fmla="*/ 317 w 320"/>
                <a:gd name="T5" fmla="*/ 89 h 193"/>
                <a:gd name="T6" fmla="*/ 231 w 320"/>
                <a:gd name="T7" fmla="*/ 4 h 193"/>
                <a:gd name="T8" fmla="*/ 216 w 320"/>
                <a:gd name="T9" fmla="*/ 4 h 193"/>
                <a:gd name="T10" fmla="*/ 216 w 320"/>
                <a:gd name="T11" fmla="*/ 19 h 193"/>
                <a:gd name="T12" fmla="*/ 283 w 320"/>
                <a:gd name="T13" fmla="*/ 86 h 193"/>
                <a:gd name="T14" fmla="*/ 10 w 320"/>
                <a:gd name="T15" fmla="*/ 86 h 193"/>
                <a:gd name="T16" fmla="*/ 0 w 320"/>
                <a:gd name="T17" fmla="*/ 97 h 193"/>
                <a:gd name="T18" fmla="*/ 10 w 320"/>
                <a:gd name="T19" fmla="*/ 107 h 193"/>
                <a:gd name="T20" fmla="*/ 283 w 320"/>
                <a:gd name="T21" fmla="*/ 107 h 193"/>
                <a:gd name="T22" fmla="*/ 216 w 320"/>
                <a:gd name="T23" fmla="*/ 174 h 193"/>
                <a:gd name="T24" fmla="*/ 216 w 320"/>
                <a:gd name="T25" fmla="*/ 190 h 193"/>
                <a:gd name="T26" fmla="*/ 224 w 320"/>
                <a:gd name="T27" fmla="*/ 193 h 193"/>
                <a:gd name="T28" fmla="*/ 231 w 320"/>
                <a:gd name="T29" fmla="*/ 190 h 193"/>
                <a:gd name="T30" fmla="*/ 317 w 320"/>
                <a:gd name="T31" fmla="*/ 104 h 193"/>
                <a:gd name="T32" fmla="*/ 319 w 320"/>
                <a:gd name="T33" fmla="*/ 10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0" h="193">
                  <a:moveTo>
                    <a:pt x="319" y="101"/>
                  </a:moveTo>
                  <a:cubicBezTo>
                    <a:pt x="320" y="98"/>
                    <a:pt x="320" y="95"/>
                    <a:pt x="319" y="93"/>
                  </a:cubicBezTo>
                  <a:cubicBezTo>
                    <a:pt x="318" y="91"/>
                    <a:pt x="318" y="90"/>
                    <a:pt x="317" y="89"/>
                  </a:cubicBezTo>
                  <a:cubicBezTo>
                    <a:pt x="231" y="4"/>
                    <a:pt x="231" y="4"/>
                    <a:pt x="231" y="4"/>
                  </a:cubicBezTo>
                  <a:cubicBezTo>
                    <a:pt x="227" y="0"/>
                    <a:pt x="220" y="0"/>
                    <a:pt x="216" y="4"/>
                  </a:cubicBezTo>
                  <a:cubicBezTo>
                    <a:pt x="212" y="8"/>
                    <a:pt x="212" y="15"/>
                    <a:pt x="216" y="19"/>
                  </a:cubicBezTo>
                  <a:cubicBezTo>
                    <a:pt x="283" y="86"/>
                    <a:pt x="283" y="86"/>
                    <a:pt x="283" y="86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4" y="86"/>
                    <a:pt x="0" y="91"/>
                    <a:pt x="0" y="97"/>
                  </a:cubicBezTo>
                  <a:cubicBezTo>
                    <a:pt x="0" y="103"/>
                    <a:pt x="4" y="107"/>
                    <a:pt x="10" y="107"/>
                  </a:cubicBezTo>
                  <a:cubicBezTo>
                    <a:pt x="283" y="107"/>
                    <a:pt x="283" y="107"/>
                    <a:pt x="283" y="107"/>
                  </a:cubicBezTo>
                  <a:cubicBezTo>
                    <a:pt x="216" y="174"/>
                    <a:pt x="216" y="174"/>
                    <a:pt x="216" y="174"/>
                  </a:cubicBezTo>
                  <a:cubicBezTo>
                    <a:pt x="212" y="179"/>
                    <a:pt x="212" y="185"/>
                    <a:pt x="216" y="190"/>
                  </a:cubicBezTo>
                  <a:cubicBezTo>
                    <a:pt x="218" y="192"/>
                    <a:pt x="221" y="193"/>
                    <a:pt x="224" y="193"/>
                  </a:cubicBezTo>
                  <a:cubicBezTo>
                    <a:pt x="226" y="193"/>
                    <a:pt x="229" y="192"/>
                    <a:pt x="231" y="190"/>
                  </a:cubicBezTo>
                  <a:cubicBezTo>
                    <a:pt x="317" y="104"/>
                    <a:pt x="317" y="104"/>
                    <a:pt x="317" y="104"/>
                  </a:cubicBezTo>
                  <a:cubicBezTo>
                    <a:pt x="318" y="103"/>
                    <a:pt x="318" y="102"/>
                    <a:pt x="319" y="101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0" name="Freeform 237"/>
            <p:cNvSpPr>
              <a:spLocks noEditPoints="1"/>
            </p:cNvSpPr>
            <p:nvPr/>
          </p:nvSpPr>
          <p:spPr bwMode="auto">
            <a:xfrm>
              <a:off x="3852" y="169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320" name="Picture 3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5599" y="3568665"/>
            <a:ext cx="1369196" cy="432000"/>
          </a:xfrm>
          <a:prstGeom prst="rect">
            <a:avLst/>
          </a:prstGeom>
          <a:ln>
            <a:solidFill>
              <a:srgbClr val="DE5D6E"/>
            </a:solidFill>
          </a:ln>
        </p:spPr>
      </p:pic>
      <p:sp>
        <p:nvSpPr>
          <p:cNvPr id="321" name="TextBox 320"/>
          <p:cNvSpPr txBox="1"/>
          <p:nvPr/>
        </p:nvSpPr>
        <p:spPr>
          <a:xfrm>
            <a:off x="2119299" y="3514496"/>
            <a:ext cx="906319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dine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XML, EDI,...)</a:t>
            </a:r>
          </a:p>
        </p:txBody>
      </p:sp>
      <p:sp>
        <p:nvSpPr>
          <p:cNvPr id="322" name="TextBox 321"/>
          <p:cNvSpPr txBox="1"/>
          <p:nvPr/>
        </p:nvSpPr>
        <p:spPr>
          <a:xfrm>
            <a:off x="3028602" y="3613603"/>
            <a:ext cx="78833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BL</a:t>
            </a:r>
          </a:p>
        </p:txBody>
      </p:sp>
      <p:sp>
        <p:nvSpPr>
          <p:cNvPr id="323" name="Rounded Rectangle 322"/>
          <p:cNvSpPr/>
          <p:nvPr/>
        </p:nvSpPr>
        <p:spPr bwMode="auto">
          <a:xfrm>
            <a:off x="2180110" y="3519077"/>
            <a:ext cx="1467384" cy="393987"/>
          </a:xfrm>
          <a:prstGeom prst="roundRect">
            <a:avLst/>
          </a:prstGeom>
          <a:noFill/>
          <a:ln w="19050">
            <a:solidFill>
              <a:schemeClr val="accent3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72000" rtlCol="0" anchor="t" anchorCtr="1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1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24" name="Group 323"/>
          <p:cNvGrpSpPr>
            <a:grpSpLocks noChangeAspect="1"/>
          </p:cNvGrpSpPr>
          <p:nvPr/>
        </p:nvGrpSpPr>
        <p:grpSpPr bwMode="auto">
          <a:xfrm flipH="1">
            <a:off x="2951407" y="3583128"/>
            <a:ext cx="252000" cy="252000"/>
            <a:chOff x="3852" y="1696"/>
            <a:chExt cx="340" cy="340"/>
          </a:xfrm>
          <a:solidFill>
            <a:schemeClr val="accent5"/>
          </a:solidFill>
        </p:grpSpPr>
        <p:sp>
          <p:nvSpPr>
            <p:cNvPr id="397" name="Freeform 236"/>
            <p:cNvSpPr>
              <a:spLocks/>
            </p:cNvSpPr>
            <p:nvPr/>
          </p:nvSpPr>
          <p:spPr bwMode="auto">
            <a:xfrm>
              <a:off x="3916" y="1802"/>
              <a:ext cx="212" cy="128"/>
            </a:xfrm>
            <a:custGeom>
              <a:avLst/>
              <a:gdLst>
                <a:gd name="T0" fmla="*/ 319 w 320"/>
                <a:gd name="T1" fmla="*/ 101 h 193"/>
                <a:gd name="T2" fmla="*/ 319 w 320"/>
                <a:gd name="T3" fmla="*/ 93 h 193"/>
                <a:gd name="T4" fmla="*/ 317 w 320"/>
                <a:gd name="T5" fmla="*/ 89 h 193"/>
                <a:gd name="T6" fmla="*/ 231 w 320"/>
                <a:gd name="T7" fmla="*/ 4 h 193"/>
                <a:gd name="T8" fmla="*/ 216 w 320"/>
                <a:gd name="T9" fmla="*/ 4 h 193"/>
                <a:gd name="T10" fmla="*/ 216 w 320"/>
                <a:gd name="T11" fmla="*/ 19 h 193"/>
                <a:gd name="T12" fmla="*/ 283 w 320"/>
                <a:gd name="T13" fmla="*/ 86 h 193"/>
                <a:gd name="T14" fmla="*/ 10 w 320"/>
                <a:gd name="T15" fmla="*/ 86 h 193"/>
                <a:gd name="T16" fmla="*/ 0 w 320"/>
                <a:gd name="T17" fmla="*/ 97 h 193"/>
                <a:gd name="T18" fmla="*/ 10 w 320"/>
                <a:gd name="T19" fmla="*/ 107 h 193"/>
                <a:gd name="T20" fmla="*/ 283 w 320"/>
                <a:gd name="T21" fmla="*/ 107 h 193"/>
                <a:gd name="T22" fmla="*/ 216 w 320"/>
                <a:gd name="T23" fmla="*/ 174 h 193"/>
                <a:gd name="T24" fmla="*/ 216 w 320"/>
                <a:gd name="T25" fmla="*/ 190 h 193"/>
                <a:gd name="T26" fmla="*/ 224 w 320"/>
                <a:gd name="T27" fmla="*/ 193 h 193"/>
                <a:gd name="T28" fmla="*/ 231 w 320"/>
                <a:gd name="T29" fmla="*/ 190 h 193"/>
                <a:gd name="T30" fmla="*/ 317 w 320"/>
                <a:gd name="T31" fmla="*/ 104 h 193"/>
                <a:gd name="T32" fmla="*/ 319 w 320"/>
                <a:gd name="T33" fmla="*/ 10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0" h="193">
                  <a:moveTo>
                    <a:pt x="319" y="101"/>
                  </a:moveTo>
                  <a:cubicBezTo>
                    <a:pt x="320" y="98"/>
                    <a:pt x="320" y="95"/>
                    <a:pt x="319" y="93"/>
                  </a:cubicBezTo>
                  <a:cubicBezTo>
                    <a:pt x="318" y="91"/>
                    <a:pt x="318" y="90"/>
                    <a:pt x="317" y="89"/>
                  </a:cubicBezTo>
                  <a:cubicBezTo>
                    <a:pt x="231" y="4"/>
                    <a:pt x="231" y="4"/>
                    <a:pt x="231" y="4"/>
                  </a:cubicBezTo>
                  <a:cubicBezTo>
                    <a:pt x="227" y="0"/>
                    <a:pt x="220" y="0"/>
                    <a:pt x="216" y="4"/>
                  </a:cubicBezTo>
                  <a:cubicBezTo>
                    <a:pt x="212" y="8"/>
                    <a:pt x="212" y="15"/>
                    <a:pt x="216" y="19"/>
                  </a:cubicBezTo>
                  <a:cubicBezTo>
                    <a:pt x="283" y="86"/>
                    <a:pt x="283" y="86"/>
                    <a:pt x="283" y="86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4" y="86"/>
                    <a:pt x="0" y="91"/>
                    <a:pt x="0" y="97"/>
                  </a:cubicBezTo>
                  <a:cubicBezTo>
                    <a:pt x="0" y="103"/>
                    <a:pt x="4" y="107"/>
                    <a:pt x="10" y="107"/>
                  </a:cubicBezTo>
                  <a:cubicBezTo>
                    <a:pt x="283" y="107"/>
                    <a:pt x="283" y="107"/>
                    <a:pt x="283" y="107"/>
                  </a:cubicBezTo>
                  <a:cubicBezTo>
                    <a:pt x="216" y="174"/>
                    <a:pt x="216" y="174"/>
                    <a:pt x="216" y="174"/>
                  </a:cubicBezTo>
                  <a:cubicBezTo>
                    <a:pt x="212" y="179"/>
                    <a:pt x="212" y="185"/>
                    <a:pt x="216" y="190"/>
                  </a:cubicBezTo>
                  <a:cubicBezTo>
                    <a:pt x="218" y="192"/>
                    <a:pt x="221" y="193"/>
                    <a:pt x="224" y="193"/>
                  </a:cubicBezTo>
                  <a:cubicBezTo>
                    <a:pt x="226" y="193"/>
                    <a:pt x="229" y="192"/>
                    <a:pt x="231" y="190"/>
                  </a:cubicBezTo>
                  <a:cubicBezTo>
                    <a:pt x="317" y="104"/>
                    <a:pt x="317" y="104"/>
                    <a:pt x="317" y="104"/>
                  </a:cubicBezTo>
                  <a:cubicBezTo>
                    <a:pt x="318" y="103"/>
                    <a:pt x="318" y="102"/>
                    <a:pt x="319" y="101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8" name="Freeform 237"/>
            <p:cNvSpPr>
              <a:spLocks noEditPoints="1"/>
            </p:cNvSpPr>
            <p:nvPr/>
          </p:nvSpPr>
          <p:spPr bwMode="auto">
            <a:xfrm>
              <a:off x="3852" y="169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25" name="TextBox 324"/>
          <p:cNvSpPr txBox="1"/>
          <p:nvPr/>
        </p:nvSpPr>
        <p:spPr>
          <a:xfrm>
            <a:off x="2533952" y="4144611"/>
            <a:ext cx="790601" cy="180000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none" lIns="36000" tIns="36000" rIns="36000" bIns="36000" rtlCol="0" anchor="ctr" anchorCtr="1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duttori</a:t>
            </a:r>
          </a:p>
        </p:txBody>
      </p:sp>
      <p:sp>
        <p:nvSpPr>
          <p:cNvPr id="326" name="TextBox 325"/>
          <p:cNvSpPr txBox="1"/>
          <p:nvPr/>
        </p:nvSpPr>
        <p:spPr>
          <a:xfrm>
            <a:off x="4985259" y="3128370"/>
            <a:ext cx="793361" cy="369332"/>
          </a:xfrm>
          <a:prstGeom prst="rect">
            <a:avLst/>
          </a:prstGeom>
          <a:noFill/>
        </p:spPr>
        <p:txBody>
          <a:bodyPr wrap="square" lIns="0" rIns="0" rtlCol="0" anchor="ctr" anchorCtr="1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900" dirty="0">
                <a:solidFill>
                  <a:srgbClr val="009900"/>
                </a:solidFill>
                <a:latin typeface="Arial" panose="020B0604020202020204" pitchFamily="34" charset="0"/>
                <a:cs typeface="+mn-cs"/>
              </a:rPr>
              <a:t>Fattura</a:t>
            </a:r>
            <a:r>
              <a:rPr kumimoji="0" lang="it-IT" sz="900" b="0" i="0" u="none" strike="noStrike" kern="1200" cap="none" spc="0" normalizeH="0" noProof="0" dirty="0">
                <a:ln>
                  <a:noFill/>
                </a:ln>
                <a:solidFill>
                  <a:srgbClr val="0099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900" dirty="0" err="1">
                <a:solidFill>
                  <a:srgbClr val="009900"/>
                </a:solidFill>
              </a:rPr>
              <a:t>FatturaPA</a:t>
            </a:r>
            <a:endParaRPr kumimoji="0" lang="it-IT" sz="900" b="0" i="0" u="none" strike="noStrike" kern="1200" cap="none" spc="0" normalizeH="0" baseline="0" noProof="0" dirty="0">
              <a:ln>
                <a:noFill/>
              </a:ln>
              <a:solidFill>
                <a:srgbClr val="0099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327" name="Straight Arrow Connector 326"/>
          <p:cNvCxnSpPr/>
          <p:nvPr/>
        </p:nvCxnSpPr>
        <p:spPr bwMode="auto">
          <a:xfrm flipH="1" flipV="1">
            <a:off x="1151770" y="3729785"/>
            <a:ext cx="922314" cy="1"/>
          </a:xfrm>
          <a:prstGeom prst="straightConnector1">
            <a:avLst/>
          </a:prstGeom>
          <a:solidFill>
            <a:srgbClr val="006600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sp>
        <p:nvSpPr>
          <p:cNvPr id="328" name="Oval 327"/>
          <p:cNvSpPr/>
          <p:nvPr/>
        </p:nvSpPr>
        <p:spPr bwMode="auto">
          <a:xfrm>
            <a:off x="1441263" y="3539597"/>
            <a:ext cx="367200" cy="3672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0099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29" name="Freeform 684"/>
          <p:cNvSpPr>
            <a:spLocks noEditPoints="1"/>
          </p:cNvSpPr>
          <p:nvPr/>
        </p:nvSpPr>
        <p:spPr bwMode="auto">
          <a:xfrm>
            <a:off x="1520470" y="3635267"/>
            <a:ext cx="232678" cy="185925"/>
          </a:xfrm>
          <a:custGeom>
            <a:avLst/>
            <a:gdLst>
              <a:gd name="T0" fmla="*/ 313 w 322"/>
              <a:gd name="T1" fmla="*/ 22 h 257"/>
              <a:gd name="T2" fmla="*/ 276 w 322"/>
              <a:gd name="T3" fmla="*/ 31 h 257"/>
              <a:gd name="T4" fmla="*/ 246 w 322"/>
              <a:gd name="T5" fmla="*/ 185 h 257"/>
              <a:gd name="T6" fmla="*/ 235 w 322"/>
              <a:gd name="T7" fmla="*/ 193 h 257"/>
              <a:gd name="T8" fmla="*/ 235 w 322"/>
              <a:gd name="T9" fmla="*/ 193 h 257"/>
              <a:gd name="T10" fmla="*/ 235 w 322"/>
              <a:gd name="T11" fmla="*/ 193 h 257"/>
              <a:gd name="T12" fmla="*/ 54 w 322"/>
              <a:gd name="T13" fmla="*/ 193 h 257"/>
              <a:gd name="T14" fmla="*/ 43 w 322"/>
              <a:gd name="T15" fmla="*/ 183 h 257"/>
              <a:gd name="T16" fmla="*/ 54 w 322"/>
              <a:gd name="T17" fmla="*/ 172 h 257"/>
              <a:gd name="T18" fmla="*/ 227 w 322"/>
              <a:gd name="T19" fmla="*/ 172 h 257"/>
              <a:gd name="T20" fmla="*/ 257 w 322"/>
              <a:gd name="T21" fmla="*/ 21 h 257"/>
              <a:gd name="T22" fmla="*/ 265 w 322"/>
              <a:gd name="T23" fmla="*/ 12 h 257"/>
              <a:gd name="T24" fmla="*/ 307 w 322"/>
              <a:gd name="T25" fmla="*/ 2 h 257"/>
              <a:gd name="T26" fmla="*/ 320 w 322"/>
              <a:gd name="T27" fmla="*/ 9 h 257"/>
              <a:gd name="T28" fmla="*/ 313 w 322"/>
              <a:gd name="T29" fmla="*/ 22 h 257"/>
              <a:gd name="T30" fmla="*/ 203 w 322"/>
              <a:gd name="T31" fmla="*/ 140 h 257"/>
              <a:gd name="T32" fmla="*/ 193 w 322"/>
              <a:gd name="T33" fmla="*/ 129 h 257"/>
              <a:gd name="T34" fmla="*/ 41 w 322"/>
              <a:gd name="T35" fmla="*/ 129 h 257"/>
              <a:gd name="T36" fmla="*/ 25 w 322"/>
              <a:gd name="T37" fmla="*/ 65 h 257"/>
              <a:gd name="T38" fmla="*/ 214 w 322"/>
              <a:gd name="T39" fmla="*/ 65 h 257"/>
              <a:gd name="T40" fmla="*/ 225 w 322"/>
              <a:gd name="T41" fmla="*/ 55 h 257"/>
              <a:gd name="T42" fmla="*/ 214 w 322"/>
              <a:gd name="T43" fmla="*/ 44 h 257"/>
              <a:gd name="T44" fmla="*/ 11 w 322"/>
              <a:gd name="T45" fmla="*/ 44 h 257"/>
              <a:gd name="T46" fmla="*/ 3 w 322"/>
              <a:gd name="T47" fmla="*/ 48 h 257"/>
              <a:gd name="T48" fmla="*/ 1 w 322"/>
              <a:gd name="T49" fmla="*/ 57 h 257"/>
              <a:gd name="T50" fmla="*/ 22 w 322"/>
              <a:gd name="T51" fmla="*/ 143 h 257"/>
              <a:gd name="T52" fmla="*/ 33 w 322"/>
              <a:gd name="T53" fmla="*/ 151 h 257"/>
              <a:gd name="T54" fmla="*/ 193 w 322"/>
              <a:gd name="T55" fmla="*/ 151 h 257"/>
              <a:gd name="T56" fmla="*/ 203 w 322"/>
              <a:gd name="T57" fmla="*/ 140 h 257"/>
              <a:gd name="T58" fmla="*/ 65 w 322"/>
              <a:gd name="T59" fmla="*/ 87 h 257"/>
              <a:gd name="T60" fmla="*/ 54 w 322"/>
              <a:gd name="T61" fmla="*/ 97 h 257"/>
              <a:gd name="T62" fmla="*/ 65 w 322"/>
              <a:gd name="T63" fmla="*/ 108 h 257"/>
              <a:gd name="T64" fmla="*/ 203 w 322"/>
              <a:gd name="T65" fmla="*/ 108 h 257"/>
              <a:gd name="T66" fmla="*/ 214 w 322"/>
              <a:gd name="T67" fmla="*/ 97 h 257"/>
              <a:gd name="T68" fmla="*/ 203 w 322"/>
              <a:gd name="T69" fmla="*/ 87 h 257"/>
              <a:gd name="T70" fmla="*/ 65 w 322"/>
              <a:gd name="T71" fmla="*/ 87 h 257"/>
              <a:gd name="T72" fmla="*/ 75 w 322"/>
              <a:gd name="T73" fmla="*/ 215 h 257"/>
              <a:gd name="T74" fmla="*/ 54 w 322"/>
              <a:gd name="T75" fmla="*/ 236 h 257"/>
              <a:gd name="T76" fmla="*/ 75 w 322"/>
              <a:gd name="T77" fmla="*/ 257 h 257"/>
              <a:gd name="T78" fmla="*/ 97 w 322"/>
              <a:gd name="T79" fmla="*/ 236 h 257"/>
              <a:gd name="T80" fmla="*/ 75 w 322"/>
              <a:gd name="T81" fmla="*/ 215 h 257"/>
              <a:gd name="T82" fmla="*/ 214 w 322"/>
              <a:gd name="T83" fmla="*/ 215 h 257"/>
              <a:gd name="T84" fmla="*/ 193 w 322"/>
              <a:gd name="T85" fmla="*/ 236 h 257"/>
              <a:gd name="T86" fmla="*/ 214 w 322"/>
              <a:gd name="T87" fmla="*/ 257 h 257"/>
              <a:gd name="T88" fmla="*/ 235 w 322"/>
              <a:gd name="T89" fmla="*/ 236 h 257"/>
              <a:gd name="T90" fmla="*/ 214 w 322"/>
              <a:gd name="T91" fmla="*/ 215 h 2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22" h="257">
                <a:moveTo>
                  <a:pt x="313" y="22"/>
                </a:moveTo>
                <a:cubicBezTo>
                  <a:pt x="276" y="31"/>
                  <a:pt x="276" y="31"/>
                  <a:pt x="276" y="31"/>
                </a:cubicBezTo>
                <a:cubicBezTo>
                  <a:pt x="246" y="185"/>
                  <a:pt x="246" y="185"/>
                  <a:pt x="246" y="185"/>
                </a:cubicBezTo>
                <a:cubicBezTo>
                  <a:pt x="245" y="190"/>
                  <a:pt x="240" y="193"/>
                  <a:pt x="235" y="193"/>
                </a:cubicBezTo>
                <a:cubicBezTo>
                  <a:pt x="235" y="193"/>
                  <a:pt x="235" y="193"/>
                  <a:pt x="235" y="193"/>
                </a:cubicBezTo>
                <a:cubicBezTo>
                  <a:pt x="235" y="193"/>
                  <a:pt x="235" y="193"/>
                  <a:pt x="235" y="193"/>
                </a:cubicBezTo>
                <a:cubicBezTo>
                  <a:pt x="54" y="193"/>
                  <a:pt x="54" y="193"/>
                  <a:pt x="54" y="193"/>
                </a:cubicBezTo>
                <a:cubicBezTo>
                  <a:pt x="48" y="193"/>
                  <a:pt x="43" y="189"/>
                  <a:pt x="43" y="183"/>
                </a:cubicBezTo>
                <a:cubicBezTo>
                  <a:pt x="43" y="177"/>
                  <a:pt x="48" y="172"/>
                  <a:pt x="54" y="172"/>
                </a:cubicBezTo>
                <a:cubicBezTo>
                  <a:pt x="227" y="172"/>
                  <a:pt x="227" y="172"/>
                  <a:pt x="227" y="172"/>
                </a:cubicBezTo>
                <a:cubicBezTo>
                  <a:pt x="257" y="21"/>
                  <a:pt x="257" y="21"/>
                  <a:pt x="257" y="21"/>
                </a:cubicBezTo>
                <a:cubicBezTo>
                  <a:pt x="258" y="17"/>
                  <a:pt x="261" y="13"/>
                  <a:pt x="265" y="12"/>
                </a:cubicBezTo>
                <a:cubicBezTo>
                  <a:pt x="307" y="2"/>
                  <a:pt x="307" y="2"/>
                  <a:pt x="307" y="2"/>
                </a:cubicBezTo>
                <a:cubicBezTo>
                  <a:pt x="313" y="0"/>
                  <a:pt x="319" y="4"/>
                  <a:pt x="320" y="9"/>
                </a:cubicBezTo>
                <a:cubicBezTo>
                  <a:pt x="322" y="15"/>
                  <a:pt x="318" y="21"/>
                  <a:pt x="313" y="22"/>
                </a:cubicBezTo>
                <a:close/>
                <a:moveTo>
                  <a:pt x="203" y="140"/>
                </a:moveTo>
                <a:cubicBezTo>
                  <a:pt x="203" y="134"/>
                  <a:pt x="199" y="129"/>
                  <a:pt x="193" y="129"/>
                </a:cubicBezTo>
                <a:cubicBezTo>
                  <a:pt x="41" y="129"/>
                  <a:pt x="41" y="129"/>
                  <a:pt x="41" y="129"/>
                </a:cubicBezTo>
                <a:cubicBezTo>
                  <a:pt x="25" y="65"/>
                  <a:pt x="25" y="65"/>
                  <a:pt x="25" y="65"/>
                </a:cubicBezTo>
                <a:cubicBezTo>
                  <a:pt x="214" y="65"/>
                  <a:pt x="214" y="65"/>
                  <a:pt x="214" y="65"/>
                </a:cubicBezTo>
                <a:cubicBezTo>
                  <a:pt x="220" y="65"/>
                  <a:pt x="225" y="61"/>
                  <a:pt x="225" y="55"/>
                </a:cubicBezTo>
                <a:cubicBezTo>
                  <a:pt x="225" y="49"/>
                  <a:pt x="220" y="44"/>
                  <a:pt x="214" y="44"/>
                </a:cubicBezTo>
                <a:cubicBezTo>
                  <a:pt x="11" y="44"/>
                  <a:pt x="11" y="44"/>
                  <a:pt x="11" y="44"/>
                </a:cubicBezTo>
                <a:cubicBezTo>
                  <a:pt x="8" y="44"/>
                  <a:pt x="5" y="46"/>
                  <a:pt x="3" y="48"/>
                </a:cubicBezTo>
                <a:cubicBezTo>
                  <a:pt x="1" y="51"/>
                  <a:pt x="0" y="54"/>
                  <a:pt x="1" y="57"/>
                </a:cubicBezTo>
                <a:cubicBezTo>
                  <a:pt x="22" y="143"/>
                  <a:pt x="22" y="143"/>
                  <a:pt x="22" y="143"/>
                </a:cubicBezTo>
                <a:cubicBezTo>
                  <a:pt x="24" y="147"/>
                  <a:pt x="28" y="151"/>
                  <a:pt x="33" y="151"/>
                </a:cubicBezTo>
                <a:cubicBezTo>
                  <a:pt x="193" y="151"/>
                  <a:pt x="193" y="151"/>
                  <a:pt x="193" y="151"/>
                </a:cubicBezTo>
                <a:cubicBezTo>
                  <a:pt x="199" y="151"/>
                  <a:pt x="203" y="146"/>
                  <a:pt x="203" y="140"/>
                </a:cubicBezTo>
                <a:close/>
                <a:moveTo>
                  <a:pt x="65" y="87"/>
                </a:moveTo>
                <a:cubicBezTo>
                  <a:pt x="59" y="87"/>
                  <a:pt x="54" y="91"/>
                  <a:pt x="54" y="97"/>
                </a:cubicBezTo>
                <a:cubicBezTo>
                  <a:pt x="54" y="103"/>
                  <a:pt x="59" y="108"/>
                  <a:pt x="65" y="108"/>
                </a:cubicBezTo>
                <a:cubicBezTo>
                  <a:pt x="203" y="108"/>
                  <a:pt x="203" y="108"/>
                  <a:pt x="203" y="108"/>
                </a:cubicBezTo>
                <a:cubicBezTo>
                  <a:pt x="209" y="108"/>
                  <a:pt x="214" y="103"/>
                  <a:pt x="214" y="97"/>
                </a:cubicBezTo>
                <a:cubicBezTo>
                  <a:pt x="214" y="91"/>
                  <a:pt x="209" y="87"/>
                  <a:pt x="203" y="87"/>
                </a:cubicBezTo>
                <a:lnTo>
                  <a:pt x="65" y="87"/>
                </a:lnTo>
                <a:close/>
                <a:moveTo>
                  <a:pt x="75" y="215"/>
                </a:moveTo>
                <a:cubicBezTo>
                  <a:pt x="64" y="215"/>
                  <a:pt x="54" y="224"/>
                  <a:pt x="54" y="236"/>
                </a:cubicBezTo>
                <a:cubicBezTo>
                  <a:pt x="54" y="248"/>
                  <a:pt x="64" y="257"/>
                  <a:pt x="75" y="257"/>
                </a:cubicBezTo>
                <a:cubicBezTo>
                  <a:pt x="87" y="257"/>
                  <a:pt x="97" y="248"/>
                  <a:pt x="97" y="236"/>
                </a:cubicBezTo>
                <a:cubicBezTo>
                  <a:pt x="97" y="224"/>
                  <a:pt x="87" y="215"/>
                  <a:pt x="75" y="215"/>
                </a:cubicBezTo>
                <a:close/>
                <a:moveTo>
                  <a:pt x="214" y="215"/>
                </a:moveTo>
                <a:cubicBezTo>
                  <a:pt x="202" y="215"/>
                  <a:pt x="193" y="224"/>
                  <a:pt x="193" y="236"/>
                </a:cubicBezTo>
                <a:cubicBezTo>
                  <a:pt x="193" y="248"/>
                  <a:pt x="202" y="257"/>
                  <a:pt x="214" y="257"/>
                </a:cubicBezTo>
                <a:cubicBezTo>
                  <a:pt x="226" y="257"/>
                  <a:pt x="235" y="248"/>
                  <a:pt x="235" y="236"/>
                </a:cubicBezTo>
                <a:cubicBezTo>
                  <a:pt x="235" y="224"/>
                  <a:pt x="226" y="215"/>
                  <a:pt x="214" y="215"/>
                </a:cubicBezTo>
                <a:close/>
              </a:path>
            </a:pathLst>
          </a:custGeom>
          <a:solidFill>
            <a:srgbClr val="009900"/>
          </a:solidFill>
          <a:ln>
            <a:noFill/>
          </a:ln>
          <a:extLst/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0" name="TextBox 329"/>
          <p:cNvSpPr txBox="1"/>
          <p:nvPr/>
        </p:nvSpPr>
        <p:spPr>
          <a:xfrm>
            <a:off x="1224979" y="3871349"/>
            <a:ext cx="739104" cy="507831"/>
          </a:xfrm>
          <a:prstGeom prst="rect">
            <a:avLst/>
          </a:prstGeom>
          <a:noFill/>
        </p:spPr>
        <p:txBody>
          <a:bodyPr wrap="square" lIns="0" rIns="0" rtlCol="0" anchor="ctr" anchorCtr="1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0099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rdine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0099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(UBL, XML, EDI,...)</a:t>
            </a:r>
          </a:p>
        </p:txBody>
      </p:sp>
      <p:cxnSp>
        <p:nvCxnSpPr>
          <p:cNvPr id="331" name="Straight Arrow Connector 330"/>
          <p:cNvCxnSpPr/>
          <p:nvPr/>
        </p:nvCxnSpPr>
        <p:spPr bwMode="auto">
          <a:xfrm flipV="1">
            <a:off x="8019903" y="4226249"/>
            <a:ext cx="1309091" cy="1"/>
          </a:xfrm>
          <a:prstGeom prst="straightConnector1">
            <a:avLst/>
          </a:prstGeom>
          <a:solidFill>
            <a:srgbClr val="006600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cxnSp>
        <p:nvCxnSpPr>
          <p:cNvPr id="332" name="Straight Arrow Connector 331"/>
          <p:cNvCxnSpPr/>
          <p:nvPr/>
        </p:nvCxnSpPr>
        <p:spPr bwMode="auto">
          <a:xfrm flipH="1" flipV="1">
            <a:off x="8019903" y="4115608"/>
            <a:ext cx="1309091" cy="1"/>
          </a:xfrm>
          <a:prstGeom prst="straightConnector1">
            <a:avLst/>
          </a:prstGeom>
          <a:solidFill>
            <a:srgbClr val="006600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sp>
        <p:nvSpPr>
          <p:cNvPr id="333" name="Oval 332"/>
          <p:cNvSpPr/>
          <p:nvPr/>
        </p:nvSpPr>
        <p:spPr bwMode="auto">
          <a:xfrm>
            <a:off x="8353325" y="3931533"/>
            <a:ext cx="722765" cy="477794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0099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334" name="Picture 19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3406" y="4021394"/>
            <a:ext cx="282269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5" name="Freeform 684"/>
          <p:cNvSpPr>
            <a:spLocks noEditPoints="1"/>
          </p:cNvSpPr>
          <p:nvPr/>
        </p:nvSpPr>
        <p:spPr bwMode="auto">
          <a:xfrm>
            <a:off x="8778075" y="4089359"/>
            <a:ext cx="232678" cy="185925"/>
          </a:xfrm>
          <a:custGeom>
            <a:avLst/>
            <a:gdLst>
              <a:gd name="T0" fmla="*/ 313 w 322"/>
              <a:gd name="T1" fmla="*/ 22 h 257"/>
              <a:gd name="T2" fmla="*/ 276 w 322"/>
              <a:gd name="T3" fmla="*/ 31 h 257"/>
              <a:gd name="T4" fmla="*/ 246 w 322"/>
              <a:gd name="T5" fmla="*/ 185 h 257"/>
              <a:gd name="T6" fmla="*/ 235 w 322"/>
              <a:gd name="T7" fmla="*/ 193 h 257"/>
              <a:gd name="T8" fmla="*/ 235 w 322"/>
              <a:gd name="T9" fmla="*/ 193 h 257"/>
              <a:gd name="T10" fmla="*/ 235 w 322"/>
              <a:gd name="T11" fmla="*/ 193 h 257"/>
              <a:gd name="T12" fmla="*/ 54 w 322"/>
              <a:gd name="T13" fmla="*/ 193 h 257"/>
              <a:gd name="T14" fmla="*/ 43 w 322"/>
              <a:gd name="T15" fmla="*/ 183 h 257"/>
              <a:gd name="T16" fmla="*/ 54 w 322"/>
              <a:gd name="T17" fmla="*/ 172 h 257"/>
              <a:gd name="T18" fmla="*/ 227 w 322"/>
              <a:gd name="T19" fmla="*/ 172 h 257"/>
              <a:gd name="T20" fmla="*/ 257 w 322"/>
              <a:gd name="T21" fmla="*/ 21 h 257"/>
              <a:gd name="T22" fmla="*/ 265 w 322"/>
              <a:gd name="T23" fmla="*/ 12 h 257"/>
              <a:gd name="T24" fmla="*/ 307 w 322"/>
              <a:gd name="T25" fmla="*/ 2 h 257"/>
              <a:gd name="T26" fmla="*/ 320 w 322"/>
              <a:gd name="T27" fmla="*/ 9 h 257"/>
              <a:gd name="T28" fmla="*/ 313 w 322"/>
              <a:gd name="T29" fmla="*/ 22 h 257"/>
              <a:gd name="T30" fmla="*/ 203 w 322"/>
              <a:gd name="T31" fmla="*/ 140 h 257"/>
              <a:gd name="T32" fmla="*/ 193 w 322"/>
              <a:gd name="T33" fmla="*/ 129 h 257"/>
              <a:gd name="T34" fmla="*/ 41 w 322"/>
              <a:gd name="T35" fmla="*/ 129 h 257"/>
              <a:gd name="T36" fmla="*/ 25 w 322"/>
              <a:gd name="T37" fmla="*/ 65 h 257"/>
              <a:gd name="T38" fmla="*/ 214 w 322"/>
              <a:gd name="T39" fmla="*/ 65 h 257"/>
              <a:gd name="T40" fmla="*/ 225 w 322"/>
              <a:gd name="T41" fmla="*/ 55 h 257"/>
              <a:gd name="T42" fmla="*/ 214 w 322"/>
              <a:gd name="T43" fmla="*/ 44 h 257"/>
              <a:gd name="T44" fmla="*/ 11 w 322"/>
              <a:gd name="T45" fmla="*/ 44 h 257"/>
              <a:gd name="T46" fmla="*/ 3 w 322"/>
              <a:gd name="T47" fmla="*/ 48 h 257"/>
              <a:gd name="T48" fmla="*/ 1 w 322"/>
              <a:gd name="T49" fmla="*/ 57 h 257"/>
              <a:gd name="T50" fmla="*/ 22 w 322"/>
              <a:gd name="T51" fmla="*/ 143 h 257"/>
              <a:gd name="T52" fmla="*/ 33 w 322"/>
              <a:gd name="T53" fmla="*/ 151 h 257"/>
              <a:gd name="T54" fmla="*/ 193 w 322"/>
              <a:gd name="T55" fmla="*/ 151 h 257"/>
              <a:gd name="T56" fmla="*/ 203 w 322"/>
              <a:gd name="T57" fmla="*/ 140 h 257"/>
              <a:gd name="T58" fmla="*/ 65 w 322"/>
              <a:gd name="T59" fmla="*/ 87 h 257"/>
              <a:gd name="T60" fmla="*/ 54 w 322"/>
              <a:gd name="T61" fmla="*/ 97 h 257"/>
              <a:gd name="T62" fmla="*/ 65 w 322"/>
              <a:gd name="T63" fmla="*/ 108 h 257"/>
              <a:gd name="T64" fmla="*/ 203 w 322"/>
              <a:gd name="T65" fmla="*/ 108 h 257"/>
              <a:gd name="T66" fmla="*/ 214 w 322"/>
              <a:gd name="T67" fmla="*/ 97 h 257"/>
              <a:gd name="T68" fmla="*/ 203 w 322"/>
              <a:gd name="T69" fmla="*/ 87 h 257"/>
              <a:gd name="T70" fmla="*/ 65 w 322"/>
              <a:gd name="T71" fmla="*/ 87 h 257"/>
              <a:gd name="T72" fmla="*/ 75 w 322"/>
              <a:gd name="T73" fmla="*/ 215 h 257"/>
              <a:gd name="T74" fmla="*/ 54 w 322"/>
              <a:gd name="T75" fmla="*/ 236 h 257"/>
              <a:gd name="T76" fmla="*/ 75 w 322"/>
              <a:gd name="T77" fmla="*/ 257 h 257"/>
              <a:gd name="T78" fmla="*/ 97 w 322"/>
              <a:gd name="T79" fmla="*/ 236 h 257"/>
              <a:gd name="T80" fmla="*/ 75 w 322"/>
              <a:gd name="T81" fmla="*/ 215 h 257"/>
              <a:gd name="T82" fmla="*/ 214 w 322"/>
              <a:gd name="T83" fmla="*/ 215 h 257"/>
              <a:gd name="T84" fmla="*/ 193 w 322"/>
              <a:gd name="T85" fmla="*/ 236 h 257"/>
              <a:gd name="T86" fmla="*/ 214 w 322"/>
              <a:gd name="T87" fmla="*/ 257 h 257"/>
              <a:gd name="T88" fmla="*/ 235 w 322"/>
              <a:gd name="T89" fmla="*/ 236 h 257"/>
              <a:gd name="T90" fmla="*/ 214 w 322"/>
              <a:gd name="T91" fmla="*/ 215 h 2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22" h="257">
                <a:moveTo>
                  <a:pt x="313" y="22"/>
                </a:moveTo>
                <a:cubicBezTo>
                  <a:pt x="276" y="31"/>
                  <a:pt x="276" y="31"/>
                  <a:pt x="276" y="31"/>
                </a:cubicBezTo>
                <a:cubicBezTo>
                  <a:pt x="246" y="185"/>
                  <a:pt x="246" y="185"/>
                  <a:pt x="246" y="185"/>
                </a:cubicBezTo>
                <a:cubicBezTo>
                  <a:pt x="245" y="190"/>
                  <a:pt x="240" y="193"/>
                  <a:pt x="235" y="193"/>
                </a:cubicBezTo>
                <a:cubicBezTo>
                  <a:pt x="235" y="193"/>
                  <a:pt x="235" y="193"/>
                  <a:pt x="235" y="193"/>
                </a:cubicBezTo>
                <a:cubicBezTo>
                  <a:pt x="235" y="193"/>
                  <a:pt x="235" y="193"/>
                  <a:pt x="235" y="193"/>
                </a:cubicBezTo>
                <a:cubicBezTo>
                  <a:pt x="54" y="193"/>
                  <a:pt x="54" y="193"/>
                  <a:pt x="54" y="193"/>
                </a:cubicBezTo>
                <a:cubicBezTo>
                  <a:pt x="48" y="193"/>
                  <a:pt x="43" y="189"/>
                  <a:pt x="43" y="183"/>
                </a:cubicBezTo>
                <a:cubicBezTo>
                  <a:pt x="43" y="177"/>
                  <a:pt x="48" y="172"/>
                  <a:pt x="54" y="172"/>
                </a:cubicBezTo>
                <a:cubicBezTo>
                  <a:pt x="227" y="172"/>
                  <a:pt x="227" y="172"/>
                  <a:pt x="227" y="172"/>
                </a:cubicBezTo>
                <a:cubicBezTo>
                  <a:pt x="257" y="21"/>
                  <a:pt x="257" y="21"/>
                  <a:pt x="257" y="21"/>
                </a:cubicBezTo>
                <a:cubicBezTo>
                  <a:pt x="258" y="17"/>
                  <a:pt x="261" y="13"/>
                  <a:pt x="265" y="12"/>
                </a:cubicBezTo>
                <a:cubicBezTo>
                  <a:pt x="307" y="2"/>
                  <a:pt x="307" y="2"/>
                  <a:pt x="307" y="2"/>
                </a:cubicBezTo>
                <a:cubicBezTo>
                  <a:pt x="313" y="0"/>
                  <a:pt x="319" y="4"/>
                  <a:pt x="320" y="9"/>
                </a:cubicBezTo>
                <a:cubicBezTo>
                  <a:pt x="322" y="15"/>
                  <a:pt x="318" y="21"/>
                  <a:pt x="313" y="22"/>
                </a:cubicBezTo>
                <a:close/>
                <a:moveTo>
                  <a:pt x="203" y="140"/>
                </a:moveTo>
                <a:cubicBezTo>
                  <a:pt x="203" y="134"/>
                  <a:pt x="199" y="129"/>
                  <a:pt x="193" y="129"/>
                </a:cubicBezTo>
                <a:cubicBezTo>
                  <a:pt x="41" y="129"/>
                  <a:pt x="41" y="129"/>
                  <a:pt x="41" y="129"/>
                </a:cubicBezTo>
                <a:cubicBezTo>
                  <a:pt x="25" y="65"/>
                  <a:pt x="25" y="65"/>
                  <a:pt x="25" y="65"/>
                </a:cubicBezTo>
                <a:cubicBezTo>
                  <a:pt x="214" y="65"/>
                  <a:pt x="214" y="65"/>
                  <a:pt x="214" y="65"/>
                </a:cubicBezTo>
                <a:cubicBezTo>
                  <a:pt x="220" y="65"/>
                  <a:pt x="225" y="61"/>
                  <a:pt x="225" y="55"/>
                </a:cubicBezTo>
                <a:cubicBezTo>
                  <a:pt x="225" y="49"/>
                  <a:pt x="220" y="44"/>
                  <a:pt x="214" y="44"/>
                </a:cubicBezTo>
                <a:cubicBezTo>
                  <a:pt x="11" y="44"/>
                  <a:pt x="11" y="44"/>
                  <a:pt x="11" y="44"/>
                </a:cubicBezTo>
                <a:cubicBezTo>
                  <a:pt x="8" y="44"/>
                  <a:pt x="5" y="46"/>
                  <a:pt x="3" y="48"/>
                </a:cubicBezTo>
                <a:cubicBezTo>
                  <a:pt x="1" y="51"/>
                  <a:pt x="0" y="54"/>
                  <a:pt x="1" y="57"/>
                </a:cubicBezTo>
                <a:cubicBezTo>
                  <a:pt x="22" y="143"/>
                  <a:pt x="22" y="143"/>
                  <a:pt x="22" y="143"/>
                </a:cubicBezTo>
                <a:cubicBezTo>
                  <a:pt x="24" y="147"/>
                  <a:pt x="28" y="151"/>
                  <a:pt x="33" y="151"/>
                </a:cubicBezTo>
                <a:cubicBezTo>
                  <a:pt x="193" y="151"/>
                  <a:pt x="193" y="151"/>
                  <a:pt x="193" y="151"/>
                </a:cubicBezTo>
                <a:cubicBezTo>
                  <a:pt x="199" y="151"/>
                  <a:pt x="203" y="146"/>
                  <a:pt x="203" y="140"/>
                </a:cubicBezTo>
                <a:close/>
                <a:moveTo>
                  <a:pt x="65" y="87"/>
                </a:moveTo>
                <a:cubicBezTo>
                  <a:pt x="59" y="87"/>
                  <a:pt x="54" y="91"/>
                  <a:pt x="54" y="97"/>
                </a:cubicBezTo>
                <a:cubicBezTo>
                  <a:pt x="54" y="103"/>
                  <a:pt x="59" y="108"/>
                  <a:pt x="65" y="108"/>
                </a:cubicBezTo>
                <a:cubicBezTo>
                  <a:pt x="203" y="108"/>
                  <a:pt x="203" y="108"/>
                  <a:pt x="203" y="108"/>
                </a:cubicBezTo>
                <a:cubicBezTo>
                  <a:pt x="209" y="108"/>
                  <a:pt x="214" y="103"/>
                  <a:pt x="214" y="97"/>
                </a:cubicBezTo>
                <a:cubicBezTo>
                  <a:pt x="214" y="91"/>
                  <a:pt x="209" y="87"/>
                  <a:pt x="203" y="87"/>
                </a:cubicBezTo>
                <a:lnTo>
                  <a:pt x="65" y="87"/>
                </a:lnTo>
                <a:close/>
                <a:moveTo>
                  <a:pt x="75" y="215"/>
                </a:moveTo>
                <a:cubicBezTo>
                  <a:pt x="64" y="215"/>
                  <a:pt x="54" y="224"/>
                  <a:pt x="54" y="236"/>
                </a:cubicBezTo>
                <a:cubicBezTo>
                  <a:pt x="54" y="248"/>
                  <a:pt x="64" y="257"/>
                  <a:pt x="75" y="257"/>
                </a:cubicBezTo>
                <a:cubicBezTo>
                  <a:pt x="87" y="257"/>
                  <a:pt x="97" y="248"/>
                  <a:pt x="97" y="236"/>
                </a:cubicBezTo>
                <a:cubicBezTo>
                  <a:pt x="97" y="224"/>
                  <a:pt x="87" y="215"/>
                  <a:pt x="75" y="215"/>
                </a:cubicBezTo>
                <a:close/>
                <a:moveTo>
                  <a:pt x="214" y="215"/>
                </a:moveTo>
                <a:cubicBezTo>
                  <a:pt x="202" y="215"/>
                  <a:pt x="193" y="224"/>
                  <a:pt x="193" y="236"/>
                </a:cubicBezTo>
                <a:cubicBezTo>
                  <a:pt x="193" y="248"/>
                  <a:pt x="202" y="257"/>
                  <a:pt x="214" y="257"/>
                </a:cubicBezTo>
                <a:cubicBezTo>
                  <a:pt x="226" y="257"/>
                  <a:pt x="235" y="248"/>
                  <a:pt x="235" y="236"/>
                </a:cubicBezTo>
                <a:cubicBezTo>
                  <a:pt x="235" y="224"/>
                  <a:pt x="226" y="215"/>
                  <a:pt x="214" y="215"/>
                </a:cubicBezTo>
                <a:close/>
              </a:path>
            </a:pathLst>
          </a:custGeom>
          <a:solidFill>
            <a:srgbClr val="009900"/>
          </a:solidFill>
          <a:ln>
            <a:noFill/>
          </a:ln>
          <a:extLst/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6" name="TextBox 335"/>
          <p:cNvSpPr txBox="1"/>
          <p:nvPr/>
        </p:nvSpPr>
        <p:spPr>
          <a:xfrm>
            <a:off x="8300707" y="4407127"/>
            <a:ext cx="828000" cy="369332"/>
          </a:xfrm>
          <a:prstGeom prst="rect">
            <a:avLst/>
          </a:prstGeom>
          <a:noFill/>
        </p:spPr>
        <p:txBody>
          <a:bodyPr wrap="square" lIns="0" rIns="0" rtlCol="0" anchor="ctr" anchorCtr="1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0099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rdine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0099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EPPOL UBL</a:t>
            </a:r>
          </a:p>
        </p:txBody>
      </p:sp>
      <p:grpSp>
        <p:nvGrpSpPr>
          <p:cNvPr id="337" name="Group 336"/>
          <p:cNvGrpSpPr/>
          <p:nvPr/>
        </p:nvGrpSpPr>
        <p:grpSpPr>
          <a:xfrm>
            <a:off x="8019903" y="4734209"/>
            <a:ext cx="1313175" cy="842207"/>
            <a:chOff x="8019903" y="4777754"/>
            <a:chExt cx="1313175" cy="842207"/>
          </a:xfrm>
        </p:grpSpPr>
        <p:cxnSp>
          <p:nvCxnSpPr>
            <p:cNvPr id="390" name="Straight Arrow Connector 389"/>
            <p:cNvCxnSpPr/>
            <p:nvPr/>
          </p:nvCxnSpPr>
          <p:spPr bwMode="auto">
            <a:xfrm flipH="1" flipV="1">
              <a:off x="8023987" y="5074445"/>
              <a:ext cx="1309091" cy="1"/>
            </a:xfrm>
            <a:prstGeom prst="straightConnector1">
              <a:avLst/>
            </a:prstGeom>
            <a:solidFill>
              <a:srgbClr val="006600"/>
            </a:solidFill>
            <a:ln w="1905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triangle" w="lg" len="med"/>
            </a:ln>
            <a:effectLst/>
          </p:spPr>
        </p:cxnSp>
        <p:cxnSp>
          <p:nvCxnSpPr>
            <p:cNvPr id="391" name="Straight Arrow Connector 390"/>
            <p:cNvCxnSpPr/>
            <p:nvPr/>
          </p:nvCxnSpPr>
          <p:spPr bwMode="auto">
            <a:xfrm flipV="1">
              <a:off x="8019903" y="4959287"/>
              <a:ext cx="1309091" cy="1"/>
            </a:xfrm>
            <a:prstGeom prst="straightConnector1">
              <a:avLst/>
            </a:prstGeom>
            <a:solidFill>
              <a:srgbClr val="006600"/>
            </a:solidFill>
            <a:ln w="1905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triangle" w="lg" len="med"/>
            </a:ln>
            <a:effectLst/>
          </p:spPr>
        </p:cxnSp>
        <p:grpSp>
          <p:nvGrpSpPr>
            <p:cNvPr id="392" name="Group 391"/>
            <p:cNvGrpSpPr>
              <a:grpSpLocks noChangeAspect="1"/>
            </p:cNvGrpSpPr>
            <p:nvPr/>
          </p:nvGrpSpPr>
          <p:grpSpPr>
            <a:xfrm>
              <a:off x="8374065" y="4777754"/>
              <a:ext cx="707950" cy="468000"/>
              <a:chOff x="2643580" y="4972445"/>
              <a:chExt cx="722765" cy="477794"/>
            </a:xfrm>
          </p:grpSpPr>
          <p:sp>
            <p:nvSpPr>
              <p:cNvPr id="394" name="Oval 393"/>
              <p:cNvSpPr/>
              <p:nvPr/>
            </p:nvSpPr>
            <p:spPr bwMode="auto">
              <a:xfrm>
                <a:off x="2643580" y="4972445"/>
                <a:ext cx="722765" cy="477794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solidFill>
                  <a:srgbClr val="0099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0000"/>
                  </a:buClr>
                  <a:buSzPct val="70000"/>
                  <a:buFont typeface="Wingdings" pitchFamily="2" charset="2"/>
                  <a:buNone/>
                  <a:tabLst/>
                  <a:defRPr/>
                </a:pPr>
                <a:endParaRPr kumimoji="0" lang="it-IT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pic>
            <p:nvPicPr>
              <p:cNvPr id="395" name="Picture 192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53661" y="5062306"/>
                <a:ext cx="282269" cy="288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96" name="Freeform 293"/>
              <p:cNvSpPr>
                <a:spLocks noEditPoints="1"/>
              </p:cNvSpPr>
              <p:nvPr/>
            </p:nvSpPr>
            <p:spPr bwMode="auto">
              <a:xfrm>
                <a:off x="3073048" y="5143162"/>
                <a:ext cx="228861" cy="144000"/>
              </a:xfrm>
              <a:custGeom>
                <a:avLst/>
                <a:gdLst>
                  <a:gd name="T0" fmla="*/ 317 w 320"/>
                  <a:gd name="T1" fmla="*/ 45 h 170"/>
                  <a:gd name="T2" fmla="*/ 295 w 320"/>
                  <a:gd name="T3" fmla="*/ 24 h 170"/>
                  <a:gd name="T4" fmla="*/ 288 w 320"/>
                  <a:gd name="T5" fmla="*/ 21 h 170"/>
                  <a:gd name="T6" fmla="*/ 245 w 320"/>
                  <a:gd name="T7" fmla="*/ 21 h 170"/>
                  <a:gd name="T8" fmla="*/ 245 w 320"/>
                  <a:gd name="T9" fmla="*/ 10 h 170"/>
                  <a:gd name="T10" fmla="*/ 234 w 320"/>
                  <a:gd name="T11" fmla="*/ 0 h 170"/>
                  <a:gd name="T12" fmla="*/ 10 w 320"/>
                  <a:gd name="T13" fmla="*/ 0 h 170"/>
                  <a:gd name="T14" fmla="*/ 0 w 320"/>
                  <a:gd name="T15" fmla="*/ 10 h 170"/>
                  <a:gd name="T16" fmla="*/ 0 w 320"/>
                  <a:gd name="T17" fmla="*/ 117 h 170"/>
                  <a:gd name="T18" fmla="*/ 10 w 320"/>
                  <a:gd name="T19" fmla="*/ 128 h 170"/>
                  <a:gd name="T20" fmla="*/ 23 w 320"/>
                  <a:gd name="T21" fmla="*/ 128 h 170"/>
                  <a:gd name="T22" fmla="*/ 21 w 320"/>
                  <a:gd name="T23" fmla="*/ 138 h 170"/>
                  <a:gd name="T24" fmla="*/ 53 w 320"/>
                  <a:gd name="T25" fmla="*/ 170 h 170"/>
                  <a:gd name="T26" fmla="*/ 80 w 320"/>
                  <a:gd name="T27" fmla="*/ 156 h 170"/>
                  <a:gd name="T28" fmla="*/ 106 w 320"/>
                  <a:gd name="T29" fmla="*/ 170 h 170"/>
                  <a:gd name="T30" fmla="*/ 138 w 320"/>
                  <a:gd name="T31" fmla="*/ 138 h 170"/>
                  <a:gd name="T32" fmla="*/ 136 w 320"/>
                  <a:gd name="T33" fmla="*/ 128 h 170"/>
                  <a:gd name="T34" fmla="*/ 234 w 320"/>
                  <a:gd name="T35" fmla="*/ 128 h 170"/>
                  <a:gd name="T36" fmla="*/ 236 w 320"/>
                  <a:gd name="T37" fmla="*/ 128 h 170"/>
                  <a:gd name="T38" fmla="*/ 234 w 320"/>
                  <a:gd name="T39" fmla="*/ 138 h 170"/>
                  <a:gd name="T40" fmla="*/ 266 w 320"/>
                  <a:gd name="T41" fmla="*/ 170 h 170"/>
                  <a:gd name="T42" fmla="*/ 298 w 320"/>
                  <a:gd name="T43" fmla="*/ 138 h 170"/>
                  <a:gd name="T44" fmla="*/ 296 w 320"/>
                  <a:gd name="T45" fmla="*/ 128 h 170"/>
                  <a:gd name="T46" fmla="*/ 309 w 320"/>
                  <a:gd name="T47" fmla="*/ 128 h 170"/>
                  <a:gd name="T48" fmla="*/ 320 w 320"/>
                  <a:gd name="T49" fmla="*/ 117 h 170"/>
                  <a:gd name="T50" fmla="*/ 320 w 320"/>
                  <a:gd name="T51" fmla="*/ 53 h 170"/>
                  <a:gd name="T52" fmla="*/ 317 w 320"/>
                  <a:gd name="T53" fmla="*/ 45 h 170"/>
                  <a:gd name="T54" fmla="*/ 21 w 320"/>
                  <a:gd name="T55" fmla="*/ 21 h 170"/>
                  <a:gd name="T56" fmla="*/ 224 w 320"/>
                  <a:gd name="T57" fmla="*/ 21 h 170"/>
                  <a:gd name="T58" fmla="*/ 224 w 320"/>
                  <a:gd name="T59" fmla="*/ 32 h 170"/>
                  <a:gd name="T60" fmla="*/ 224 w 320"/>
                  <a:gd name="T61" fmla="*/ 106 h 170"/>
                  <a:gd name="T62" fmla="*/ 21 w 320"/>
                  <a:gd name="T63" fmla="*/ 106 h 170"/>
                  <a:gd name="T64" fmla="*/ 21 w 320"/>
                  <a:gd name="T65" fmla="*/ 21 h 170"/>
                  <a:gd name="T66" fmla="*/ 53 w 320"/>
                  <a:gd name="T67" fmla="*/ 149 h 170"/>
                  <a:gd name="T68" fmla="*/ 42 w 320"/>
                  <a:gd name="T69" fmla="*/ 138 h 170"/>
                  <a:gd name="T70" fmla="*/ 53 w 320"/>
                  <a:gd name="T71" fmla="*/ 128 h 170"/>
                  <a:gd name="T72" fmla="*/ 64 w 320"/>
                  <a:gd name="T73" fmla="*/ 138 h 170"/>
                  <a:gd name="T74" fmla="*/ 53 w 320"/>
                  <a:gd name="T75" fmla="*/ 149 h 170"/>
                  <a:gd name="T76" fmla="*/ 117 w 320"/>
                  <a:gd name="T77" fmla="*/ 138 h 170"/>
                  <a:gd name="T78" fmla="*/ 106 w 320"/>
                  <a:gd name="T79" fmla="*/ 149 h 170"/>
                  <a:gd name="T80" fmla="*/ 96 w 320"/>
                  <a:gd name="T81" fmla="*/ 138 h 170"/>
                  <a:gd name="T82" fmla="*/ 106 w 320"/>
                  <a:gd name="T83" fmla="*/ 128 h 170"/>
                  <a:gd name="T84" fmla="*/ 117 w 320"/>
                  <a:gd name="T85" fmla="*/ 138 h 170"/>
                  <a:gd name="T86" fmla="*/ 277 w 320"/>
                  <a:gd name="T87" fmla="*/ 138 h 170"/>
                  <a:gd name="T88" fmla="*/ 266 w 320"/>
                  <a:gd name="T89" fmla="*/ 149 h 170"/>
                  <a:gd name="T90" fmla="*/ 256 w 320"/>
                  <a:gd name="T91" fmla="*/ 138 h 170"/>
                  <a:gd name="T92" fmla="*/ 266 w 320"/>
                  <a:gd name="T93" fmla="*/ 128 h 170"/>
                  <a:gd name="T94" fmla="*/ 277 w 320"/>
                  <a:gd name="T95" fmla="*/ 138 h 170"/>
                  <a:gd name="T96" fmla="*/ 298 w 320"/>
                  <a:gd name="T97" fmla="*/ 106 h 170"/>
                  <a:gd name="T98" fmla="*/ 245 w 320"/>
                  <a:gd name="T99" fmla="*/ 106 h 170"/>
                  <a:gd name="T100" fmla="*/ 245 w 320"/>
                  <a:gd name="T101" fmla="*/ 42 h 170"/>
                  <a:gd name="T102" fmla="*/ 283 w 320"/>
                  <a:gd name="T103" fmla="*/ 42 h 170"/>
                  <a:gd name="T104" fmla="*/ 298 w 320"/>
                  <a:gd name="T105" fmla="*/ 57 h 170"/>
                  <a:gd name="T106" fmla="*/ 298 w 320"/>
                  <a:gd name="T107" fmla="*/ 106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20" h="170">
                    <a:moveTo>
                      <a:pt x="317" y="45"/>
                    </a:moveTo>
                    <a:cubicBezTo>
                      <a:pt x="295" y="24"/>
                      <a:pt x="295" y="24"/>
                      <a:pt x="295" y="24"/>
                    </a:cubicBezTo>
                    <a:cubicBezTo>
                      <a:pt x="293" y="22"/>
                      <a:pt x="290" y="21"/>
                      <a:pt x="288" y="21"/>
                    </a:cubicBezTo>
                    <a:cubicBezTo>
                      <a:pt x="245" y="21"/>
                      <a:pt x="245" y="21"/>
                      <a:pt x="245" y="21"/>
                    </a:cubicBezTo>
                    <a:cubicBezTo>
                      <a:pt x="245" y="10"/>
                      <a:pt x="245" y="10"/>
                      <a:pt x="245" y="10"/>
                    </a:cubicBezTo>
                    <a:cubicBezTo>
                      <a:pt x="245" y="4"/>
                      <a:pt x="240" y="0"/>
                      <a:pt x="234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0" y="123"/>
                      <a:pt x="4" y="128"/>
                      <a:pt x="10" y="128"/>
                    </a:cubicBezTo>
                    <a:cubicBezTo>
                      <a:pt x="23" y="128"/>
                      <a:pt x="23" y="128"/>
                      <a:pt x="23" y="128"/>
                    </a:cubicBezTo>
                    <a:cubicBezTo>
                      <a:pt x="22" y="131"/>
                      <a:pt x="21" y="135"/>
                      <a:pt x="21" y="138"/>
                    </a:cubicBezTo>
                    <a:cubicBezTo>
                      <a:pt x="21" y="156"/>
                      <a:pt x="35" y="170"/>
                      <a:pt x="53" y="170"/>
                    </a:cubicBezTo>
                    <a:cubicBezTo>
                      <a:pt x="64" y="170"/>
                      <a:pt x="74" y="165"/>
                      <a:pt x="80" y="156"/>
                    </a:cubicBezTo>
                    <a:cubicBezTo>
                      <a:pt x="85" y="165"/>
                      <a:pt x="95" y="170"/>
                      <a:pt x="106" y="170"/>
                    </a:cubicBezTo>
                    <a:cubicBezTo>
                      <a:pt x="124" y="170"/>
                      <a:pt x="138" y="156"/>
                      <a:pt x="138" y="138"/>
                    </a:cubicBezTo>
                    <a:cubicBezTo>
                      <a:pt x="138" y="135"/>
                      <a:pt x="138" y="131"/>
                      <a:pt x="136" y="128"/>
                    </a:cubicBezTo>
                    <a:cubicBezTo>
                      <a:pt x="234" y="128"/>
                      <a:pt x="234" y="128"/>
                      <a:pt x="234" y="128"/>
                    </a:cubicBezTo>
                    <a:cubicBezTo>
                      <a:pt x="236" y="128"/>
                      <a:pt x="236" y="128"/>
                      <a:pt x="236" y="128"/>
                    </a:cubicBezTo>
                    <a:cubicBezTo>
                      <a:pt x="235" y="131"/>
                      <a:pt x="234" y="135"/>
                      <a:pt x="234" y="138"/>
                    </a:cubicBezTo>
                    <a:cubicBezTo>
                      <a:pt x="234" y="156"/>
                      <a:pt x="249" y="170"/>
                      <a:pt x="266" y="170"/>
                    </a:cubicBezTo>
                    <a:cubicBezTo>
                      <a:pt x="284" y="170"/>
                      <a:pt x="298" y="156"/>
                      <a:pt x="298" y="138"/>
                    </a:cubicBezTo>
                    <a:cubicBezTo>
                      <a:pt x="298" y="135"/>
                      <a:pt x="298" y="131"/>
                      <a:pt x="296" y="128"/>
                    </a:cubicBezTo>
                    <a:cubicBezTo>
                      <a:pt x="309" y="128"/>
                      <a:pt x="309" y="128"/>
                      <a:pt x="309" y="128"/>
                    </a:cubicBezTo>
                    <a:cubicBezTo>
                      <a:pt x="315" y="128"/>
                      <a:pt x="320" y="123"/>
                      <a:pt x="320" y="117"/>
                    </a:cubicBezTo>
                    <a:cubicBezTo>
                      <a:pt x="320" y="53"/>
                      <a:pt x="320" y="53"/>
                      <a:pt x="320" y="53"/>
                    </a:cubicBezTo>
                    <a:cubicBezTo>
                      <a:pt x="320" y="50"/>
                      <a:pt x="319" y="47"/>
                      <a:pt x="317" y="45"/>
                    </a:cubicBezTo>
                    <a:close/>
                    <a:moveTo>
                      <a:pt x="21" y="21"/>
                    </a:moveTo>
                    <a:cubicBezTo>
                      <a:pt x="224" y="21"/>
                      <a:pt x="224" y="21"/>
                      <a:pt x="224" y="21"/>
                    </a:cubicBezTo>
                    <a:cubicBezTo>
                      <a:pt x="224" y="32"/>
                      <a:pt x="224" y="32"/>
                      <a:pt x="224" y="32"/>
                    </a:cubicBezTo>
                    <a:cubicBezTo>
                      <a:pt x="224" y="106"/>
                      <a:pt x="224" y="106"/>
                      <a:pt x="224" y="106"/>
                    </a:cubicBezTo>
                    <a:cubicBezTo>
                      <a:pt x="21" y="106"/>
                      <a:pt x="21" y="106"/>
                      <a:pt x="21" y="106"/>
                    </a:cubicBezTo>
                    <a:lnTo>
                      <a:pt x="21" y="21"/>
                    </a:lnTo>
                    <a:close/>
                    <a:moveTo>
                      <a:pt x="53" y="149"/>
                    </a:moveTo>
                    <a:cubicBezTo>
                      <a:pt x="47" y="149"/>
                      <a:pt x="42" y="144"/>
                      <a:pt x="42" y="138"/>
                    </a:cubicBezTo>
                    <a:cubicBezTo>
                      <a:pt x="42" y="132"/>
                      <a:pt x="47" y="128"/>
                      <a:pt x="53" y="128"/>
                    </a:cubicBezTo>
                    <a:cubicBezTo>
                      <a:pt x="59" y="128"/>
                      <a:pt x="64" y="132"/>
                      <a:pt x="64" y="138"/>
                    </a:cubicBezTo>
                    <a:cubicBezTo>
                      <a:pt x="64" y="144"/>
                      <a:pt x="59" y="149"/>
                      <a:pt x="53" y="149"/>
                    </a:cubicBezTo>
                    <a:close/>
                    <a:moveTo>
                      <a:pt x="117" y="138"/>
                    </a:moveTo>
                    <a:cubicBezTo>
                      <a:pt x="117" y="144"/>
                      <a:pt x="112" y="149"/>
                      <a:pt x="106" y="149"/>
                    </a:cubicBezTo>
                    <a:cubicBezTo>
                      <a:pt x="100" y="149"/>
                      <a:pt x="96" y="144"/>
                      <a:pt x="96" y="138"/>
                    </a:cubicBezTo>
                    <a:cubicBezTo>
                      <a:pt x="96" y="132"/>
                      <a:pt x="100" y="128"/>
                      <a:pt x="106" y="128"/>
                    </a:cubicBezTo>
                    <a:cubicBezTo>
                      <a:pt x="112" y="128"/>
                      <a:pt x="117" y="132"/>
                      <a:pt x="117" y="138"/>
                    </a:cubicBezTo>
                    <a:close/>
                    <a:moveTo>
                      <a:pt x="277" y="138"/>
                    </a:moveTo>
                    <a:cubicBezTo>
                      <a:pt x="277" y="144"/>
                      <a:pt x="272" y="149"/>
                      <a:pt x="266" y="149"/>
                    </a:cubicBezTo>
                    <a:cubicBezTo>
                      <a:pt x="260" y="149"/>
                      <a:pt x="256" y="144"/>
                      <a:pt x="256" y="138"/>
                    </a:cubicBezTo>
                    <a:cubicBezTo>
                      <a:pt x="256" y="132"/>
                      <a:pt x="260" y="128"/>
                      <a:pt x="266" y="128"/>
                    </a:cubicBezTo>
                    <a:cubicBezTo>
                      <a:pt x="272" y="128"/>
                      <a:pt x="277" y="132"/>
                      <a:pt x="277" y="138"/>
                    </a:cubicBezTo>
                    <a:close/>
                    <a:moveTo>
                      <a:pt x="298" y="106"/>
                    </a:moveTo>
                    <a:cubicBezTo>
                      <a:pt x="245" y="106"/>
                      <a:pt x="245" y="106"/>
                      <a:pt x="245" y="106"/>
                    </a:cubicBezTo>
                    <a:cubicBezTo>
                      <a:pt x="245" y="42"/>
                      <a:pt x="245" y="42"/>
                      <a:pt x="245" y="42"/>
                    </a:cubicBezTo>
                    <a:cubicBezTo>
                      <a:pt x="283" y="42"/>
                      <a:pt x="283" y="42"/>
                      <a:pt x="283" y="42"/>
                    </a:cubicBezTo>
                    <a:cubicBezTo>
                      <a:pt x="298" y="57"/>
                      <a:pt x="298" y="57"/>
                      <a:pt x="298" y="57"/>
                    </a:cubicBezTo>
                    <a:lnTo>
                      <a:pt x="298" y="106"/>
                    </a:lnTo>
                    <a:close/>
                  </a:path>
                </a:pathLst>
              </a:custGeom>
              <a:solidFill>
                <a:srgbClr val="009900"/>
              </a:solidFill>
              <a:ln>
                <a:noFill/>
              </a:ln>
              <a:extLst/>
            </p:spPr>
            <p:txBody>
              <a:bodyPr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393" name="TextBox 392"/>
            <p:cNvSpPr txBox="1"/>
            <p:nvPr/>
          </p:nvSpPr>
          <p:spPr>
            <a:xfrm>
              <a:off x="8302483" y="5250629"/>
              <a:ext cx="828000" cy="369332"/>
            </a:xfrm>
            <a:prstGeom prst="rect">
              <a:avLst/>
            </a:prstGeom>
            <a:noFill/>
          </p:spPr>
          <p:txBody>
            <a:bodyPr wrap="square" lIns="0" rIns="0" rtlCol="0" anchor="ctr" anchorCtr="1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99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DDT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99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PEPPOL UBL</a:t>
              </a:r>
            </a:p>
          </p:txBody>
        </p:sp>
      </p:grpSp>
      <p:cxnSp>
        <p:nvCxnSpPr>
          <p:cNvPr id="338" name="Straight Arrow Connector 337"/>
          <p:cNvCxnSpPr/>
          <p:nvPr/>
        </p:nvCxnSpPr>
        <p:spPr bwMode="auto">
          <a:xfrm flipV="1">
            <a:off x="1151035" y="4993573"/>
            <a:ext cx="922314" cy="1"/>
          </a:xfrm>
          <a:prstGeom prst="straightConnector1">
            <a:avLst/>
          </a:prstGeom>
          <a:solidFill>
            <a:srgbClr val="006600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sp>
        <p:nvSpPr>
          <p:cNvPr id="339" name="TextBox 338"/>
          <p:cNvSpPr txBox="1"/>
          <p:nvPr/>
        </p:nvSpPr>
        <p:spPr>
          <a:xfrm>
            <a:off x="1287064" y="5090247"/>
            <a:ext cx="745566" cy="507831"/>
          </a:xfrm>
          <a:prstGeom prst="rect">
            <a:avLst/>
          </a:prstGeom>
          <a:noFill/>
        </p:spPr>
        <p:txBody>
          <a:bodyPr wrap="square" lIns="0" rIns="0" rtlCol="0" anchor="ctr" anchorCtr="1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0099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DT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0099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(UBL, XML, EDI,...)</a:t>
            </a:r>
          </a:p>
        </p:txBody>
      </p:sp>
      <p:sp>
        <p:nvSpPr>
          <p:cNvPr id="340" name="Oval 339"/>
          <p:cNvSpPr/>
          <p:nvPr/>
        </p:nvSpPr>
        <p:spPr bwMode="auto">
          <a:xfrm>
            <a:off x="1467681" y="4788421"/>
            <a:ext cx="367200" cy="3672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0099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41" name="Freeform 293"/>
          <p:cNvSpPr>
            <a:spLocks noEditPoints="1"/>
          </p:cNvSpPr>
          <p:nvPr/>
        </p:nvSpPr>
        <p:spPr bwMode="auto">
          <a:xfrm>
            <a:off x="1540127" y="4919540"/>
            <a:ext cx="228861" cy="144000"/>
          </a:xfrm>
          <a:custGeom>
            <a:avLst/>
            <a:gdLst>
              <a:gd name="T0" fmla="*/ 317 w 320"/>
              <a:gd name="T1" fmla="*/ 45 h 170"/>
              <a:gd name="T2" fmla="*/ 295 w 320"/>
              <a:gd name="T3" fmla="*/ 24 h 170"/>
              <a:gd name="T4" fmla="*/ 288 w 320"/>
              <a:gd name="T5" fmla="*/ 21 h 170"/>
              <a:gd name="T6" fmla="*/ 245 w 320"/>
              <a:gd name="T7" fmla="*/ 21 h 170"/>
              <a:gd name="T8" fmla="*/ 245 w 320"/>
              <a:gd name="T9" fmla="*/ 10 h 170"/>
              <a:gd name="T10" fmla="*/ 234 w 320"/>
              <a:gd name="T11" fmla="*/ 0 h 170"/>
              <a:gd name="T12" fmla="*/ 10 w 320"/>
              <a:gd name="T13" fmla="*/ 0 h 170"/>
              <a:gd name="T14" fmla="*/ 0 w 320"/>
              <a:gd name="T15" fmla="*/ 10 h 170"/>
              <a:gd name="T16" fmla="*/ 0 w 320"/>
              <a:gd name="T17" fmla="*/ 117 h 170"/>
              <a:gd name="T18" fmla="*/ 10 w 320"/>
              <a:gd name="T19" fmla="*/ 128 h 170"/>
              <a:gd name="T20" fmla="*/ 23 w 320"/>
              <a:gd name="T21" fmla="*/ 128 h 170"/>
              <a:gd name="T22" fmla="*/ 21 w 320"/>
              <a:gd name="T23" fmla="*/ 138 h 170"/>
              <a:gd name="T24" fmla="*/ 53 w 320"/>
              <a:gd name="T25" fmla="*/ 170 h 170"/>
              <a:gd name="T26" fmla="*/ 80 w 320"/>
              <a:gd name="T27" fmla="*/ 156 h 170"/>
              <a:gd name="T28" fmla="*/ 106 w 320"/>
              <a:gd name="T29" fmla="*/ 170 h 170"/>
              <a:gd name="T30" fmla="*/ 138 w 320"/>
              <a:gd name="T31" fmla="*/ 138 h 170"/>
              <a:gd name="T32" fmla="*/ 136 w 320"/>
              <a:gd name="T33" fmla="*/ 128 h 170"/>
              <a:gd name="T34" fmla="*/ 234 w 320"/>
              <a:gd name="T35" fmla="*/ 128 h 170"/>
              <a:gd name="T36" fmla="*/ 236 w 320"/>
              <a:gd name="T37" fmla="*/ 128 h 170"/>
              <a:gd name="T38" fmla="*/ 234 w 320"/>
              <a:gd name="T39" fmla="*/ 138 h 170"/>
              <a:gd name="T40" fmla="*/ 266 w 320"/>
              <a:gd name="T41" fmla="*/ 170 h 170"/>
              <a:gd name="T42" fmla="*/ 298 w 320"/>
              <a:gd name="T43" fmla="*/ 138 h 170"/>
              <a:gd name="T44" fmla="*/ 296 w 320"/>
              <a:gd name="T45" fmla="*/ 128 h 170"/>
              <a:gd name="T46" fmla="*/ 309 w 320"/>
              <a:gd name="T47" fmla="*/ 128 h 170"/>
              <a:gd name="T48" fmla="*/ 320 w 320"/>
              <a:gd name="T49" fmla="*/ 117 h 170"/>
              <a:gd name="T50" fmla="*/ 320 w 320"/>
              <a:gd name="T51" fmla="*/ 53 h 170"/>
              <a:gd name="T52" fmla="*/ 317 w 320"/>
              <a:gd name="T53" fmla="*/ 45 h 170"/>
              <a:gd name="T54" fmla="*/ 21 w 320"/>
              <a:gd name="T55" fmla="*/ 21 h 170"/>
              <a:gd name="T56" fmla="*/ 224 w 320"/>
              <a:gd name="T57" fmla="*/ 21 h 170"/>
              <a:gd name="T58" fmla="*/ 224 w 320"/>
              <a:gd name="T59" fmla="*/ 32 h 170"/>
              <a:gd name="T60" fmla="*/ 224 w 320"/>
              <a:gd name="T61" fmla="*/ 106 h 170"/>
              <a:gd name="T62" fmla="*/ 21 w 320"/>
              <a:gd name="T63" fmla="*/ 106 h 170"/>
              <a:gd name="T64" fmla="*/ 21 w 320"/>
              <a:gd name="T65" fmla="*/ 21 h 170"/>
              <a:gd name="T66" fmla="*/ 53 w 320"/>
              <a:gd name="T67" fmla="*/ 149 h 170"/>
              <a:gd name="T68" fmla="*/ 42 w 320"/>
              <a:gd name="T69" fmla="*/ 138 h 170"/>
              <a:gd name="T70" fmla="*/ 53 w 320"/>
              <a:gd name="T71" fmla="*/ 128 h 170"/>
              <a:gd name="T72" fmla="*/ 64 w 320"/>
              <a:gd name="T73" fmla="*/ 138 h 170"/>
              <a:gd name="T74" fmla="*/ 53 w 320"/>
              <a:gd name="T75" fmla="*/ 149 h 170"/>
              <a:gd name="T76" fmla="*/ 117 w 320"/>
              <a:gd name="T77" fmla="*/ 138 h 170"/>
              <a:gd name="T78" fmla="*/ 106 w 320"/>
              <a:gd name="T79" fmla="*/ 149 h 170"/>
              <a:gd name="T80" fmla="*/ 96 w 320"/>
              <a:gd name="T81" fmla="*/ 138 h 170"/>
              <a:gd name="T82" fmla="*/ 106 w 320"/>
              <a:gd name="T83" fmla="*/ 128 h 170"/>
              <a:gd name="T84" fmla="*/ 117 w 320"/>
              <a:gd name="T85" fmla="*/ 138 h 170"/>
              <a:gd name="T86" fmla="*/ 277 w 320"/>
              <a:gd name="T87" fmla="*/ 138 h 170"/>
              <a:gd name="T88" fmla="*/ 266 w 320"/>
              <a:gd name="T89" fmla="*/ 149 h 170"/>
              <a:gd name="T90" fmla="*/ 256 w 320"/>
              <a:gd name="T91" fmla="*/ 138 h 170"/>
              <a:gd name="T92" fmla="*/ 266 w 320"/>
              <a:gd name="T93" fmla="*/ 128 h 170"/>
              <a:gd name="T94" fmla="*/ 277 w 320"/>
              <a:gd name="T95" fmla="*/ 138 h 170"/>
              <a:gd name="T96" fmla="*/ 298 w 320"/>
              <a:gd name="T97" fmla="*/ 106 h 170"/>
              <a:gd name="T98" fmla="*/ 245 w 320"/>
              <a:gd name="T99" fmla="*/ 106 h 170"/>
              <a:gd name="T100" fmla="*/ 245 w 320"/>
              <a:gd name="T101" fmla="*/ 42 h 170"/>
              <a:gd name="T102" fmla="*/ 283 w 320"/>
              <a:gd name="T103" fmla="*/ 42 h 170"/>
              <a:gd name="T104" fmla="*/ 298 w 320"/>
              <a:gd name="T105" fmla="*/ 57 h 170"/>
              <a:gd name="T106" fmla="*/ 298 w 320"/>
              <a:gd name="T107" fmla="*/ 106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20" h="170">
                <a:moveTo>
                  <a:pt x="317" y="45"/>
                </a:moveTo>
                <a:cubicBezTo>
                  <a:pt x="295" y="24"/>
                  <a:pt x="295" y="24"/>
                  <a:pt x="295" y="24"/>
                </a:cubicBezTo>
                <a:cubicBezTo>
                  <a:pt x="293" y="22"/>
                  <a:pt x="290" y="21"/>
                  <a:pt x="288" y="21"/>
                </a:cubicBezTo>
                <a:cubicBezTo>
                  <a:pt x="245" y="21"/>
                  <a:pt x="245" y="21"/>
                  <a:pt x="245" y="21"/>
                </a:cubicBezTo>
                <a:cubicBezTo>
                  <a:pt x="245" y="10"/>
                  <a:pt x="245" y="10"/>
                  <a:pt x="245" y="10"/>
                </a:cubicBezTo>
                <a:cubicBezTo>
                  <a:pt x="245" y="4"/>
                  <a:pt x="240" y="0"/>
                  <a:pt x="234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117"/>
                  <a:pt x="0" y="117"/>
                  <a:pt x="0" y="117"/>
                </a:cubicBezTo>
                <a:cubicBezTo>
                  <a:pt x="0" y="123"/>
                  <a:pt x="4" y="128"/>
                  <a:pt x="10" y="128"/>
                </a:cubicBezTo>
                <a:cubicBezTo>
                  <a:pt x="23" y="128"/>
                  <a:pt x="23" y="128"/>
                  <a:pt x="23" y="128"/>
                </a:cubicBezTo>
                <a:cubicBezTo>
                  <a:pt x="22" y="131"/>
                  <a:pt x="21" y="135"/>
                  <a:pt x="21" y="138"/>
                </a:cubicBezTo>
                <a:cubicBezTo>
                  <a:pt x="21" y="156"/>
                  <a:pt x="35" y="170"/>
                  <a:pt x="53" y="170"/>
                </a:cubicBezTo>
                <a:cubicBezTo>
                  <a:pt x="64" y="170"/>
                  <a:pt x="74" y="165"/>
                  <a:pt x="80" y="156"/>
                </a:cubicBezTo>
                <a:cubicBezTo>
                  <a:pt x="85" y="165"/>
                  <a:pt x="95" y="170"/>
                  <a:pt x="106" y="170"/>
                </a:cubicBezTo>
                <a:cubicBezTo>
                  <a:pt x="124" y="170"/>
                  <a:pt x="138" y="156"/>
                  <a:pt x="138" y="138"/>
                </a:cubicBezTo>
                <a:cubicBezTo>
                  <a:pt x="138" y="135"/>
                  <a:pt x="138" y="131"/>
                  <a:pt x="136" y="128"/>
                </a:cubicBezTo>
                <a:cubicBezTo>
                  <a:pt x="234" y="128"/>
                  <a:pt x="234" y="128"/>
                  <a:pt x="234" y="128"/>
                </a:cubicBezTo>
                <a:cubicBezTo>
                  <a:pt x="236" y="128"/>
                  <a:pt x="236" y="128"/>
                  <a:pt x="236" y="128"/>
                </a:cubicBezTo>
                <a:cubicBezTo>
                  <a:pt x="235" y="131"/>
                  <a:pt x="234" y="135"/>
                  <a:pt x="234" y="138"/>
                </a:cubicBezTo>
                <a:cubicBezTo>
                  <a:pt x="234" y="156"/>
                  <a:pt x="249" y="170"/>
                  <a:pt x="266" y="170"/>
                </a:cubicBezTo>
                <a:cubicBezTo>
                  <a:pt x="284" y="170"/>
                  <a:pt x="298" y="156"/>
                  <a:pt x="298" y="138"/>
                </a:cubicBezTo>
                <a:cubicBezTo>
                  <a:pt x="298" y="135"/>
                  <a:pt x="298" y="131"/>
                  <a:pt x="296" y="128"/>
                </a:cubicBezTo>
                <a:cubicBezTo>
                  <a:pt x="309" y="128"/>
                  <a:pt x="309" y="128"/>
                  <a:pt x="309" y="128"/>
                </a:cubicBezTo>
                <a:cubicBezTo>
                  <a:pt x="315" y="128"/>
                  <a:pt x="320" y="123"/>
                  <a:pt x="320" y="117"/>
                </a:cubicBezTo>
                <a:cubicBezTo>
                  <a:pt x="320" y="53"/>
                  <a:pt x="320" y="53"/>
                  <a:pt x="320" y="53"/>
                </a:cubicBezTo>
                <a:cubicBezTo>
                  <a:pt x="320" y="50"/>
                  <a:pt x="319" y="47"/>
                  <a:pt x="317" y="45"/>
                </a:cubicBezTo>
                <a:close/>
                <a:moveTo>
                  <a:pt x="21" y="21"/>
                </a:moveTo>
                <a:cubicBezTo>
                  <a:pt x="224" y="21"/>
                  <a:pt x="224" y="21"/>
                  <a:pt x="224" y="21"/>
                </a:cubicBezTo>
                <a:cubicBezTo>
                  <a:pt x="224" y="32"/>
                  <a:pt x="224" y="32"/>
                  <a:pt x="224" y="32"/>
                </a:cubicBezTo>
                <a:cubicBezTo>
                  <a:pt x="224" y="106"/>
                  <a:pt x="224" y="106"/>
                  <a:pt x="224" y="106"/>
                </a:cubicBezTo>
                <a:cubicBezTo>
                  <a:pt x="21" y="106"/>
                  <a:pt x="21" y="106"/>
                  <a:pt x="21" y="106"/>
                </a:cubicBezTo>
                <a:lnTo>
                  <a:pt x="21" y="21"/>
                </a:lnTo>
                <a:close/>
                <a:moveTo>
                  <a:pt x="53" y="149"/>
                </a:moveTo>
                <a:cubicBezTo>
                  <a:pt x="47" y="149"/>
                  <a:pt x="42" y="144"/>
                  <a:pt x="42" y="138"/>
                </a:cubicBezTo>
                <a:cubicBezTo>
                  <a:pt x="42" y="132"/>
                  <a:pt x="47" y="128"/>
                  <a:pt x="53" y="128"/>
                </a:cubicBezTo>
                <a:cubicBezTo>
                  <a:pt x="59" y="128"/>
                  <a:pt x="64" y="132"/>
                  <a:pt x="64" y="138"/>
                </a:cubicBezTo>
                <a:cubicBezTo>
                  <a:pt x="64" y="144"/>
                  <a:pt x="59" y="149"/>
                  <a:pt x="53" y="149"/>
                </a:cubicBezTo>
                <a:close/>
                <a:moveTo>
                  <a:pt x="117" y="138"/>
                </a:moveTo>
                <a:cubicBezTo>
                  <a:pt x="117" y="144"/>
                  <a:pt x="112" y="149"/>
                  <a:pt x="106" y="149"/>
                </a:cubicBezTo>
                <a:cubicBezTo>
                  <a:pt x="100" y="149"/>
                  <a:pt x="96" y="144"/>
                  <a:pt x="96" y="138"/>
                </a:cubicBezTo>
                <a:cubicBezTo>
                  <a:pt x="96" y="132"/>
                  <a:pt x="100" y="128"/>
                  <a:pt x="106" y="128"/>
                </a:cubicBezTo>
                <a:cubicBezTo>
                  <a:pt x="112" y="128"/>
                  <a:pt x="117" y="132"/>
                  <a:pt x="117" y="138"/>
                </a:cubicBezTo>
                <a:close/>
                <a:moveTo>
                  <a:pt x="277" y="138"/>
                </a:moveTo>
                <a:cubicBezTo>
                  <a:pt x="277" y="144"/>
                  <a:pt x="272" y="149"/>
                  <a:pt x="266" y="149"/>
                </a:cubicBezTo>
                <a:cubicBezTo>
                  <a:pt x="260" y="149"/>
                  <a:pt x="256" y="144"/>
                  <a:pt x="256" y="138"/>
                </a:cubicBezTo>
                <a:cubicBezTo>
                  <a:pt x="256" y="132"/>
                  <a:pt x="260" y="128"/>
                  <a:pt x="266" y="128"/>
                </a:cubicBezTo>
                <a:cubicBezTo>
                  <a:pt x="272" y="128"/>
                  <a:pt x="277" y="132"/>
                  <a:pt x="277" y="138"/>
                </a:cubicBezTo>
                <a:close/>
                <a:moveTo>
                  <a:pt x="298" y="106"/>
                </a:moveTo>
                <a:cubicBezTo>
                  <a:pt x="245" y="106"/>
                  <a:pt x="245" y="106"/>
                  <a:pt x="245" y="106"/>
                </a:cubicBezTo>
                <a:cubicBezTo>
                  <a:pt x="245" y="42"/>
                  <a:pt x="245" y="42"/>
                  <a:pt x="245" y="42"/>
                </a:cubicBezTo>
                <a:cubicBezTo>
                  <a:pt x="283" y="42"/>
                  <a:pt x="283" y="42"/>
                  <a:pt x="283" y="42"/>
                </a:cubicBezTo>
                <a:cubicBezTo>
                  <a:pt x="298" y="57"/>
                  <a:pt x="298" y="57"/>
                  <a:pt x="298" y="57"/>
                </a:cubicBezTo>
                <a:lnTo>
                  <a:pt x="298" y="106"/>
                </a:lnTo>
                <a:close/>
              </a:path>
            </a:pathLst>
          </a:custGeom>
          <a:solidFill>
            <a:srgbClr val="009900"/>
          </a:solidFill>
          <a:ln>
            <a:noFill/>
          </a:ln>
          <a:extLst/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2" name="TextBox 341"/>
          <p:cNvSpPr txBox="1"/>
          <p:nvPr/>
        </p:nvSpPr>
        <p:spPr>
          <a:xfrm>
            <a:off x="2119299" y="4573153"/>
            <a:ext cx="906319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DT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XML, EDI,...)</a:t>
            </a:r>
          </a:p>
        </p:txBody>
      </p:sp>
      <p:sp>
        <p:nvSpPr>
          <p:cNvPr id="343" name="Rounded Rectangle 342"/>
          <p:cNvSpPr/>
          <p:nvPr/>
        </p:nvSpPr>
        <p:spPr>
          <a:xfrm>
            <a:off x="5946863" y="5414288"/>
            <a:ext cx="2066196" cy="735284"/>
          </a:xfrm>
          <a:prstGeom prst="roundRect">
            <a:avLst>
              <a:gd name="adj" fmla="val 5560"/>
            </a:avLst>
          </a:prstGeom>
          <a:solidFill>
            <a:srgbClr val="FAE7E9"/>
          </a:solidFill>
          <a:ln w="19050">
            <a:solidFill>
              <a:srgbClr val="DE5D6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540000" rtlCol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stema di conservazione PARER</a:t>
            </a:r>
          </a:p>
        </p:txBody>
      </p:sp>
      <p:sp>
        <p:nvSpPr>
          <p:cNvPr id="344" name="Oval 343"/>
          <p:cNvSpPr/>
          <p:nvPr/>
        </p:nvSpPr>
        <p:spPr bwMode="auto">
          <a:xfrm>
            <a:off x="7550802" y="5615836"/>
            <a:ext cx="360000" cy="3600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pSp>
        <p:nvGrpSpPr>
          <p:cNvPr id="345" name="Group 795"/>
          <p:cNvGrpSpPr>
            <a:grpSpLocks noChangeAspect="1"/>
          </p:cNvGrpSpPr>
          <p:nvPr/>
        </p:nvGrpSpPr>
        <p:grpSpPr bwMode="auto">
          <a:xfrm>
            <a:off x="7524649" y="5589683"/>
            <a:ext cx="396000" cy="396000"/>
            <a:chOff x="4288" y="3084"/>
            <a:chExt cx="340" cy="340"/>
          </a:xfrm>
          <a:solidFill>
            <a:schemeClr val="accent3"/>
          </a:solidFill>
        </p:grpSpPr>
        <p:sp>
          <p:nvSpPr>
            <p:cNvPr id="386" name="Freeform 796"/>
            <p:cNvSpPr>
              <a:spLocks noEditPoints="1"/>
            </p:cNvSpPr>
            <p:nvPr/>
          </p:nvSpPr>
          <p:spPr bwMode="auto">
            <a:xfrm>
              <a:off x="4288" y="308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1 w 512"/>
                <a:gd name="T3" fmla="*/ 256 h 512"/>
                <a:gd name="T4" fmla="*/ 256 w 512"/>
                <a:gd name="T5" fmla="*/ 491 h 512"/>
                <a:gd name="T6" fmla="*/ 22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6" y="21"/>
                    <a:pt x="491" y="127"/>
                    <a:pt x="491" y="256"/>
                  </a:cubicBezTo>
                  <a:cubicBezTo>
                    <a:pt x="491" y="385"/>
                    <a:pt x="386" y="491"/>
                    <a:pt x="256" y="491"/>
                  </a:cubicBezTo>
                  <a:cubicBezTo>
                    <a:pt x="127" y="491"/>
                    <a:pt x="22" y="385"/>
                    <a:pt x="22" y="256"/>
                  </a:cubicBezTo>
                  <a:cubicBezTo>
                    <a:pt x="22" y="127"/>
                    <a:pt x="127" y="21"/>
                    <a:pt x="256" y="21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7"/>
                    <a:pt x="115" y="512"/>
                    <a:pt x="256" y="512"/>
                  </a:cubicBezTo>
                  <a:cubicBezTo>
                    <a:pt x="398" y="512"/>
                    <a:pt x="512" y="397"/>
                    <a:pt x="512" y="256"/>
                  </a:cubicBezTo>
                  <a:cubicBezTo>
                    <a:pt x="512" y="115"/>
                    <a:pt x="398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7" name="Freeform 797"/>
            <p:cNvSpPr>
              <a:spLocks noEditPoints="1"/>
            </p:cNvSpPr>
            <p:nvPr/>
          </p:nvSpPr>
          <p:spPr bwMode="auto">
            <a:xfrm>
              <a:off x="4352" y="3176"/>
              <a:ext cx="212" cy="170"/>
            </a:xfrm>
            <a:custGeom>
              <a:avLst/>
              <a:gdLst>
                <a:gd name="T0" fmla="*/ 310 w 320"/>
                <a:gd name="T1" fmla="*/ 0 h 256"/>
                <a:gd name="T2" fmla="*/ 11 w 320"/>
                <a:gd name="T3" fmla="*/ 0 h 256"/>
                <a:gd name="T4" fmla="*/ 0 w 320"/>
                <a:gd name="T5" fmla="*/ 10 h 256"/>
                <a:gd name="T6" fmla="*/ 0 w 320"/>
                <a:gd name="T7" fmla="*/ 224 h 256"/>
                <a:gd name="T8" fmla="*/ 11 w 320"/>
                <a:gd name="T9" fmla="*/ 235 h 256"/>
                <a:gd name="T10" fmla="*/ 54 w 320"/>
                <a:gd name="T11" fmla="*/ 235 h 256"/>
                <a:gd name="T12" fmla="*/ 43 w 320"/>
                <a:gd name="T13" fmla="*/ 246 h 256"/>
                <a:gd name="T14" fmla="*/ 54 w 320"/>
                <a:gd name="T15" fmla="*/ 256 h 256"/>
                <a:gd name="T16" fmla="*/ 96 w 320"/>
                <a:gd name="T17" fmla="*/ 256 h 256"/>
                <a:gd name="T18" fmla="*/ 107 w 320"/>
                <a:gd name="T19" fmla="*/ 246 h 256"/>
                <a:gd name="T20" fmla="*/ 96 w 320"/>
                <a:gd name="T21" fmla="*/ 235 h 256"/>
                <a:gd name="T22" fmla="*/ 224 w 320"/>
                <a:gd name="T23" fmla="*/ 235 h 256"/>
                <a:gd name="T24" fmla="*/ 214 w 320"/>
                <a:gd name="T25" fmla="*/ 246 h 256"/>
                <a:gd name="T26" fmla="*/ 224 w 320"/>
                <a:gd name="T27" fmla="*/ 256 h 256"/>
                <a:gd name="T28" fmla="*/ 267 w 320"/>
                <a:gd name="T29" fmla="*/ 256 h 256"/>
                <a:gd name="T30" fmla="*/ 278 w 320"/>
                <a:gd name="T31" fmla="*/ 246 h 256"/>
                <a:gd name="T32" fmla="*/ 267 w 320"/>
                <a:gd name="T33" fmla="*/ 235 h 256"/>
                <a:gd name="T34" fmla="*/ 310 w 320"/>
                <a:gd name="T35" fmla="*/ 235 h 256"/>
                <a:gd name="T36" fmla="*/ 320 w 320"/>
                <a:gd name="T37" fmla="*/ 224 h 256"/>
                <a:gd name="T38" fmla="*/ 320 w 320"/>
                <a:gd name="T39" fmla="*/ 10 h 256"/>
                <a:gd name="T40" fmla="*/ 310 w 320"/>
                <a:gd name="T41" fmla="*/ 0 h 256"/>
                <a:gd name="T42" fmla="*/ 22 w 320"/>
                <a:gd name="T43" fmla="*/ 214 h 256"/>
                <a:gd name="T44" fmla="*/ 22 w 320"/>
                <a:gd name="T45" fmla="*/ 22 h 256"/>
                <a:gd name="T46" fmla="*/ 54 w 320"/>
                <a:gd name="T47" fmla="*/ 22 h 256"/>
                <a:gd name="T48" fmla="*/ 54 w 320"/>
                <a:gd name="T49" fmla="*/ 42 h 256"/>
                <a:gd name="T50" fmla="*/ 43 w 320"/>
                <a:gd name="T51" fmla="*/ 53 h 256"/>
                <a:gd name="T52" fmla="*/ 54 w 320"/>
                <a:gd name="T53" fmla="*/ 64 h 256"/>
                <a:gd name="T54" fmla="*/ 54 w 320"/>
                <a:gd name="T55" fmla="*/ 170 h 256"/>
                <a:gd name="T56" fmla="*/ 43 w 320"/>
                <a:gd name="T57" fmla="*/ 181 h 256"/>
                <a:gd name="T58" fmla="*/ 54 w 320"/>
                <a:gd name="T59" fmla="*/ 192 h 256"/>
                <a:gd name="T60" fmla="*/ 54 w 320"/>
                <a:gd name="T61" fmla="*/ 214 h 256"/>
                <a:gd name="T62" fmla="*/ 22 w 320"/>
                <a:gd name="T63" fmla="*/ 214 h 256"/>
                <a:gd name="T64" fmla="*/ 299 w 320"/>
                <a:gd name="T65" fmla="*/ 214 h 256"/>
                <a:gd name="T66" fmla="*/ 75 w 320"/>
                <a:gd name="T67" fmla="*/ 214 h 256"/>
                <a:gd name="T68" fmla="*/ 75 w 320"/>
                <a:gd name="T69" fmla="*/ 192 h 256"/>
                <a:gd name="T70" fmla="*/ 86 w 320"/>
                <a:gd name="T71" fmla="*/ 181 h 256"/>
                <a:gd name="T72" fmla="*/ 75 w 320"/>
                <a:gd name="T73" fmla="*/ 170 h 256"/>
                <a:gd name="T74" fmla="*/ 75 w 320"/>
                <a:gd name="T75" fmla="*/ 64 h 256"/>
                <a:gd name="T76" fmla="*/ 86 w 320"/>
                <a:gd name="T77" fmla="*/ 53 h 256"/>
                <a:gd name="T78" fmla="*/ 75 w 320"/>
                <a:gd name="T79" fmla="*/ 42 h 256"/>
                <a:gd name="T80" fmla="*/ 75 w 320"/>
                <a:gd name="T81" fmla="*/ 22 h 256"/>
                <a:gd name="T82" fmla="*/ 299 w 320"/>
                <a:gd name="T83" fmla="*/ 22 h 256"/>
                <a:gd name="T84" fmla="*/ 299 w 320"/>
                <a:gd name="T85" fmla="*/ 214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0" h="256">
                  <a:moveTo>
                    <a:pt x="310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30"/>
                    <a:pt x="5" y="235"/>
                    <a:pt x="11" y="235"/>
                  </a:cubicBezTo>
                  <a:cubicBezTo>
                    <a:pt x="54" y="235"/>
                    <a:pt x="54" y="235"/>
                    <a:pt x="54" y="235"/>
                  </a:cubicBezTo>
                  <a:cubicBezTo>
                    <a:pt x="48" y="235"/>
                    <a:pt x="43" y="240"/>
                    <a:pt x="43" y="246"/>
                  </a:cubicBezTo>
                  <a:cubicBezTo>
                    <a:pt x="43" y="252"/>
                    <a:pt x="48" y="256"/>
                    <a:pt x="54" y="256"/>
                  </a:cubicBezTo>
                  <a:cubicBezTo>
                    <a:pt x="96" y="256"/>
                    <a:pt x="96" y="256"/>
                    <a:pt x="96" y="256"/>
                  </a:cubicBezTo>
                  <a:cubicBezTo>
                    <a:pt x="102" y="256"/>
                    <a:pt x="107" y="252"/>
                    <a:pt x="107" y="246"/>
                  </a:cubicBezTo>
                  <a:cubicBezTo>
                    <a:pt x="107" y="240"/>
                    <a:pt x="102" y="235"/>
                    <a:pt x="96" y="235"/>
                  </a:cubicBezTo>
                  <a:cubicBezTo>
                    <a:pt x="224" y="235"/>
                    <a:pt x="224" y="235"/>
                    <a:pt x="224" y="235"/>
                  </a:cubicBezTo>
                  <a:cubicBezTo>
                    <a:pt x="218" y="235"/>
                    <a:pt x="214" y="240"/>
                    <a:pt x="214" y="246"/>
                  </a:cubicBezTo>
                  <a:cubicBezTo>
                    <a:pt x="214" y="252"/>
                    <a:pt x="218" y="256"/>
                    <a:pt x="224" y="256"/>
                  </a:cubicBezTo>
                  <a:cubicBezTo>
                    <a:pt x="267" y="256"/>
                    <a:pt x="267" y="256"/>
                    <a:pt x="267" y="256"/>
                  </a:cubicBezTo>
                  <a:cubicBezTo>
                    <a:pt x="273" y="256"/>
                    <a:pt x="278" y="252"/>
                    <a:pt x="278" y="246"/>
                  </a:cubicBezTo>
                  <a:cubicBezTo>
                    <a:pt x="278" y="240"/>
                    <a:pt x="273" y="235"/>
                    <a:pt x="267" y="235"/>
                  </a:cubicBezTo>
                  <a:cubicBezTo>
                    <a:pt x="310" y="235"/>
                    <a:pt x="310" y="235"/>
                    <a:pt x="310" y="235"/>
                  </a:cubicBezTo>
                  <a:cubicBezTo>
                    <a:pt x="316" y="235"/>
                    <a:pt x="320" y="230"/>
                    <a:pt x="320" y="224"/>
                  </a:cubicBezTo>
                  <a:cubicBezTo>
                    <a:pt x="320" y="10"/>
                    <a:pt x="320" y="10"/>
                    <a:pt x="320" y="10"/>
                  </a:cubicBezTo>
                  <a:cubicBezTo>
                    <a:pt x="320" y="4"/>
                    <a:pt x="316" y="0"/>
                    <a:pt x="310" y="0"/>
                  </a:cubicBezTo>
                  <a:close/>
                  <a:moveTo>
                    <a:pt x="22" y="214"/>
                  </a:moveTo>
                  <a:cubicBezTo>
                    <a:pt x="22" y="22"/>
                    <a:pt x="22" y="22"/>
                    <a:pt x="22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48" y="42"/>
                    <a:pt x="43" y="47"/>
                    <a:pt x="43" y="53"/>
                  </a:cubicBezTo>
                  <a:cubicBezTo>
                    <a:pt x="43" y="59"/>
                    <a:pt x="48" y="64"/>
                    <a:pt x="54" y="64"/>
                  </a:cubicBezTo>
                  <a:cubicBezTo>
                    <a:pt x="54" y="170"/>
                    <a:pt x="54" y="170"/>
                    <a:pt x="54" y="170"/>
                  </a:cubicBezTo>
                  <a:cubicBezTo>
                    <a:pt x="48" y="170"/>
                    <a:pt x="43" y="175"/>
                    <a:pt x="43" y="181"/>
                  </a:cubicBezTo>
                  <a:cubicBezTo>
                    <a:pt x="43" y="187"/>
                    <a:pt x="48" y="192"/>
                    <a:pt x="54" y="192"/>
                  </a:cubicBezTo>
                  <a:cubicBezTo>
                    <a:pt x="54" y="214"/>
                    <a:pt x="54" y="214"/>
                    <a:pt x="54" y="214"/>
                  </a:cubicBezTo>
                  <a:lnTo>
                    <a:pt x="22" y="214"/>
                  </a:lnTo>
                  <a:close/>
                  <a:moveTo>
                    <a:pt x="299" y="214"/>
                  </a:moveTo>
                  <a:cubicBezTo>
                    <a:pt x="75" y="214"/>
                    <a:pt x="75" y="214"/>
                    <a:pt x="75" y="214"/>
                  </a:cubicBezTo>
                  <a:cubicBezTo>
                    <a:pt x="75" y="192"/>
                    <a:pt x="75" y="192"/>
                    <a:pt x="75" y="192"/>
                  </a:cubicBezTo>
                  <a:cubicBezTo>
                    <a:pt x="81" y="192"/>
                    <a:pt x="86" y="187"/>
                    <a:pt x="86" y="181"/>
                  </a:cubicBezTo>
                  <a:cubicBezTo>
                    <a:pt x="86" y="175"/>
                    <a:pt x="81" y="170"/>
                    <a:pt x="75" y="170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81" y="64"/>
                    <a:pt x="86" y="59"/>
                    <a:pt x="86" y="53"/>
                  </a:cubicBezTo>
                  <a:cubicBezTo>
                    <a:pt x="86" y="47"/>
                    <a:pt x="81" y="42"/>
                    <a:pt x="75" y="42"/>
                  </a:cubicBezTo>
                  <a:cubicBezTo>
                    <a:pt x="75" y="22"/>
                    <a:pt x="75" y="22"/>
                    <a:pt x="75" y="22"/>
                  </a:cubicBezTo>
                  <a:cubicBezTo>
                    <a:pt x="299" y="22"/>
                    <a:pt x="299" y="22"/>
                    <a:pt x="299" y="22"/>
                  </a:cubicBezTo>
                  <a:lnTo>
                    <a:pt x="299" y="2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8" name="Freeform 798"/>
            <p:cNvSpPr>
              <a:spLocks noEditPoints="1"/>
            </p:cNvSpPr>
            <p:nvPr/>
          </p:nvSpPr>
          <p:spPr bwMode="auto">
            <a:xfrm>
              <a:off x="4465" y="3219"/>
              <a:ext cx="71" cy="70"/>
            </a:xfrm>
            <a:custGeom>
              <a:avLst/>
              <a:gdLst>
                <a:gd name="T0" fmla="*/ 53 w 107"/>
                <a:gd name="T1" fmla="*/ 106 h 106"/>
                <a:gd name="T2" fmla="*/ 107 w 107"/>
                <a:gd name="T3" fmla="*/ 53 h 106"/>
                <a:gd name="T4" fmla="*/ 53 w 107"/>
                <a:gd name="T5" fmla="*/ 0 h 106"/>
                <a:gd name="T6" fmla="*/ 0 w 107"/>
                <a:gd name="T7" fmla="*/ 53 h 106"/>
                <a:gd name="T8" fmla="*/ 53 w 107"/>
                <a:gd name="T9" fmla="*/ 106 h 106"/>
                <a:gd name="T10" fmla="*/ 53 w 107"/>
                <a:gd name="T11" fmla="*/ 21 h 106"/>
                <a:gd name="T12" fmla="*/ 85 w 107"/>
                <a:gd name="T13" fmla="*/ 53 h 106"/>
                <a:gd name="T14" fmla="*/ 53 w 107"/>
                <a:gd name="T15" fmla="*/ 85 h 106"/>
                <a:gd name="T16" fmla="*/ 21 w 107"/>
                <a:gd name="T17" fmla="*/ 53 h 106"/>
                <a:gd name="T18" fmla="*/ 53 w 107"/>
                <a:gd name="T19" fmla="*/ 2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106">
                  <a:moveTo>
                    <a:pt x="53" y="106"/>
                  </a:moveTo>
                  <a:cubicBezTo>
                    <a:pt x="83" y="106"/>
                    <a:pt x="107" y="82"/>
                    <a:pt x="107" y="53"/>
                  </a:cubicBezTo>
                  <a:cubicBezTo>
                    <a:pt x="107" y="24"/>
                    <a:pt x="83" y="0"/>
                    <a:pt x="53" y="0"/>
                  </a:cubicBezTo>
                  <a:cubicBezTo>
                    <a:pt x="24" y="0"/>
                    <a:pt x="0" y="24"/>
                    <a:pt x="0" y="53"/>
                  </a:cubicBezTo>
                  <a:cubicBezTo>
                    <a:pt x="0" y="82"/>
                    <a:pt x="24" y="106"/>
                    <a:pt x="53" y="106"/>
                  </a:cubicBezTo>
                  <a:close/>
                  <a:moveTo>
                    <a:pt x="53" y="21"/>
                  </a:moveTo>
                  <a:cubicBezTo>
                    <a:pt x="71" y="21"/>
                    <a:pt x="85" y="35"/>
                    <a:pt x="85" y="53"/>
                  </a:cubicBezTo>
                  <a:cubicBezTo>
                    <a:pt x="85" y="71"/>
                    <a:pt x="71" y="85"/>
                    <a:pt x="53" y="85"/>
                  </a:cubicBezTo>
                  <a:cubicBezTo>
                    <a:pt x="36" y="85"/>
                    <a:pt x="21" y="71"/>
                    <a:pt x="21" y="53"/>
                  </a:cubicBezTo>
                  <a:cubicBezTo>
                    <a:pt x="21" y="35"/>
                    <a:pt x="36" y="21"/>
                    <a:pt x="53" y="21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9" name="Freeform 799"/>
            <p:cNvSpPr>
              <a:spLocks/>
            </p:cNvSpPr>
            <p:nvPr/>
          </p:nvSpPr>
          <p:spPr bwMode="auto">
            <a:xfrm>
              <a:off x="4494" y="3247"/>
              <a:ext cx="14" cy="14"/>
            </a:xfrm>
            <a:custGeom>
              <a:avLst/>
              <a:gdLst>
                <a:gd name="T0" fmla="*/ 11 w 21"/>
                <a:gd name="T1" fmla="*/ 21 h 21"/>
                <a:gd name="T2" fmla="*/ 21 w 21"/>
                <a:gd name="T3" fmla="*/ 10 h 21"/>
                <a:gd name="T4" fmla="*/ 11 w 21"/>
                <a:gd name="T5" fmla="*/ 0 h 21"/>
                <a:gd name="T6" fmla="*/ 10 w 21"/>
                <a:gd name="T7" fmla="*/ 0 h 21"/>
                <a:gd name="T8" fmla="*/ 0 w 21"/>
                <a:gd name="T9" fmla="*/ 10 h 21"/>
                <a:gd name="T10" fmla="*/ 11 w 21"/>
                <a:gd name="T1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21">
                  <a:moveTo>
                    <a:pt x="11" y="21"/>
                  </a:moveTo>
                  <a:cubicBezTo>
                    <a:pt x="16" y="21"/>
                    <a:pt x="21" y="16"/>
                    <a:pt x="21" y="10"/>
                  </a:cubicBezTo>
                  <a:cubicBezTo>
                    <a:pt x="21" y="4"/>
                    <a:pt x="16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46" name="Can 345"/>
          <p:cNvSpPr/>
          <p:nvPr/>
        </p:nvSpPr>
        <p:spPr bwMode="auto">
          <a:xfrm>
            <a:off x="2617032" y="2926959"/>
            <a:ext cx="625394" cy="485390"/>
          </a:xfrm>
          <a:prstGeom prst="can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txBody>
          <a:bodyPr lIns="0" tIns="7200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MP</a:t>
            </a:r>
          </a:p>
        </p:txBody>
      </p:sp>
      <p:pic>
        <p:nvPicPr>
          <p:cNvPr id="347" name="Picture 34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7044" y="4483062"/>
            <a:ext cx="940843" cy="402019"/>
          </a:xfrm>
          <a:prstGeom prst="rect">
            <a:avLst/>
          </a:prstGeom>
        </p:spPr>
      </p:pic>
      <p:sp>
        <p:nvSpPr>
          <p:cNvPr id="348" name="Can 347"/>
          <p:cNvSpPr/>
          <p:nvPr/>
        </p:nvSpPr>
        <p:spPr bwMode="auto">
          <a:xfrm>
            <a:off x="6655131" y="2926959"/>
            <a:ext cx="625394" cy="485390"/>
          </a:xfrm>
          <a:prstGeom prst="can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txBody>
          <a:bodyPr lIns="0" tIns="7200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MP</a:t>
            </a:r>
          </a:p>
        </p:txBody>
      </p:sp>
      <p:cxnSp>
        <p:nvCxnSpPr>
          <p:cNvPr id="349" name="Elbow Connector 348"/>
          <p:cNvCxnSpPr>
            <a:endCxn id="305" idx="2"/>
          </p:cNvCxnSpPr>
          <p:nvPr/>
        </p:nvCxnSpPr>
        <p:spPr bwMode="auto">
          <a:xfrm rot="5400000" flipH="1" flipV="1">
            <a:off x="2841396" y="1666380"/>
            <a:ext cx="1456062" cy="1236041"/>
          </a:xfrm>
          <a:prstGeom prst="bentConnector2">
            <a:avLst/>
          </a:prstGeom>
          <a:solidFill>
            <a:srgbClr val="006600"/>
          </a:solidFill>
          <a:ln w="19050" cap="flat" cmpd="sng" algn="ctr">
            <a:solidFill>
              <a:schemeClr val="accent3"/>
            </a:solidFill>
            <a:prstDash val="solid"/>
            <a:round/>
            <a:headEnd type="triangle" w="lg" len="med"/>
            <a:tailEnd type="triangle" w="lg" len="med"/>
          </a:ln>
          <a:effectLst/>
        </p:spPr>
      </p:cxnSp>
      <p:sp>
        <p:nvSpPr>
          <p:cNvPr id="350" name="Can 349"/>
          <p:cNvSpPr/>
          <p:nvPr/>
        </p:nvSpPr>
        <p:spPr bwMode="auto">
          <a:xfrm>
            <a:off x="4618532" y="1614707"/>
            <a:ext cx="621526" cy="491773"/>
          </a:xfrm>
          <a:prstGeom prst="can">
            <a:avLst/>
          </a:prstGeom>
          <a:gradFill>
            <a:gsLst>
              <a:gs pos="0">
                <a:srgbClr val="FFCC66"/>
              </a:gs>
              <a:gs pos="93000">
                <a:srgbClr val="FFFF99"/>
              </a:gs>
            </a:gsLst>
            <a:lin ang="5400000" scaled="1"/>
          </a:gradFill>
          <a:ln>
            <a:solidFill>
              <a:schemeClr val="bg1"/>
            </a:solidFill>
          </a:ln>
        </p:spPr>
        <p:txBody>
          <a:bodyPr lIns="0" tIns="72000" r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ML</a:t>
            </a:r>
          </a:p>
        </p:txBody>
      </p:sp>
      <p:cxnSp>
        <p:nvCxnSpPr>
          <p:cNvPr id="351" name="Elbow Connector 350"/>
          <p:cNvCxnSpPr>
            <a:endCxn id="305" idx="0"/>
          </p:cNvCxnSpPr>
          <p:nvPr/>
        </p:nvCxnSpPr>
        <p:spPr bwMode="auto">
          <a:xfrm rot="16200000" flipV="1">
            <a:off x="5731179" y="1775781"/>
            <a:ext cx="1456062" cy="1017237"/>
          </a:xfrm>
          <a:prstGeom prst="bentConnector2">
            <a:avLst/>
          </a:prstGeom>
          <a:solidFill>
            <a:srgbClr val="006600"/>
          </a:solidFill>
          <a:ln w="19050" cap="flat" cmpd="sng" algn="ctr">
            <a:solidFill>
              <a:schemeClr val="accent3"/>
            </a:solidFill>
            <a:prstDash val="solid"/>
            <a:round/>
            <a:headEnd type="triangle" w="lg" len="med"/>
            <a:tailEnd type="triangle" w="lg" len="med"/>
          </a:ln>
          <a:effectLst/>
        </p:spPr>
      </p:cxnSp>
      <p:sp>
        <p:nvSpPr>
          <p:cNvPr id="352" name="Rectangle 351"/>
          <p:cNvSpPr/>
          <p:nvPr/>
        </p:nvSpPr>
        <p:spPr>
          <a:xfrm>
            <a:off x="2089335" y="2492986"/>
            <a:ext cx="1692875" cy="216000"/>
          </a:xfrm>
          <a:prstGeom prst="rect">
            <a:avLst/>
          </a:prstGeom>
          <a:solidFill>
            <a:schemeClr val="bg1"/>
          </a:solidFill>
          <a:ln w="1905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mediario del fornitore</a:t>
            </a:r>
          </a:p>
        </p:txBody>
      </p:sp>
      <p:pic>
        <p:nvPicPr>
          <p:cNvPr id="353" name="Picture 352"/>
          <p:cNvPicPr>
            <a:picLocks noChangeAspect="1"/>
          </p:cNvPicPr>
          <p:nvPr/>
        </p:nvPicPr>
        <p:blipFill>
          <a:blip r:embed="rId7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2567" y="1130294"/>
            <a:ext cx="1482485" cy="495959"/>
          </a:xfrm>
          <a:prstGeom prst="rect">
            <a:avLst/>
          </a:prstGeom>
        </p:spPr>
      </p:pic>
      <p:sp>
        <p:nvSpPr>
          <p:cNvPr id="354" name="Rectangle 353"/>
          <p:cNvSpPr/>
          <p:nvPr/>
        </p:nvSpPr>
        <p:spPr>
          <a:xfrm>
            <a:off x="6065162" y="2496924"/>
            <a:ext cx="1800000" cy="213812"/>
          </a:xfrm>
          <a:prstGeom prst="rect">
            <a:avLst/>
          </a:prstGeom>
          <a:solidFill>
            <a:srgbClr val="FAE7E9"/>
          </a:solidFill>
          <a:ln w="1905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mediario della PA </a:t>
            </a:r>
          </a:p>
        </p:txBody>
      </p:sp>
      <p:cxnSp>
        <p:nvCxnSpPr>
          <p:cNvPr id="355" name="Straight Arrow Connector 354"/>
          <p:cNvCxnSpPr/>
          <p:nvPr/>
        </p:nvCxnSpPr>
        <p:spPr bwMode="auto">
          <a:xfrm flipV="1">
            <a:off x="3795368" y="4976259"/>
            <a:ext cx="2124000" cy="1"/>
          </a:xfrm>
          <a:prstGeom prst="straightConnector1">
            <a:avLst/>
          </a:prstGeom>
          <a:solidFill>
            <a:srgbClr val="006600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grpSp>
        <p:nvGrpSpPr>
          <p:cNvPr id="356" name="Group 355"/>
          <p:cNvGrpSpPr>
            <a:grpSpLocks noChangeAspect="1"/>
          </p:cNvGrpSpPr>
          <p:nvPr/>
        </p:nvGrpSpPr>
        <p:grpSpPr>
          <a:xfrm>
            <a:off x="4493855" y="4750655"/>
            <a:ext cx="707950" cy="468000"/>
            <a:chOff x="2643580" y="4972445"/>
            <a:chExt cx="722765" cy="477794"/>
          </a:xfrm>
        </p:grpSpPr>
        <p:sp>
          <p:nvSpPr>
            <p:cNvPr id="383" name="Oval 382"/>
            <p:cNvSpPr/>
            <p:nvPr/>
          </p:nvSpPr>
          <p:spPr bwMode="auto">
            <a:xfrm>
              <a:off x="2643580" y="4972445"/>
              <a:ext cx="722765" cy="477794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rgbClr val="0099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0000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it-IT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pic>
          <p:nvPicPr>
            <p:cNvPr id="384" name="Picture 19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53661" y="5062306"/>
              <a:ext cx="282269" cy="28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85" name="Freeform 293"/>
            <p:cNvSpPr>
              <a:spLocks noEditPoints="1"/>
            </p:cNvSpPr>
            <p:nvPr/>
          </p:nvSpPr>
          <p:spPr bwMode="auto">
            <a:xfrm>
              <a:off x="3073048" y="5143162"/>
              <a:ext cx="228861" cy="144000"/>
            </a:xfrm>
            <a:custGeom>
              <a:avLst/>
              <a:gdLst>
                <a:gd name="T0" fmla="*/ 317 w 320"/>
                <a:gd name="T1" fmla="*/ 45 h 170"/>
                <a:gd name="T2" fmla="*/ 295 w 320"/>
                <a:gd name="T3" fmla="*/ 24 h 170"/>
                <a:gd name="T4" fmla="*/ 288 w 320"/>
                <a:gd name="T5" fmla="*/ 21 h 170"/>
                <a:gd name="T6" fmla="*/ 245 w 320"/>
                <a:gd name="T7" fmla="*/ 21 h 170"/>
                <a:gd name="T8" fmla="*/ 245 w 320"/>
                <a:gd name="T9" fmla="*/ 10 h 170"/>
                <a:gd name="T10" fmla="*/ 234 w 320"/>
                <a:gd name="T11" fmla="*/ 0 h 170"/>
                <a:gd name="T12" fmla="*/ 10 w 320"/>
                <a:gd name="T13" fmla="*/ 0 h 170"/>
                <a:gd name="T14" fmla="*/ 0 w 320"/>
                <a:gd name="T15" fmla="*/ 10 h 170"/>
                <a:gd name="T16" fmla="*/ 0 w 320"/>
                <a:gd name="T17" fmla="*/ 117 h 170"/>
                <a:gd name="T18" fmla="*/ 10 w 320"/>
                <a:gd name="T19" fmla="*/ 128 h 170"/>
                <a:gd name="T20" fmla="*/ 23 w 320"/>
                <a:gd name="T21" fmla="*/ 128 h 170"/>
                <a:gd name="T22" fmla="*/ 21 w 320"/>
                <a:gd name="T23" fmla="*/ 138 h 170"/>
                <a:gd name="T24" fmla="*/ 53 w 320"/>
                <a:gd name="T25" fmla="*/ 170 h 170"/>
                <a:gd name="T26" fmla="*/ 80 w 320"/>
                <a:gd name="T27" fmla="*/ 156 h 170"/>
                <a:gd name="T28" fmla="*/ 106 w 320"/>
                <a:gd name="T29" fmla="*/ 170 h 170"/>
                <a:gd name="T30" fmla="*/ 138 w 320"/>
                <a:gd name="T31" fmla="*/ 138 h 170"/>
                <a:gd name="T32" fmla="*/ 136 w 320"/>
                <a:gd name="T33" fmla="*/ 128 h 170"/>
                <a:gd name="T34" fmla="*/ 234 w 320"/>
                <a:gd name="T35" fmla="*/ 128 h 170"/>
                <a:gd name="T36" fmla="*/ 236 w 320"/>
                <a:gd name="T37" fmla="*/ 128 h 170"/>
                <a:gd name="T38" fmla="*/ 234 w 320"/>
                <a:gd name="T39" fmla="*/ 138 h 170"/>
                <a:gd name="T40" fmla="*/ 266 w 320"/>
                <a:gd name="T41" fmla="*/ 170 h 170"/>
                <a:gd name="T42" fmla="*/ 298 w 320"/>
                <a:gd name="T43" fmla="*/ 138 h 170"/>
                <a:gd name="T44" fmla="*/ 296 w 320"/>
                <a:gd name="T45" fmla="*/ 128 h 170"/>
                <a:gd name="T46" fmla="*/ 309 w 320"/>
                <a:gd name="T47" fmla="*/ 128 h 170"/>
                <a:gd name="T48" fmla="*/ 320 w 320"/>
                <a:gd name="T49" fmla="*/ 117 h 170"/>
                <a:gd name="T50" fmla="*/ 320 w 320"/>
                <a:gd name="T51" fmla="*/ 53 h 170"/>
                <a:gd name="T52" fmla="*/ 317 w 320"/>
                <a:gd name="T53" fmla="*/ 45 h 170"/>
                <a:gd name="T54" fmla="*/ 21 w 320"/>
                <a:gd name="T55" fmla="*/ 21 h 170"/>
                <a:gd name="T56" fmla="*/ 224 w 320"/>
                <a:gd name="T57" fmla="*/ 21 h 170"/>
                <a:gd name="T58" fmla="*/ 224 w 320"/>
                <a:gd name="T59" fmla="*/ 32 h 170"/>
                <a:gd name="T60" fmla="*/ 224 w 320"/>
                <a:gd name="T61" fmla="*/ 106 h 170"/>
                <a:gd name="T62" fmla="*/ 21 w 320"/>
                <a:gd name="T63" fmla="*/ 106 h 170"/>
                <a:gd name="T64" fmla="*/ 21 w 320"/>
                <a:gd name="T65" fmla="*/ 21 h 170"/>
                <a:gd name="T66" fmla="*/ 53 w 320"/>
                <a:gd name="T67" fmla="*/ 149 h 170"/>
                <a:gd name="T68" fmla="*/ 42 w 320"/>
                <a:gd name="T69" fmla="*/ 138 h 170"/>
                <a:gd name="T70" fmla="*/ 53 w 320"/>
                <a:gd name="T71" fmla="*/ 128 h 170"/>
                <a:gd name="T72" fmla="*/ 64 w 320"/>
                <a:gd name="T73" fmla="*/ 138 h 170"/>
                <a:gd name="T74" fmla="*/ 53 w 320"/>
                <a:gd name="T75" fmla="*/ 149 h 170"/>
                <a:gd name="T76" fmla="*/ 117 w 320"/>
                <a:gd name="T77" fmla="*/ 138 h 170"/>
                <a:gd name="T78" fmla="*/ 106 w 320"/>
                <a:gd name="T79" fmla="*/ 149 h 170"/>
                <a:gd name="T80" fmla="*/ 96 w 320"/>
                <a:gd name="T81" fmla="*/ 138 h 170"/>
                <a:gd name="T82" fmla="*/ 106 w 320"/>
                <a:gd name="T83" fmla="*/ 128 h 170"/>
                <a:gd name="T84" fmla="*/ 117 w 320"/>
                <a:gd name="T85" fmla="*/ 138 h 170"/>
                <a:gd name="T86" fmla="*/ 277 w 320"/>
                <a:gd name="T87" fmla="*/ 138 h 170"/>
                <a:gd name="T88" fmla="*/ 266 w 320"/>
                <a:gd name="T89" fmla="*/ 149 h 170"/>
                <a:gd name="T90" fmla="*/ 256 w 320"/>
                <a:gd name="T91" fmla="*/ 138 h 170"/>
                <a:gd name="T92" fmla="*/ 266 w 320"/>
                <a:gd name="T93" fmla="*/ 128 h 170"/>
                <a:gd name="T94" fmla="*/ 277 w 320"/>
                <a:gd name="T95" fmla="*/ 138 h 170"/>
                <a:gd name="T96" fmla="*/ 298 w 320"/>
                <a:gd name="T97" fmla="*/ 106 h 170"/>
                <a:gd name="T98" fmla="*/ 245 w 320"/>
                <a:gd name="T99" fmla="*/ 106 h 170"/>
                <a:gd name="T100" fmla="*/ 245 w 320"/>
                <a:gd name="T101" fmla="*/ 42 h 170"/>
                <a:gd name="T102" fmla="*/ 283 w 320"/>
                <a:gd name="T103" fmla="*/ 42 h 170"/>
                <a:gd name="T104" fmla="*/ 298 w 320"/>
                <a:gd name="T105" fmla="*/ 57 h 170"/>
                <a:gd name="T106" fmla="*/ 298 w 320"/>
                <a:gd name="T107" fmla="*/ 10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0" h="170">
                  <a:moveTo>
                    <a:pt x="317" y="45"/>
                  </a:moveTo>
                  <a:cubicBezTo>
                    <a:pt x="295" y="24"/>
                    <a:pt x="295" y="24"/>
                    <a:pt x="295" y="24"/>
                  </a:cubicBezTo>
                  <a:cubicBezTo>
                    <a:pt x="293" y="22"/>
                    <a:pt x="290" y="21"/>
                    <a:pt x="288" y="21"/>
                  </a:cubicBezTo>
                  <a:cubicBezTo>
                    <a:pt x="245" y="21"/>
                    <a:pt x="245" y="21"/>
                    <a:pt x="245" y="21"/>
                  </a:cubicBezTo>
                  <a:cubicBezTo>
                    <a:pt x="245" y="10"/>
                    <a:pt x="245" y="10"/>
                    <a:pt x="245" y="10"/>
                  </a:cubicBezTo>
                  <a:cubicBezTo>
                    <a:pt x="245" y="4"/>
                    <a:pt x="240" y="0"/>
                    <a:pt x="23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3"/>
                    <a:pt x="4" y="128"/>
                    <a:pt x="10" y="128"/>
                  </a:cubicBezTo>
                  <a:cubicBezTo>
                    <a:pt x="23" y="128"/>
                    <a:pt x="23" y="128"/>
                    <a:pt x="23" y="128"/>
                  </a:cubicBezTo>
                  <a:cubicBezTo>
                    <a:pt x="22" y="131"/>
                    <a:pt x="21" y="135"/>
                    <a:pt x="21" y="138"/>
                  </a:cubicBezTo>
                  <a:cubicBezTo>
                    <a:pt x="21" y="156"/>
                    <a:pt x="35" y="170"/>
                    <a:pt x="53" y="170"/>
                  </a:cubicBezTo>
                  <a:cubicBezTo>
                    <a:pt x="64" y="170"/>
                    <a:pt x="74" y="165"/>
                    <a:pt x="80" y="156"/>
                  </a:cubicBezTo>
                  <a:cubicBezTo>
                    <a:pt x="85" y="165"/>
                    <a:pt x="95" y="170"/>
                    <a:pt x="106" y="170"/>
                  </a:cubicBezTo>
                  <a:cubicBezTo>
                    <a:pt x="124" y="170"/>
                    <a:pt x="138" y="156"/>
                    <a:pt x="138" y="138"/>
                  </a:cubicBezTo>
                  <a:cubicBezTo>
                    <a:pt x="138" y="135"/>
                    <a:pt x="138" y="131"/>
                    <a:pt x="136" y="128"/>
                  </a:cubicBezTo>
                  <a:cubicBezTo>
                    <a:pt x="234" y="128"/>
                    <a:pt x="234" y="128"/>
                    <a:pt x="234" y="128"/>
                  </a:cubicBezTo>
                  <a:cubicBezTo>
                    <a:pt x="236" y="128"/>
                    <a:pt x="236" y="128"/>
                    <a:pt x="236" y="128"/>
                  </a:cubicBezTo>
                  <a:cubicBezTo>
                    <a:pt x="235" y="131"/>
                    <a:pt x="234" y="135"/>
                    <a:pt x="234" y="138"/>
                  </a:cubicBezTo>
                  <a:cubicBezTo>
                    <a:pt x="234" y="156"/>
                    <a:pt x="249" y="170"/>
                    <a:pt x="266" y="170"/>
                  </a:cubicBezTo>
                  <a:cubicBezTo>
                    <a:pt x="284" y="170"/>
                    <a:pt x="298" y="156"/>
                    <a:pt x="298" y="138"/>
                  </a:cubicBezTo>
                  <a:cubicBezTo>
                    <a:pt x="298" y="135"/>
                    <a:pt x="298" y="131"/>
                    <a:pt x="296" y="128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5" y="128"/>
                    <a:pt x="320" y="123"/>
                    <a:pt x="320" y="117"/>
                  </a:cubicBezTo>
                  <a:cubicBezTo>
                    <a:pt x="320" y="53"/>
                    <a:pt x="320" y="53"/>
                    <a:pt x="320" y="53"/>
                  </a:cubicBezTo>
                  <a:cubicBezTo>
                    <a:pt x="320" y="50"/>
                    <a:pt x="319" y="47"/>
                    <a:pt x="317" y="45"/>
                  </a:cubicBezTo>
                  <a:close/>
                  <a:moveTo>
                    <a:pt x="21" y="21"/>
                  </a:moveTo>
                  <a:cubicBezTo>
                    <a:pt x="224" y="21"/>
                    <a:pt x="224" y="21"/>
                    <a:pt x="224" y="21"/>
                  </a:cubicBezTo>
                  <a:cubicBezTo>
                    <a:pt x="224" y="32"/>
                    <a:pt x="224" y="32"/>
                    <a:pt x="224" y="32"/>
                  </a:cubicBezTo>
                  <a:cubicBezTo>
                    <a:pt x="224" y="106"/>
                    <a:pt x="224" y="106"/>
                    <a:pt x="224" y="106"/>
                  </a:cubicBezTo>
                  <a:cubicBezTo>
                    <a:pt x="21" y="106"/>
                    <a:pt x="21" y="106"/>
                    <a:pt x="21" y="106"/>
                  </a:cubicBezTo>
                  <a:lnTo>
                    <a:pt x="21" y="21"/>
                  </a:lnTo>
                  <a:close/>
                  <a:moveTo>
                    <a:pt x="53" y="149"/>
                  </a:moveTo>
                  <a:cubicBezTo>
                    <a:pt x="47" y="149"/>
                    <a:pt x="42" y="144"/>
                    <a:pt x="42" y="138"/>
                  </a:cubicBezTo>
                  <a:cubicBezTo>
                    <a:pt x="42" y="132"/>
                    <a:pt x="47" y="128"/>
                    <a:pt x="53" y="128"/>
                  </a:cubicBezTo>
                  <a:cubicBezTo>
                    <a:pt x="59" y="128"/>
                    <a:pt x="64" y="132"/>
                    <a:pt x="64" y="138"/>
                  </a:cubicBezTo>
                  <a:cubicBezTo>
                    <a:pt x="64" y="144"/>
                    <a:pt x="59" y="149"/>
                    <a:pt x="53" y="149"/>
                  </a:cubicBezTo>
                  <a:close/>
                  <a:moveTo>
                    <a:pt x="117" y="138"/>
                  </a:moveTo>
                  <a:cubicBezTo>
                    <a:pt x="117" y="144"/>
                    <a:pt x="112" y="149"/>
                    <a:pt x="106" y="149"/>
                  </a:cubicBezTo>
                  <a:cubicBezTo>
                    <a:pt x="100" y="149"/>
                    <a:pt x="96" y="144"/>
                    <a:pt x="96" y="138"/>
                  </a:cubicBezTo>
                  <a:cubicBezTo>
                    <a:pt x="96" y="132"/>
                    <a:pt x="100" y="128"/>
                    <a:pt x="106" y="128"/>
                  </a:cubicBezTo>
                  <a:cubicBezTo>
                    <a:pt x="112" y="128"/>
                    <a:pt x="117" y="132"/>
                    <a:pt x="117" y="138"/>
                  </a:cubicBezTo>
                  <a:close/>
                  <a:moveTo>
                    <a:pt x="277" y="138"/>
                  </a:moveTo>
                  <a:cubicBezTo>
                    <a:pt x="277" y="144"/>
                    <a:pt x="272" y="149"/>
                    <a:pt x="266" y="149"/>
                  </a:cubicBezTo>
                  <a:cubicBezTo>
                    <a:pt x="260" y="149"/>
                    <a:pt x="256" y="144"/>
                    <a:pt x="256" y="138"/>
                  </a:cubicBezTo>
                  <a:cubicBezTo>
                    <a:pt x="256" y="132"/>
                    <a:pt x="260" y="128"/>
                    <a:pt x="266" y="128"/>
                  </a:cubicBezTo>
                  <a:cubicBezTo>
                    <a:pt x="272" y="128"/>
                    <a:pt x="277" y="132"/>
                    <a:pt x="277" y="138"/>
                  </a:cubicBezTo>
                  <a:close/>
                  <a:moveTo>
                    <a:pt x="298" y="106"/>
                  </a:moveTo>
                  <a:cubicBezTo>
                    <a:pt x="245" y="106"/>
                    <a:pt x="245" y="106"/>
                    <a:pt x="245" y="106"/>
                  </a:cubicBezTo>
                  <a:cubicBezTo>
                    <a:pt x="245" y="42"/>
                    <a:pt x="245" y="42"/>
                    <a:pt x="245" y="42"/>
                  </a:cubicBezTo>
                  <a:cubicBezTo>
                    <a:pt x="283" y="42"/>
                    <a:pt x="283" y="42"/>
                    <a:pt x="283" y="42"/>
                  </a:cubicBezTo>
                  <a:cubicBezTo>
                    <a:pt x="298" y="57"/>
                    <a:pt x="298" y="57"/>
                    <a:pt x="298" y="57"/>
                  </a:cubicBezTo>
                  <a:lnTo>
                    <a:pt x="298" y="106"/>
                  </a:lnTo>
                  <a:close/>
                </a:path>
              </a:pathLst>
            </a:custGeom>
            <a:solidFill>
              <a:srgbClr val="009900"/>
            </a:solidFill>
            <a:ln>
              <a:noFill/>
            </a:ln>
            <a:extLst/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57" name="TextBox 356"/>
          <p:cNvSpPr txBox="1"/>
          <p:nvPr/>
        </p:nvSpPr>
        <p:spPr>
          <a:xfrm>
            <a:off x="4470186" y="5268298"/>
            <a:ext cx="828000" cy="288000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 anchor="ctr" anchorCtr="1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0099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DT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0099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EPPOL UBL</a:t>
            </a:r>
          </a:p>
        </p:txBody>
      </p:sp>
      <p:grpSp>
        <p:nvGrpSpPr>
          <p:cNvPr id="358" name="Group 357"/>
          <p:cNvGrpSpPr/>
          <p:nvPr/>
        </p:nvGrpSpPr>
        <p:grpSpPr>
          <a:xfrm>
            <a:off x="4065249" y="2641920"/>
            <a:ext cx="712192" cy="574238"/>
            <a:chOff x="3995577" y="2641920"/>
            <a:chExt cx="712192" cy="574238"/>
          </a:xfrm>
        </p:grpSpPr>
        <p:sp>
          <p:nvSpPr>
            <p:cNvPr id="381" name="Rounded Rectangle 380"/>
            <p:cNvSpPr/>
            <p:nvPr/>
          </p:nvSpPr>
          <p:spPr bwMode="auto">
            <a:xfrm>
              <a:off x="3995577" y="2641920"/>
              <a:ext cx="712192" cy="574238"/>
            </a:xfrm>
            <a:prstGeom prst="roundRect">
              <a:avLst/>
            </a:prstGeom>
            <a:solidFill>
              <a:srgbClr val="5C72B3">
                <a:alpha val="12000"/>
              </a:srgbClr>
            </a:solidFill>
            <a:ln w="9525" cap="flat" cmpd="sng" algn="ctr">
              <a:solidFill>
                <a:srgbClr val="5C72B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0000"/>
                </a:buClr>
                <a:buSzPct val="70000"/>
                <a:buFont typeface="Wingdings" pitchFamily="2" charset="2"/>
                <a:buNone/>
                <a:tabLst/>
              </a:pPr>
              <a:endParaRPr kumimoji="0" 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82" name="Can 381"/>
            <p:cNvSpPr/>
            <p:nvPr/>
          </p:nvSpPr>
          <p:spPr bwMode="auto">
            <a:xfrm>
              <a:off x="4030681" y="2693215"/>
              <a:ext cx="625394" cy="485390"/>
            </a:xfrm>
            <a:prstGeom prst="can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txBody>
            <a:bodyPr lIns="0" tIns="72000" r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dI</a:t>
              </a:r>
              <a:endPara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359" name="Straight Arrow Connector 358"/>
          <p:cNvCxnSpPr/>
          <p:nvPr/>
        </p:nvCxnSpPr>
        <p:spPr bwMode="auto">
          <a:xfrm flipV="1">
            <a:off x="8025636" y="3436894"/>
            <a:ext cx="1309091" cy="1"/>
          </a:xfrm>
          <a:prstGeom prst="straightConnector1">
            <a:avLst/>
          </a:prstGeom>
          <a:solidFill>
            <a:srgbClr val="006600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cxnSp>
        <p:nvCxnSpPr>
          <p:cNvPr id="360" name="Straight Arrow Connector 359"/>
          <p:cNvCxnSpPr/>
          <p:nvPr/>
        </p:nvCxnSpPr>
        <p:spPr bwMode="auto">
          <a:xfrm flipH="1" flipV="1">
            <a:off x="8025636" y="3326253"/>
            <a:ext cx="1309091" cy="1"/>
          </a:xfrm>
          <a:prstGeom prst="straightConnector1">
            <a:avLst/>
          </a:prstGeom>
          <a:solidFill>
            <a:srgbClr val="006600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sp>
        <p:nvSpPr>
          <p:cNvPr id="361" name="Oval 360"/>
          <p:cNvSpPr/>
          <p:nvPr/>
        </p:nvSpPr>
        <p:spPr bwMode="auto">
          <a:xfrm>
            <a:off x="8331065" y="3142178"/>
            <a:ext cx="722765" cy="477794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0099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362" name="Picture 19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1146" y="3232039"/>
            <a:ext cx="282269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3" name="TextBox 362"/>
          <p:cNvSpPr txBox="1"/>
          <p:nvPr/>
        </p:nvSpPr>
        <p:spPr>
          <a:xfrm>
            <a:off x="8268173" y="3561787"/>
            <a:ext cx="828000" cy="369332"/>
          </a:xfrm>
          <a:prstGeom prst="rect">
            <a:avLst/>
          </a:prstGeom>
          <a:noFill/>
        </p:spPr>
        <p:txBody>
          <a:bodyPr wrap="square" lIns="0" rIns="0" rtlCol="0" anchor="ctr" anchorCtr="1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0099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attura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0099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EPPOL UBL</a:t>
            </a:r>
          </a:p>
        </p:txBody>
      </p:sp>
      <p:sp>
        <p:nvSpPr>
          <p:cNvPr id="366" name="Freeform 346">
            <a:extLst>
              <a:ext uri="{FF2B5EF4-FFF2-40B4-BE49-F238E27FC236}">
                <a16:creationId xmlns:a16="http://schemas.microsoft.com/office/drawing/2014/main" id="{1F3A4E7F-132B-4287-9B93-CD7FBE448DD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726691" y="3241212"/>
            <a:ext cx="272480" cy="272580"/>
          </a:xfrm>
          <a:custGeom>
            <a:avLst/>
            <a:gdLst>
              <a:gd name="T0" fmla="*/ 308124844 w 512"/>
              <a:gd name="T1" fmla="*/ 438272227 h 512"/>
              <a:gd name="T2" fmla="*/ 165742031 w 512"/>
              <a:gd name="T3" fmla="*/ 224698008 h 512"/>
              <a:gd name="T4" fmla="*/ 189102305 w 512"/>
              <a:gd name="T5" fmla="*/ 249169922 h 512"/>
              <a:gd name="T6" fmla="*/ 295889414 w 512"/>
              <a:gd name="T7" fmla="*/ 260293711 h 512"/>
              <a:gd name="T8" fmla="*/ 189102305 w 512"/>
              <a:gd name="T9" fmla="*/ 272529141 h 512"/>
              <a:gd name="T10" fmla="*/ 189102305 w 512"/>
              <a:gd name="T11" fmla="*/ 249169922 h 512"/>
              <a:gd name="T12" fmla="*/ 284765625 w 512"/>
              <a:gd name="T13" fmla="*/ 295889414 h 512"/>
              <a:gd name="T14" fmla="*/ 284765625 w 512"/>
              <a:gd name="T15" fmla="*/ 320361328 h 512"/>
              <a:gd name="T16" fmla="*/ 177978516 w 512"/>
              <a:gd name="T17" fmla="*/ 308124844 h 512"/>
              <a:gd name="T18" fmla="*/ 189102305 w 512"/>
              <a:gd name="T19" fmla="*/ 343720547 h 512"/>
              <a:gd name="T20" fmla="*/ 295889414 w 512"/>
              <a:gd name="T21" fmla="*/ 355957031 h 512"/>
              <a:gd name="T22" fmla="*/ 189102305 w 512"/>
              <a:gd name="T23" fmla="*/ 367080820 h 512"/>
              <a:gd name="T24" fmla="*/ 189102305 w 512"/>
              <a:gd name="T25" fmla="*/ 343720547 h 512"/>
              <a:gd name="T26" fmla="*/ 284765625 w 512"/>
              <a:gd name="T27" fmla="*/ 391552734 h 512"/>
              <a:gd name="T28" fmla="*/ 284765625 w 512"/>
              <a:gd name="T29" fmla="*/ 414911953 h 512"/>
              <a:gd name="T30" fmla="*/ 177978516 w 512"/>
              <a:gd name="T31" fmla="*/ 402676523 h 512"/>
              <a:gd name="T32" fmla="*/ 284765625 w 512"/>
              <a:gd name="T33" fmla="*/ 0 h 512"/>
              <a:gd name="T34" fmla="*/ 284765625 w 512"/>
              <a:gd name="T35" fmla="*/ 569531250 h 512"/>
              <a:gd name="T36" fmla="*/ 284765625 w 512"/>
              <a:gd name="T37" fmla="*/ 0 h 512"/>
              <a:gd name="T38" fmla="*/ 320361328 w 512"/>
              <a:gd name="T39" fmla="*/ 462744141 h 512"/>
              <a:gd name="T40" fmla="*/ 142382813 w 512"/>
              <a:gd name="T41" fmla="*/ 450507656 h 512"/>
              <a:gd name="T42" fmla="*/ 153506602 w 512"/>
              <a:gd name="T43" fmla="*/ 201337734 h 512"/>
              <a:gd name="T44" fmla="*/ 331485117 w 512"/>
              <a:gd name="T45" fmla="*/ 213574219 h 512"/>
              <a:gd name="T46" fmla="*/ 379316250 w 512"/>
              <a:gd name="T47" fmla="*/ 402676523 h 512"/>
              <a:gd name="T48" fmla="*/ 355957031 w 512"/>
              <a:gd name="T49" fmla="*/ 402676523 h 512"/>
              <a:gd name="T50" fmla="*/ 201337734 w 512"/>
              <a:gd name="T51" fmla="*/ 177978516 h 512"/>
              <a:gd name="T52" fmla="*/ 201337734 w 512"/>
              <a:gd name="T53" fmla="*/ 153506602 h 512"/>
              <a:gd name="T54" fmla="*/ 379316250 w 512"/>
              <a:gd name="T55" fmla="*/ 165742031 h 512"/>
              <a:gd name="T56" fmla="*/ 427148438 w 512"/>
              <a:gd name="T57" fmla="*/ 355957031 h 512"/>
              <a:gd name="T58" fmla="*/ 402676523 w 512"/>
              <a:gd name="T59" fmla="*/ 355957031 h 512"/>
              <a:gd name="T60" fmla="*/ 249169922 w 512"/>
              <a:gd name="T61" fmla="*/ 130146328 h 512"/>
              <a:gd name="T62" fmla="*/ 249169922 w 512"/>
              <a:gd name="T63" fmla="*/ 106787109 h 512"/>
              <a:gd name="T64" fmla="*/ 427148438 w 512"/>
              <a:gd name="T65" fmla="*/ 117910898 h 512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512" h="512">
                <a:moveTo>
                  <a:pt x="149" y="394"/>
                </a:moveTo>
                <a:cubicBezTo>
                  <a:pt x="277" y="394"/>
                  <a:pt x="277" y="394"/>
                  <a:pt x="277" y="394"/>
                </a:cubicBezTo>
                <a:cubicBezTo>
                  <a:pt x="277" y="202"/>
                  <a:pt x="277" y="202"/>
                  <a:pt x="277" y="202"/>
                </a:cubicBezTo>
                <a:cubicBezTo>
                  <a:pt x="149" y="202"/>
                  <a:pt x="149" y="202"/>
                  <a:pt x="149" y="202"/>
                </a:cubicBezTo>
                <a:lnTo>
                  <a:pt x="149" y="394"/>
                </a:lnTo>
                <a:close/>
                <a:moveTo>
                  <a:pt x="170" y="224"/>
                </a:moveTo>
                <a:cubicBezTo>
                  <a:pt x="256" y="224"/>
                  <a:pt x="256" y="224"/>
                  <a:pt x="256" y="224"/>
                </a:cubicBezTo>
                <a:cubicBezTo>
                  <a:pt x="262" y="224"/>
                  <a:pt x="266" y="228"/>
                  <a:pt x="266" y="234"/>
                </a:cubicBezTo>
                <a:cubicBezTo>
                  <a:pt x="266" y="240"/>
                  <a:pt x="262" y="245"/>
                  <a:pt x="256" y="245"/>
                </a:cubicBezTo>
                <a:cubicBezTo>
                  <a:pt x="170" y="245"/>
                  <a:pt x="170" y="245"/>
                  <a:pt x="170" y="245"/>
                </a:cubicBezTo>
                <a:cubicBezTo>
                  <a:pt x="164" y="245"/>
                  <a:pt x="160" y="240"/>
                  <a:pt x="160" y="234"/>
                </a:cubicBezTo>
                <a:cubicBezTo>
                  <a:pt x="160" y="228"/>
                  <a:pt x="164" y="224"/>
                  <a:pt x="170" y="224"/>
                </a:cubicBezTo>
                <a:close/>
                <a:moveTo>
                  <a:pt x="170" y="266"/>
                </a:moveTo>
                <a:cubicBezTo>
                  <a:pt x="256" y="266"/>
                  <a:pt x="256" y="266"/>
                  <a:pt x="256" y="266"/>
                </a:cubicBezTo>
                <a:cubicBezTo>
                  <a:pt x="262" y="266"/>
                  <a:pt x="266" y="271"/>
                  <a:pt x="266" y="277"/>
                </a:cubicBezTo>
                <a:cubicBezTo>
                  <a:pt x="266" y="283"/>
                  <a:pt x="262" y="288"/>
                  <a:pt x="256" y="288"/>
                </a:cubicBezTo>
                <a:cubicBezTo>
                  <a:pt x="170" y="288"/>
                  <a:pt x="170" y="288"/>
                  <a:pt x="170" y="288"/>
                </a:cubicBezTo>
                <a:cubicBezTo>
                  <a:pt x="164" y="288"/>
                  <a:pt x="160" y="283"/>
                  <a:pt x="160" y="277"/>
                </a:cubicBezTo>
                <a:cubicBezTo>
                  <a:pt x="160" y="271"/>
                  <a:pt x="164" y="266"/>
                  <a:pt x="170" y="266"/>
                </a:cubicBezTo>
                <a:close/>
                <a:moveTo>
                  <a:pt x="170" y="309"/>
                </a:moveTo>
                <a:cubicBezTo>
                  <a:pt x="256" y="309"/>
                  <a:pt x="256" y="309"/>
                  <a:pt x="256" y="309"/>
                </a:cubicBezTo>
                <a:cubicBezTo>
                  <a:pt x="262" y="309"/>
                  <a:pt x="266" y="314"/>
                  <a:pt x="266" y="320"/>
                </a:cubicBezTo>
                <a:cubicBezTo>
                  <a:pt x="266" y="326"/>
                  <a:pt x="262" y="330"/>
                  <a:pt x="256" y="330"/>
                </a:cubicBezTo>
                <a:cubicBezTo>
                  <a:pt x="170" y="330"/>
                  <a:pt x="170" y="330"/>
                  <a:pt x="170" y="330"/>
                </a:cubicBezTo>
                <a:cubicBezTo>
                  <a:pt x="164" y="330"/>
                  <a:pt x="160" y="326"/>
                  <a:pt x="160" y="320"/>
                </a:cubicBezTo>
                <a:cubicBezTo>
                  <a:pt x="160" y="314"/>
                  <a:pt x="164" y="309"/>
                  <a:pt x="170" y="309"/>
                </a:cubicBezTo>
                <a:close/>
                <a:moveTo>
                  <a:pt x="170" y="352"/>
                </a:moveTo>
                <a:cubicBezTo>
                  <a:pt x="256" y="352"/>
                  <a:pt x="256" y="352"/>
                  <a:pt x="256" y="352"/>
                </a:cubicBezTo>
                <a:cubicBezTo>
                  <a:pt x="262" y="352"/>
                  <a:pt x="266" y="356"/>
                  <a:pt x="266" y="362"/>
                </a:cubicBezTo>
                <a:cubicBezTo>
                  <a:pt x="266" y="368"/>
                  <a:pt x="262" y="373"/>
                  <a:pt x="256" y="373"/>
                </a:cubicBezTo>
                <a:cubicBezTo>
                  <a:pt x="170" y="373"/>
                  <a:pt x="170" y="373"/>
                  <a:pt x="170" y="373"/>
                </a:cubicBezTo>
                <a:cubicBezTo>
                  <a:pt x="164" y="373"/>
                  <a:pt x="160" y="368"/>
                  <a:pt x="160" y="362"/>
                </a:cubicBezTo>
                <a:cubicBezTo>
                  <a:pt x="160" y="356"/>
                  <a:pt x="164" y="352"/>
                  <a:pt x="170" y="352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98" y="405"/>
                </a:moveTo>
                <a:cubicBezTo>
                  <a:pt x="298" y="411"/>
                  <a:pt x="294" y="416"/>
                  <a:pt x="288" y="416"/>
                </a:cubicBezTo>
                <a:cubicBezTo>
                  <a:pt x="138" y="416"/>
                  <a:pt x="138" y="416"/>
                  <a:pt x="138" y="416"/>
                </a:cubicBezTo>
                <a:cubicBezTo>
                  <a:pt x="132" y="416"/>
                  <a:pt x="128" y="411"/>
                  <a:pt x="128" y="405"/>
                </a:cubicBezTo>
                <a:cubicBezTo>
                  <a:pt x="128" y="192"/>
                  <a:pt x="128" y="192"/>
                  <a:pt x="128" y="192"/>
                </a:cubicBezTo>
                <a:cubicBezTo>
                  <a:pt x="128" y="186"/>
                  <a:pt x="132" y="181"/>
                  <a:pt x="138" y="181"/>
                </a:cubicBezTo>
                <a:cubicBezTo>
                  <a:pt x="288" y="181"/>
                  <a:pt x="288" y="181"/>
                  <a:pt x="288" y="181"/>
                </a:cubicBezTo>
                <a:cubicBezTo>
                  <a:pt x="294" y="181"/>
                  <a:pt x="298" y="186"/>
                  <a:pt x="298" y="192"/>
                </a:cubicBezTo>
                <a:lnTo>
                  <a:pt x="298" y="405"/>
                </a:lnTo>
                <a:close/>
                <a:moveTo>
                  <a:pt x="341" y="362"/>
                </a:moveTo>
                <a:cubicBezTo>
                  <a:pt x="341" y="368"/>
                  <a:pt x="336" y="373"/>
                  <a:pt x="330" y="373"/>
                </a:cubicBezTo>
                <a:cubicBezTo>
                  <a:pt x="324" y="373"/>
                  <a:pt x="320" y="368"/>
                  <a:pt x="320" y="362"/>
                </a:cubicBezTo>
                <a:cubicBezTo>
                  <a:pt x="320" y="160"/>
                  <a:pt x="320" y="160"/>
                  <a:pt x="320" y="160"/>
                </a:cubicBezTo>
                <a:cubicBezTo>
                  <a:pt x="181" y="160"/>
                  <a:pt x="181" y="160"/>
                  <a:pt x="181" y="160"/>
                </a:cubicBezTo>
                <a:cubicBezTo>
                  <a:pt x="175" y="160"/>
                  <a:pt x="170" y="155"/>
                  <a:pt x="170" y="149"/>
                </a:cubicBezTo>
                <a:cubicBezTo>
                  <a:pt x="170" y="143"/>
                  <a:pt x="175" y="138"/>
                  <a:pt x="181" y="138"/>
                </a:cubicBezTo>
                <a:cubicBezTo>
                  <a:pt x="330" y="138"/>
                  <a:pt x="330" y="138"/>
                  <a:pt x="330" y="138"/>
                </a:cubicBezTo>
                <a:cubicBezTo>
                  <a:pt x="336" y="138"/>
                  <a:pt x="341" y="143"/>
                  <a:pt x="341" y="149"/>
                </a:cubicBezTo>
                <a:lnTo>
                  <a:pt x="341" y="362"/>
                </a:lnTo>
                <a:close/>
                <a:moveTo>
                  <a:pt x="384" y="320"/>
                </a:moveTo>
                <a:cubicBezTo>
                  <a:pt x="384" y="326"/>
                  <a:pt x="379" y="330"/>
                  <a:pt x="373" y="330"/>
                </a:cubicBezTo>
                <a:cubicBezTo>
                  <a:pt x="367" y="330"/>
                  <a:pt x="362" y="326"/>
                  <a:pt x="362" y="320"/>
                </a:cubicBezTo>
                <a:cubicBezTo>
                  <a:pt x="362" y="117"/>
                  <a:pt x="362" y="117"/>
                  <a:pt x="362" y="117"/>
                </a:cubicBezTo>
                <a:cubicBezTo>
                  <a:pt x="224" y="117"/>
                  <a:pt x="224" y="117"/>
                  <a:pt x="224" y="117"/>
                </a:cubicBezTo>
                <a:cubicBezTo>
                  <a:pt x="218" y="117"/>
                  <a:pt x="213" y="112"/>
                  <a:pt x="213" y="106"/>
                </a:cubicBezTo>
                <a:cubicBezTo>
                  <a:pt x="213" y="100"/>
                  <a:pt x="218" y="96"/>
                  <a:pt x="224" y="96"/>
                </a:cubicBezTo>
                <a:cubicBezTo>
                  <a:pt x="373" y="96"/>
                  <a:pt x="373" y="96"/>
                  <a:pt x="373" y="96"/>
                </a:cubicBezTo>
                <a:cubicBezTo>
                  <a:pt x="379" y="96"/>
                  <a:pt x="384" y="100"/>
                  <a:pt x="384" y="106"/>
                </a:cubicBezTo>
                <a:lnTo>
                  <a:pt x="384" y="320"/>
                </a:lnTo>
                <a:close/>
              </a:path>
            </a:pathLst>
          </a:custGeom>
          <a:solidFill>
            <a:srgbClr val="48B648"/>
          </a:solidFill>
          <a:ln>
            <a:noFill/>
          </a:ln>
          <a:extLst/>
        </p:spPr>
        <p:txBody>
          <a:bodyPr/>
          <a:lstStyle/>
          <a:p>
            <a:endParaRPr lang="it-IT"/>
          </a:p>
        </p:txBody>
      </p:sp>
      <p:sp>
        <p:nvSpPr>
          <p:cNvPr id="367" name="Oval 366"/>
          <p:cNvSpPr/>
          <p:nvPr/>
        </p:nvSpPr>
        <p:spPr bwMode="auto">
          <a:xfrm>
            <a:off x="5011952" y="2705019"/>
            <a:ext cx="722765" cy="477794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0099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itchFamily="2" charset="2"/>
              <a:buNone/>
              <a:tabLst/>
              <a:defRPr/>
            </a:pPr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68" name="Freeform 346">
            <a:extLst>
              <a:ext uri="{FF2B5EF4-FFF2-40B4-BE49-F238E27FC236}">
                <a16:creationId xmlns:a16="http://schemas.microsoft.com/office/drawing/2014/main" id="{1F3A4E7F-132B-4287-9B93-CD7FBE448DD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388918" y="2804053"/>
            <a:ext cx="272480" cy="272580"/>
          </a:xfrm>
          <a:custGeom>
            <a:avLst/>
            <a:gdLst>
              <a:gd name="T0" fmla="*/ 308124844 w 512"/>
              <a:gd name="T1" fmla="*/ 438272227 h 512"/>
              <a:gd name="T2" fmla="*/ 165742031 w 512"/>
              <a:gd name="T3" fmla="*/ 224698008 h 512"/>
              <a:gd name="T4" fmla="*/ 189102305 w 512"/>
              <a:gd name="T5" fmla="*/ 249169922 h 512"/>
              <a:gd name="T6" fmla="*/ 295889414 w 512"/>
              <a:gd name="T7" fmla="*/ 260293711 h 512"/>
              <a:gd name="T8" fmla="*/ 189102305 w 512"/>
              <a:gd name="T9" fmla="*/ 272529141 h 512"/>
              <a:gd name="T10" fmla="*/ 189102305 w 512"/>
              <a:gd name="T11" fmla="*/ 249169922 h 512"/>
              <a:gd name="T12" fmla="*/ 284765625 w 512"/>
              <a:gd name="T13" fmla="*/ 295889414 h 512"/>
              <a:gd name="T14" fmla="*/ 284765625 w 512"/>
              <a:gd name="T15" fmla="*/ 320361328 h 512"/>
              <a:gd name="T16" fmla="*/ 177978516 w 512"/>
              <a:gd name="T17" fmla="*/ 308124844 h 512"/>
              <a:gd name="T18" fmla="*/ 189102305 w 512"/>
              <a:gd name="T19" fmla="*/ 343720547 h 512"/>
              <a:gd name="T20" fmla="*/ 295889414 w 512"/>
              <a:gd name="T21" fmla="*/ 355957031 h 512"/>
              <a:gd name="T22" fmla="*/ 189102305 w 512"/>
              <a:gd name="T23" fmla="*/ 367080820 h 512"/>
              <a:gd name="T24" fmla="*/ 189102305 w 512"/>
              <a:gd name="T25" fmla="*/ 343720547 h 512"/>
              <a:gd name="T26" fmla="*/ 284765625 w 512"/>
              <a:gd name="T27" fmla="*/ 391552734 h 512"/>
              <a:gd name="T28" fmla="*/ 284765625 w 512"/>
              <a:gd name="T29" fmla="*/ 414911953 h 512"/>
              <a:gd name="T30" fmla="*/ 177978516 w 512"/>
              <a:gd name="T31" fmla="*/ 402676523 h 512"/>
              <a:gd name="T32" fmla="*/ 284765625 w 512"/>
              <a:gd name="T33" fmla="*/ 0 h 512"/>
              <a:gd name="T34" fmla="*/ 284765625 w 512"/>
              <a:gd name="T35" fmla="*/ 569531250 h 512"/>
              <a:gd name="T36" fmla="*/ 284765625 w 512"/>
              <a:gd name="T37" fmla="*/ 0 h 512"/>
              <a:gd name="T38" fmla="*/ 320361328 w 512"/>
              <a:gd name="T39" fmla="*/ 462744141 h 512"/>
              <a:gd name="T40" fmla="*/ 142382813 w 512"/>
              <a:gd name="T41" fmla="*/ 450507656 h 512"/>
              <a:gd name="T42" fmla="*/ 153506602 w 512"/>
              <a:gd name="T43" fmla="*/ 201337734 h 512"/>
              <a:gd name="T44" fmla="*/ 331485117 w 512"/>
              <a:gd name="T45" fmla="*/ 213574219 h 512"/>
              <a:gd name="T46" fmla="*/ 379316250 w 512"/>
              <a:gd name="T47" fmla="*/ 402676523 h 512"/>
              <a:gd name="T48" fmla="*/ 355957031 w 512"/>
              <a:gd name="T49" fmla="*/ 402676523 h 512"/>
              <a:gd name="T50" fmla="*/ 201337734 w 512"/>
              <a:gd name="T51" fmla="*/ 177978516 h 512"/>
              <a:gd name="T52" fmla="*/ 201337734 w 512"/>
              <a:gd name="T53" fmla="*/ 153506602 h 512"/>
              <a:gd name="T54" fmla="*/ 379316250 w 512"/>
              <a:gd name="T55" fmla="*/ 165742031 h 512"/>
              <a:gd name="T56" fmla="*/ 427148438 w 512"/>
              <a:gd name="T57" fmla="*/ 355957031 h 512"/>
              <a:gd name="T58" fmla="*/ 402676523 w 512"/>
              <a:gd name="T59" fmla="*/ 355957031 h 512"/>
              <a:gd name="T60" fmla="*/ 249169922 w 512"/>
              <a:gd name="T61" fmla="*/ 130146328 h 512"/>
              <a:gd name="T62" fmla="*/ 249169922 w 512"/>
              <a:gd name="T63" fmla="*/ 106787109 h 512"/>
              <a:gd name="T64" fmla="*/ 427148438 w 512"/>
              <a:gd name="T65" fmla="*/ 117910898 h 512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512" h="512">
                <a:moveTo>
                  <a:pt x="149" y="394"/>
                </a:moveTo>
                <a:cubicBezTo>
                  <a:pt x="277" y="394"/>
                  <a:pt x="277" y="394"/>
                  <a:pt x="277" y="394"/>
                </a:cubicBezTo>
                <a:cubicBezTo>
                  <a:pt x="277" y="202"/>
                  <a:pt x="277" y="202"/>
                  <a:pt x="277" y="202"/>
                </a:cubicBezTo>
                <a:cubicBezTo>
                  <a:pt x="149" y="202"/>
                  <a:pt x="149" y="202"/>
                  <a:pt x="149" y="202"/>
                </a:cubicBezTo>
                <a:lnTo>
                  <a:pt x="149" y="394"/>
                </a:lnTo>
                <a:close/>
                <a:moveTo>
                  <a:pt x="170" y="224"/>
                </a:moveTo>
                <a:cubicBezTo>
                  <a:pt x="256" y="224"/>
                  <a:pt x="256" y="224"/>
                  <a:pt x="256" y="224"/>
                </a:cubicBezTo>
                <a:cubicBezTo>
                  <a:pt x="262" y="224"/>
                  <a:pt x="266" y="228"/>
                  <a:pt x="266" y="234"/>
                </a:cubicBezTo>
                <a:cubicBezTo>
                  <a:pt x="266" y="240"/>
                  <a:pt x="262" y="245"/>
                  <a:pt x="256" y="245"/>
                </a:cubicBezTo>
                <a:cubicBezTo>
                  <a:pt x="170" y="245"/>
                  <a:pt x="170" y="245"/>
                  <a:pt x="170" y="245"/>
                </a:cubicBezTo>
                <a:cubicBezTo>
                  <a:pt x="164" y="245"/>
                  <a:pt x="160" y="240"/>
                  <a:pt x="160" y="234"/>
                </a:cubicBezTo>
                <a:cubicBezTo>
                  <a:pt x="160" y="228"/>
                  <a:pt x="164" y="224"/>
                  <a:pt x="170" y="224"/>
                </a:cubicBezTo>
                <a:close/>
                <a:moveTo>
                  <a:pt x="170" y="266"/>
                </a:moveTo>
                <a:cubicBezTo>
                  <a:pt x="256" y="266"/>
                  <a:pt x="256" y="266"/>
                  <a:pt x="256" y="266"/>
                </a:cubicBezTo>
                <a:cubicBezTo>
                  <a:pt x="262" y="266"/>
                  <a:pt x="266" y="271"/>
                  <a:pt x="266" y="277"/>
                </a:cubicBezTo>
                <a:cubicBezTo>
                  <a:pt x="266" y="283"/>
                  <a:pt x="262" y="288"/>
                  <a:pt x="256" y="288"/>
                </a:cubicBezTo>
                <a:cubicBezTo>
                  <a:pt x="170" y="288"/>
                  <a:pt x="170" y="288"/>
                  <a:pt x="170" y="288"/>
                </a:cubicBezTo>
                <a:cubicBezTo>
                  <a:pt x="164" y="288"/>
                  <a:pt x="160" y="283"/>
                  <a:pt x="160" y="277"/>
                </a:cubicBezTo>
                <a:cubicBezTo>
                  <a:pt x="160" y="271"/>
                  <a:pt x="164" y="266"/>
                  <a:pt x="170" y="266"/>
                </a:cubicBezTo>
                <a:close/>
                <a:moveTo>
                  <a:pt x="170" y="309"/>
                </a:moveTo>
                <a:cubicBezTo>
                  <a:pt x="256" y="309"/>
                  <a:pt x="256" y="309"/>
                  <a:pt x="256" y="309"/>
                </a:cubicBezTo>
                <a:cubicBezTo>
                  <a:pt x="262" y="309"/>
                  <a:pt x="266" y="314"/>
                  <a:pt x="266" y="320"/>
                </a:cubicBezTo>
                <a:cubicBezTo>
                  <a:pt x="266" y="326"/>
                  <a:pt x="262" y="330"/>
                  <a:pt x="256" y="330"/>
                </a:cubicBezTo>
                <a:cubicBezTo>
                  <a:pt x="170" y="330"/>
                  <a:pt x="170" y="330"/>
                  <a:pt x="170" y="330"/>
                </a:cubicBezTo>
                <a:cubicBezTo>
                  <a:pt x="164" y="330"/>
                  <a:pt x="160" y="326"/>
                  <a:pt x="160" y="320"/>
                </a:cubicBezTo>
                <a:cubicBezTo>
                  <a:pt x="160" y="314"/>
                  <a:pt x="164" y="309"/>
                  <a:pt x="170" y="309"/>
                </a:cubicBezTo>
                <a:close/>
                <a:moveTo>
                  <a:pt x="170" y="352"/>
                </a:moveTo>
                <a:cubicBezTo>
                  <a:pt x="256" y="352"/>
                  <a:pt x="256" y="352"/>
                  <a:pt x="256" y="352"/>
                </a:cubicBezTo>
                <a:cubicBezTo>
                  <a:pt x="262" y="352"/>
                  <a:pt x="266" y="356"/>
                  <a:pt x="266" y="362"/>
                </a:cubicBezTo>
                <a:cubicBezTo>
                  <a:pt x="266" y="368"/>
                  <a:pt x="262" y="373"/>
                  <a:pt x="256" y="373"/>
                </a:cubicBezTo>
                <a:cubicBezTo>
                  <a:pt x="170" y="373"/>
                  <a:pt x="170" y="373"/>
                  <a:pt x="170" y="373"/>
                </a:cubicBezTo>
                <a:cubicBezTo>
                  <a:pt x="164" y="373"/>
                  <a:pt x="160" y="368"/>
                  <a:pt x="160" y="362"/>
                </a:cubicBezTo>
                <a:cubicBezTo>
                  <a:pt x="160" y="356"/>
                  <a:pt x="164" y="352"/>
                  <a:pt x="170" y="352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98" y="405"/>
                </a:moveTo>
                <a:cubicBezTo>
                  <a:pt x="298" y="411"/>
                  <a:pt x="294" y="416"/>
                  <a:pt x="288" y="416"/>
                </a:cubicBezTo>
                <a:cubicBezTo>
                  <a:pt x="138" y="416"/>
                  <a:pt x="138" y="416"/>
                  <a:pt x="138" y="416"/>
                </a:cubicBezTo>
                <a:cubicBezTo>
                  <a:pt x="132" y="416"/>
                  <a:pt x="128" y="411"/>
                  <a:pt x="128" y="405"/>
                </a:cubicBezTo>
                <a:cubicBezTo>
                  <a:pt x="128" y="192"/>
                  <a:pt x="128" y="192"/>
                  <a:pt x="128" y="192"/>
                </a:cubicBezTo>
                <a:cubicBezTo>
                  <a:pt x="128" y="186"/>
                  <a:pt x="132" y="181"/>
                  <a:pt x="138" y="181"/>
                </a:cubicBezTo>
                <a:cubicBezTo>
                  <a:pt x="288" y="181"/>
                  <a:pt x="288" y="181"/>
                  <a:pt x="288" y="181"/>
                </a:cubicBezTo>
                <a:cubicBezTo>
                  <a:pt x="294" y="181"/>
                  <a:pt x="298" y="186"/>
                  <a:pt x="298" y="192"/>
                </a:cubicBezTo>
                <a:lnTo>
                  <a:pt x="298" y="405"/>
                </a:lnTo>
                <a:close/>
                <a:moveTo>
                  <a:pt x="341" y="362"/>
                </a:moveTo>
                <a:cubicBezTo>
                  <a:pt x="341" y="368"/>
                  <a:pt x="336" y="373"/>
                  <a:pt x="330" y="373"/>
                </a:cubicBezTo>
                <a:cubicBezTo>
                  <a:pt x="324" y="373"/>
                  <a:pt x="320" y="368"/>
                  <a:pt x="320" y="362"/>
                </a:cubicBezTo>
                <a:cubicBezTo>
                  <a:pt x="320" y="160"/>
                  <a:pt x="320" y="160"/>
                  <a:pt x="320" y="160"/>
                </a:cubicBezTo>
                <a:cubicBezTo>
                  <a:pt x="181" y="160"/>
                  <a:pt x="181" y="160"/>
                  <a:pt x="181" y="160"/>
                </a:cubicBezTo>
                <a:cubicBezTo>
                  <a:pt x="175" y="160"/>
                  <a:pt x="170" y="155"/>
                  <a:pt x="170" y="149"/>
                </a:cubicBezTo>
                <a:cubicBezTo>
                  <a:pt x="170" y="143"/>
                  <a:pt x="175" y="138"/>
                  <a:pt x="181" y="138"/>
                </a:cubicBezTo>
                <a:cubicBezTo>
                  <a:pt x="330" y="138"/>
                  <a:pt x="330" y="138"/>
                  <a:pt x="330" y="138"/>
                </a:cubicBezTo>
                <a:cubicBezTo>
                  <a:pt x="336" y="138"/>
                  <a:pt x="341" y="143"/>
                  <a:pt x="341" y="149"/>
                </a:cubicBezTo>
                <a:lnTo>
                  <a:pt x="341" y="362"/>
                </a:lnTo>
                <a:close/>
                <a:moveTo>
                  <a:pt x="384" y="320"/>
                </a:moveTo>
                <a:cubicBezTo>
                  <a:pt x="384" y="326"/>
                  <a:pt x="379" y="330"/>
                  <a:pt x="373" y="330"/>
                </a:cubicBezTo>
                <a:cubicBezTo>
                  <a:pt x="367" y="330"/>
                  <a:pt x="362" y="326"/>
                  <a:pt x="362" y="320"/>
                </a:cubicBezTo>
                <a:cubicBezTo>
                  <a:pt x="362" y="117"/>
                  <a:pt x="362" y="117"/>
                  <a:pt x="362" y="117"/>
                </a:cubicBezTo>
                <a:cubicBezTo>
                  <a:pt x="224" y="117"/>
                  <a:pt x="224" y="117"/>
                  <a:pt x="224" y="117"/>
                </a:cubicBezTo>
                <a:cubicBezTo>
                  <a:pt x="218" y="117"/>
                  <a:pt x="213" y="112"/>
                  <a:pt x="213" y="106"/>
                </a:cubicBezTo>
                <a:cubicBezTo>
                  <a:pt x="213" y="100"/>
                  <a:pt x="218" y="96"/>
                  <a:pt x="224" y="96"/>
                </a:cubicBezTo>
                <a:cubicBezTo>
                  <a:pt x="373" y="96"/>
                  <a:pt x="373" y="96"/>
                  <a:pt x="373" y="96"/>
                </a:cubicBezTo>
                <a:cubicBezTo>
                  <a:pt x="379" y="96"/>
                  <a:pt x="384" y="100"/>
                  <a:pt x="384" y="106"/>
                </a:cubicBezTo>
                <a:lnTo>
                  <a:pt x="384" y="320"/>
                </a:lnTo>
                <a:close/>
              </a:path>
            </a:pathLst>
          </a:custGeom>
          <a:solidFill>
            <a:srgbClr val="48B648"/>
          </a:solidFill>
          <a:ln>
            <a:noFill/>
          </a:ln>
          <a:extLst/>
        </p:spPr>
        <p:txBody>
          <a:bodyPr/>
          <a:lstStyle/>
          <a:p>
            <a:endParaRPr lang="it-IT"/>
          </a:p>
        </p:txBody>
      </p:sp>
      <p:pic>
        <p:nvPicPr>
          <p:cNvPr id="369" name="Picture 36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07790" y="2825626"/>
            <a:ext cx="243816" cy="245521"/>
          </a:xfrm>
          <a:prstGeom prst="rect">
            <a:avLst/>
          </a:prstGeom>
        </p:spPr>
      </p:pic>
      <p:sp>
        <p:nvSpPr>
          <p:cNvPr id="370" name="TextBox 369"/>
          <p:cNvSpPr txBox="1"/>
          <p:nvPr/>
        </p:nvSpPr>
        <p:spPr>
          <a:xfrm>
            <a:off x="1224349" y="3013947"/>
            <a:ext cx="793361" cy="369332"/>
          </a:xfrm>
          <a:prstGeom prst="rect">
            <a:avLst/>
          </a:prstGeom>
          <a:noFill/>
        </p:spPr>
        <p:txBody>
          <a:bodyPr wrap="square" lIns="0" rIns="0" rtlCol="0" anchor="ctr" anchorCtr="1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900" dirty="0">
                <a:solidFill>
                  <a:srgbClr val="009900"/>
                </a:solidFill>
                <a:latin typeface="Arial" panose="020B0604020202020204" pitchFamily="34" charset="0"/>
                <a:cs typeface="+mn-cs"/>
              </a:rPr>
              <a:t>Fattura</a:t>
            </a:r>
            <a:r>
              <a:rPr kumimoji="0" lang="it-IT" sz="900" b="0" i="0" u="none" strike="noStrike" kern="1200" cap="none" spc="0" normalizeH="0" noProof="0" dirty="0">
                <a:ln>
                  <a:noFill/>
                </a:ln>
                <a:solidFill>
                  <a:srgbClr val="0099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900" dirty="0" err="1">
                <a:solidFill>
                  <a:srgbClr val="009900"/>
                </a:solidFill>
              </a:rPr>
              <a:t>FatturaPA</a:t>
            </a:r>
            <a:endParaRPr kumimoji="0" lang="it-IT" sz="900" b="0" i="0" u="none" strike="noStrike" kern="1200" cap="none" spc="0" normalizeH="0" baseline="0" noProof="0" dirty="0">
              <a:ln>
                <a:noFill/>
              </a:ln>
              <a:solidFill>
                <a:srgbClr val="0099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371" name="Group 370"/>
          <p:cNvGrpSpPr/>
          <p:nvPr/>
        </p:nvGrpSpPr>
        <p:grpSpPr>
          <a:xfrm>
            <a:off x="1335713" y="2681388"/>
            <a:ext cx="566502" cy="379019"/>
            <a:chOff x="1312005" y="1837267"/>
            <a:chExt cx="736928" cy="507343"/>
          </a:xfrm>
        </p:grpSpPr>
        <p:sp>
          <p:nvSpPr>
            <p:cNvPr id="374" name="Oval 373"/>
            <p:cNvSpPr/>
            <p:nvPr/>
          </p:nvSpPr>
          <p:spPr bwMode="auto">
            <a:xfrm>
              <a:off x="1312005" y="1837267"/>
              <a:ext cx="736928" cy="507343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rgbClr val="0099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0000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it-IT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75" name="Freeform 346">
              <a:extLst>
                <a:ext uri="{FF2B5EF4-FFF2-40B4-BE49-F238E27FC236}">
                  <a16:creationId xmlns:a16="http://schemas.microsoft.com/office/drawing/2014/main" id="{1F3A4E7F-132B-4287-9B93-CD7FBE448DD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688971" y="1948992"/>
              <a:ext cx="289332" cy="289438"/>
            </a:xfrm>
            <a:custGeom>
              <a:avLst/>
              <a:gdLst>
                <a:gd name="T0" fmla="*/ 308124844 w 512"/>
                <a:gd name="T1" fmla="*/ 438272227 h 512"/>
                <a:gd name="T2" fmla="*/ 165742031 w 512"/>
                <a:gd name="T3" fmla="*/ 224698008 h 512"/>
                <a:gd name="T4" fmla="*/ 189102305 w 512"/>
                <a:gd name="T5" fmla="*/ 249169922 h 512"/>
                <a:gd name="T6" fmla="*/ 295889414 w 512"/>
                <a:gd name="T7" fmla="*/ 260293711 h 512"/>
                <a:gd name="T8" fmla="*/ 189102305 w 512"/>
                <a:gd name="T9" fmla="*/ 272529141 h 512"/>
                <a:gd name="T10" fmla="*/ 189102305 w 512"/>
                <a:gd name="T11" fmla="*/ 249169922 h 512"/>
                <a:gd name="T12" fmla="*/ 284765625 w 512"/>
                <a:gd name="T13" fmla="*/ 295889414 h 512"/>
                <a:gd name="T14" fmla="*/ 284765625 w 512"/>
                <a:gd name="T15" fmla="*/ 320361328 h 512"/>
                <a:gd name="T16" fmla="*/ 177978516 w 512"/>
                <a:gd name="T17" fmla="*/ 308124844 h 512"/>
                <a:gd name="T18" fmla="*/ 189102305 w 512"/>
                <a:gd name="T19" fmla="*/ 343720547 h 512"/>
                <a:gd name="T20" fmla="*/ 295889414 w 512"/>
                <a:gd name="T21" fmla="*/ 355957031 h 512"/>
                <a:gd name="T22" fmla="*/ 189102305 w 512"/>
                <a:gd name="T23" fmla="*/ 367080820 h 512"/>
                <a:gd name="T24" fmla="*/ 189102305 w 512"/>
                <a:gd name="T25" fmla="*/ 343720547 h 512"/>
                <a:gd name="T26" fmla="*/ 284765625 w 512"/>
                <a:gd name="T27" fmla="*/ 391552734 h 512"/>
                <a:gd name="T28" fmla="*/ 284765625 w 512"/>
                <a:gd name="T29" fmla="*/ 414911953 h 512"/>
                <a:gd name="T30" fmla="*/ 177978516 w 512"/>
                <a:gd name="T31" fmla="*/ 402676523 h 512"/>
                <a:gd name="T32" fmla="*/ 284765625 w 512"/>
                <a:gd name="T33" fmla="*/ 0 h 512"/>
                <a:gd name="T34" fmla="*/ 284765625 w 512"/>
                <a:gd name="T35" fmla="*/ 569531250 h 512"/>
                <a:gd name="T36" fmla="*/ 284765625 w 512"/>
                <a:gd name="T37" fmla="*/ 0 h 512"/>
                <a:gd name="T38" fmla="*/ 320361328 w 512"/>
                <a:gd name="T39" fmla="*/ 462744141 h 512"/>
                <a:gd name="T40" fmla="*/ 142382813 w 512"/>
                <a:gd name="T41" fmla="*/ 450507656 h 512"/>
                <a:gd name="T42" fmla="*/ 153506602 w 512"/>
                <a:gd name="T43" fmla="*/ 201337734 h 512"/>
                <a:gd name="T44" fmla="*/ 331485117 w 512"/>
                <a:gd name="T45" fmla="*/ 213574219 h 512"/>
                <a:gd name="T46" fmla="*/ 379316250 w 512"/>
                <a:gd name="T47" fmla="*/ 402676523 h 512"/>
                <a:gd name="T48" fmla="*/ 355957031 w 512"/>
                <a:gd name="T49" fmla="*/ 402676523 h 512"/>
                <a:gd name="T50" fmla="*/ 201337734 w 512"/>
                <a:gd name="T51" fmla="*/ 177978516 h 512"/>
                <a:gd name="T52" fmla="*/ 201337734 w 512"/>
                <a:gd name="T53" fmla="*/ 153506602 h 512"/>
                <a:gd name="T54" fmla="*/ 379316250 w 512"/>
                <a:gd name="T55" fmla="*/ 165742031 h 512"/>
                <a:gd name="T56" fmla="*/ 427148438 w 512"/>
                <a:gd name="T57" fmla="*/ 355957031 h 512"/>
                <a:gd name="T58" fmla="*/ 402676523 w 512"/>
                <a:gd name="T59" fmla="*/ 355957031 h 512"/>
                <a:gd name="T60" fmla="*/ 249169922 w 512"/>
                <a:gd name="T61" fmla="*/ 130146328 h 512"/>
                <a:gd name="T62" fmla="*/ 249169922 w 512"/>
                <a:gd name="T63" fmla="*/ 106787109 h 512"/>
                <a:gd name="T64" fmla="*/ 427148438 w 512"/>
                <a:gd name="T65" fmla="*/ 117910898 h 51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512" h="512">
                  <a:moveTo>
                    <a:pt x="149" y="394"/>
                  </a:moveTo>
                  <a:cubicBezTo>
                    <a:pt x="277" y="394"/>
                    <a:pt x="277" y="394"/>
                    <a:pt x="277" y="394"/>
                  </a:cubicBezTo>
                  <a:cubicBezTo>
                    <a:pt x="277" y="202"/>
                    <a:pt x="277" y="202"/>
                    <a:pt x="277" y="202"/>
                  </a:cubicBezTo>
                  <a:cubicBezTo>
                    <a:pt x="149" y="202"/>
                    <a:pt x="149" y="202"/>
                    <a:pt x="149" y="202"/>
                  </a:cubicBezTo>
                  <a:lnTo>
                    <a:pt x="149" y="394"/>
                  </a:lnTo>
                  <a:close/>
                  <a:moveTo>
                    <a:pt x="170" y="224"/>
                  </a:moveTo>
                  <a:cubicBezTo>
                    <a:pt x="256" y="224"/>
                    <a:pt x="256" y="224"/>
                    <a:pt x="256" y="224"/>
                  </a:cubicBezTo>
                  <a:cubicBezTo>
                    <a:pt x="262" y="224"/>
                    <a:pt x="266" y="228"/>
                    <a:pt x="266" y="234"/>
                  </a:cubicBezTo>
                  <a:cubicBezTo>
                    <a:pt x="266" y="240"/>
                    <a:pt x="262" y="245"/>
                    <a:pt x="256" y="245"/>
                  </a:cubicBezTo>
                  <a:cubicBezTo>
                    <a:pt x="170" y="245"/>
                    <a:pt x="170" y="245"/>
                    <a:pt x="170" y="245"/>
                  </a:cubicBezTo>
                  <a:cubicBezTo>
                    <a:pt x="164" y="245"/>
                    <a:pt x="160" y="240"/>
                    <a:pt x="160" y="234"/>
                  </a:cubicBezTo>
                  <a:cubicBezTo>
                    <a:pt x="160" y="228"/>
                    <a:pt x="164" y="224"/>
                    <a:pt x="170" y="224"/>
                  </a:cubicBezTo>
                  <a:close/>
                  <a:moveTo>
                    <a:pt x="170" y="266"/>
                  </a:moveTo>
                  <a:cubicBezTo>
                    <a:pt x="256" y="266"/>
                    <a:pt x="256" y="266"/>
                    <a:pt x="256" y="266"/>
                  </a:cubicBezTo>
                  <a:cubicBezTo>
                    <a:pt x="262" y="266"/>
                    <a:pt x="266" y="271"/>
                    <a:pt x="266" y="277"/>
                  </a:cubicBezTo>
                  <a:cubicBezTo>
                    <a:pt x="266" y="283"/>
                    <a:pt x="262" y="288"/>
                    <a:pt x="256" y="288"/>
                  </a:cubicBezTo>
                  <a:cubicBezTo>
                    <a:pt x="170" y="288"/>
                    <a:pt x="170" y="288"/>
                    <a:pt x="170" y="288"/>
                  </a:cubicBezTo>
                  <a:cubicBezTo>
                    <a:pt x="164" y="288"/>
                    <a:pt x="160" y="283"/>
                    <a:pt x="160" y="277"/>
                  </a:cubicBezTo>
                  <a:cubicBezTo>
                    <a:pt x="160" y="271"/>
                    <a:pt x="164" y="266"/>
                    <a:pt x="170" y="266"/>
                  </a:cubicBezTo>
                  <a:close/>
                  <a:moveTo>
                    <a:pt x="170" y="309"/>
                  </a:moveTo>
                  <a:cubicBezTo>
                    <a:pt x="256" y="309"/>
                    <a:pt x="256" y="309"/>
                    <a:pt x="256" y="309"/>
                  </a:cubicBezTo>
                  <a:cubicBezTo>
                    <a:pt x="262" y="309"/>
                    <a:pt x="266" y="314"/>
                    <a:pt x="266" y="320"/>
                  </a:cubicBezTo>
                  <a:cubicBezTo>
                    <a:pt x="266" y="326"/>
                    <a:pt x="262" y="330"/>
                    <a:pt x="256" y="330"/>
                  </a:cubicBezTo>
                  <a:cubicBezTo>
                    <a:pt x="170" y="330"/>
                    <a:pt x="170" y="330"/>
                    <a:pt x="170" y="330"/>
                  </a:cubicBezTo>
                  <a:cubicBezTo>
                    <a:pt x="164" y="330"/>
                    <a:pt x="160" y="326"/>
                    <a:pt x="160" y="320"/>
                  </a:cubicBezTo>
                  <a:cubicBezTo>
                    <a:pt x="160" y="314"/>
                    <a:pt x="164" y="309"/>
                    <a:pt x="170" y="309"/>
                  </a:cubicBezTo>
                  <a:close/>
                  <a:moveTo>
                    <a:pt x="170" y="352"/>
                  </a:moveTo>
                  <a:cubicBezTo>
                    <a:pt x="256" y="352"/>
                    <a:pt x="256" y="352"/>
                    <a:pt x="256" y="352"/>
                  </a:cubicBezTo>
                  <a:cubicBezTo>
                    <a:pt x="262" y="352"/>
                    <a:pt x="266" y="356"/>
                    <a:pt x="266" y="362"/>
                  </a:cubicBezTo>
                  <a:cubicBezTo>
                    <a:pt x="266" y="368"/>
                    <a:pt x="262" y="373"/>
                    <a:pt x="256" y="373"/>
                  </a:cubicBezTo>
                  <a:cubicBezTo>
                    <a:pt x="170" y="373"/>
                    <a:pt x="170" y="373"/>
                    <a:pt x="170" y="373"/>
                  </a:cubicBezTo>
                  <a:cubicBezTo>
                    <a:pt x="164" y="373"/>
                    <a:pt x="160" y="368"/>
                    <a:pt x="160" y="362"/>
                  </a:cubicBezTo>
                  <a:cubicBezTo>
                    <a:pt x="160" y="356"/>
                    <a:pt x="164" y="352"/>
                    <a:pt x="170" y="352"/>
                  </a:cubicBezTo>
                  <a:close/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98" y="405"/>
                  </a:moveTo>
                  <a:cubicBezTo>
                    <a:pt x="298" y="411"/>
                    <a:pt x="294" y="416"/>
                    <a:pt x="288" y="416"/>
                  </a:cubicBezTo>
                  <a:cubicBezTo>
                    <a:pt x="138" y="416"/>
                    <a:pt x="138" y="416"/>
                    <a:pt x="138" y="416"/>
                  </a:cubicBezTo>
                  <a:cubicBezTo>
                    <a:pt x="132" y="416"/>
                    <a:pt x="128" y="411"/>
                    <a:pt x="128" y="405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28" y="186"/>
                    <a:pt x="132" y="181"/>
                    <a:pt x="138" y="181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94" y="181"/>
                    <a:pt x="298" y="186"/>
                    <a:pt x="298" y="192"/>
                  </a:cubicBezTo>
                  <a:lnTo>
                    <a:pt x="298" y="405"/>
                  </a:lnTo>
                  <a:close/>
                  <a:moveTo>
                    <a:pt x="341" y="362"/>
                  </a:moveTo>
                  <a:cubicBezTo>
                    <a:pt x="341" y="368"/>
                    <a:pt x="336" y="373"/>
                    <a:pt x="330" y="373"/>
                  </a:cubicBezTo>
                  <a:cubicBezTo>
                    <a:pt x="324" y="373"/>
                    <a:pt x="320" y="368"/>
                    <a:pt x="320" y="362"/>
                  </a:cubicBezTo>
                  <a:cubicBezTo>
                    <a:pt x="320" y="160"/>
                    <a:pt x="320" y="160"/>
                    <a:pt x="320" y="160"/>
                  </a:cubicBezTo>
                  <a:cubicBezTo>
                    <a:pt x="181" y="160"/>
                    <a:pt x="181" y="160"/>
                    <a:pt x="181" y="160"/>
                  </a:cubicBezTo>
                  <a:cubicBezTo>
                    <a:pt x="175" y="160"/>
                    <a:pt x="170" y="155"/>
                    <a:pt x="170" y="149"/>
                  </a:cubicBezTo>
                  <a:cubicBezTo>
                    <a:pt x="170" y="143"/>
                    <a:pt x="175" y="138"/>
                    <a:pt x="181" y="138"/>
                  </a:cubicBezTo>
                  <a:cubicBezTo>
                    <a:pt x="330" y="138"/>
                    <a:pt x="330" y="138"/>
                    <a:pt x="330" y="138"/>
                  </a:cubicBezTo>
                  <a:cubicBezTo>
                    <a:pt x="336" y="138"/>
                    <a:pt x="341" y="143"/>
                    <a:pt x="341" y="149"/>
                  </a:cubicBezTo>
                  <a:lnTo>
                    <a:pt x="341" y="362"/>
                  </a:lnTo>
                  <a:close/>
                  <a:moveTo>
                    <a:pt x="384" y="320"/>
                  </a:moveTo>
                  <a:cubicBezTo>
                    <a:pt x="384" y="326"/>
                    <a:pt x="379" y="330"/>
                    <a:pt x="373" y="330"/>
                  </a:cubicBezTo>
                  <a:cubicBezTo>
                    <a:pt x="367" y="330"/>
                    <a:pt x="362" y="326"/>
                    <a:pt x="362" y="320"/>
                  </a:cubicBezTo>
                  <a:cubicBezTo>
                    <a:pt x="362" y="117"/>
                    <a:pt x="362" y="117"/>
                    <a:pt x="362" y="117"/>
                  </a:cubicBezTo>
                  <a:cubicBezTo>
                    <a:pt x="224" y="117"/>
                    <a:pt x="224" y="117"/>
                    <a:pt x="224" y="117"/>
                  </a:cubicBezTo>
                  <a:cubicBezTo>
                    <a:pt x="218" y="117"/>
                    <a:pt x="213" y="112"/>
                    <a:pt x="213" y="106"/>
                  </a:cubicBezTo>
                  <a:cubicBezTo>
                    <a:pt x="213" y="100"/>
                    <a:pt x="218" y="96"/>
                    <a:pt x="224" y="96"/>
                  </a:cubicBezTo>
                  <a:cubicBezTo>
                    <a:pt x="373" y="96"/>
                    <a:pt x="373" y="96"/>
                    <a:pt x="373" y="96"/>
                  </a:cubicBezTo>
                  <a:cubicBezTo>
                    <a:pt x="379" y="96"/>
                    <a:pt x="384" y="100"/>
                    <a:pt x="384" y="106"/>
                  </a:cubicBezTo>
                  <a:lnTo>
                    <a:pt x="384" y="320"/>
                  </a:lnTo>
                  <a:close/>
                </a:path>
              </a:pathLst>
            </a:custGeom>
            <a:solidFill>
              <a:srgbClr val="48B648"/>
            </a:solidFill>
            <a:ln>
              <a:noFill/>
            </a:ln>
            <a:extLst/>
          </p:spPr>
          <p:txBody>
            <a:bodyPr/>
            <a:lstStyle/>
            <a:p>
              <a:endParaRPr lang="it-IT"/>
            </a:p>
          </p:txBody>
        </p:sp>
        <p:pic>
          <p:nvPicPr>
            <p:cNvPr id="376" name="Picture 375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407842" y="1972239"/>
              <a:ext cx="258895" cy="260705"/>
            </a:xfrm>
            <a:prstGeom prst="rect">
              <a:avLst/>
            </a:prstGeom>
          </p:spPr>
        </p:pic>
      </p:grpSp>
      <p:cxnSp>
        <p:nvCxnSpPr>
          <p:cNvPr id="372" name="Straight Arrow Connector 371"/>
          <p:cNvCxnSpPr/>
          <p:nvPr/>
        </p:nvCxnSpPr>
        <p:spPr bwMode="auto">
          <a:xfrm flipV="1">
            <a:off x="3791415" y="2911623"/>
            <a:ext cx="288000" cy="1"/>
          </a:xfrm>
          <a:prstGeom prst="straightConnector1">
            <a:avLst/>
          </a:prstGeom>
          <a:solidFill>
            <a:srgbClr val="006600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cxnSp>
        <p:nvCxnSpPr>
          <p:cNvPr id="373" name="Straight Arrow Connector 372"/>
          <p:cNvCxnSpPr/>
          <p:nvPr/>
        </p:nvCxnSpPr>
        <p:spPr bwMode="auto">
          <a:xfrm flipH="1">
            <a:off x="6964611" y="5172363"/>
            <a:ext cx="551" cy="252000"/>
          </a:xfrm>
          <a:prstGeom prst="straightConnector1">
            <a:avLst/>
          </a:prstGeom>
          <a:solidFill>
            <a:srgbClr val="006600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cxnSp>
        <p:nvCxnSpPr>
          <p:cNvPr id="412" name="Straight Arrow Connector 411"/>
          <p:cNvCxnSpPr/>
          <p:nvPr/>
        </p:nvCxnSpPr>
        <p:spPr bwMode="auto">
          <a:xfrm flipH="1" flipV="1">
            <a:off x="3804787" y="4211473"/>
            <a:ext cx="2124000" cy="20132"/>
          </a:xfrm>
          <a:prstGeom prst="straightConnector1">
            <a:avLst/>
          </a:prstGeom>
          <a:solidFill>
            <a:srgbClr val="006600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cxnSp>
        <p:nvCxnSpPr>
          <p:cNvPr id="413" name="Straight Arrow Connector 412"/>
          <p:cNvCxnSpPr/>
          <p:nvPr/>
        </p:nvCxnSpPr>
        <p:spPr bwMode="auto">
          <a:xfrm flipH="1" flipV="1">
            <a:off x="4789443" y="4040998"/>
            <a:ext cx="1116000" cy="8036"/>
          </a:xfrm>
          <a:prstGeom prst="straightConnector1">
            <a:avLst/>
          </a:prstGeom>
          <a:solidFill>
            <a:srgbClr val="006600"/>
          </a:solidFill>
          <a:ln w="19050" cap="flat" cmpd="sng" algn="ctr">
            <a:solidFill>
              <a:schemeClr val="accent3"/>
            </a:solidFill>
            <a:prstDash val="sysDash"/>
            <a:round/>
            <a:headEnd type="none" w="med" len="med"/>
            <a:tailEnd type="triangle" w="lg" len="med"/>
          </a:ln>
          <a:effectLst/>
        </p:spPr>
      </p:cxnSp>
      <p:grpSp>
        <p:nvGrpSpPr>
          <p:cNvPr id="414" name="Group 413"/>
          <p:cNvGrpSpPr/>
          <p:nvPr/>
        </p:nvGrpSpPr>
        <p:grpSpPr>
          <a:xfrm>
            <a:off x="4987000" y="3860037"/>
            <a:ext cx="828000" cy="807602"/>
            <a:chOff x="5283092" y="4701675"/>
            <a:chExt cx="828000" cy="807602"/>
          </a:xfrm>
        </p:grpSpPr>
        <p:sp>
          <p:nvSpPr>
            <p:cNvPr id="415" name="Oval 414"/>
            <p:cNvSpPr/>
            <p:nvPr/>
          </p:nvSpPr>
          <p:spPr bwMode="auto">
            <a:xfrm>
              <a:off x="5335710" y="4701675"/>
              <a:ext cx="722765" cy="477794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rgbClr val="0099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0000"/>
                </a:buClr>
                <a:buSzPct val="70000"/>
                <a:buFont typeface="Wingdings" pitchFamily="2" charset="2"/>
                <a:buNone/>
                <a:tabLst/>
                <a:defRPr/>
              </a:pPr>
              <a:endParaRPr kumimoji="0" lang="it-IT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pic>
          <p:nvPicPr>
            <p:cNvPr id="416" name="Picture 19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45791" y="4791536"/>
              <a:ext cx="282269" cy="28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7" name="Freeform 684"/>
            <p:cNvSpPr>
              <a:spLocks noEditPoints="1"/>
            </p:cNvSpPr>
            <p:nvPr/>
          </p:nvSpPr>
          <p:spPr bwMode="auto">
            <a:xfrm>
              <a:off x="5760460" y="4831508"/>
              <a:ext cx="232678" cy="185925"/>
            </a:xfrm>
            <a:custGeom>
              <a:avLst/>
              <a:gdLst>
                <a:gd name="T0" fmla="*/ 313 w 322"/>
                <a:gd name="T1" fmla="*/ 22 h 257"/>
                <a:gd name="T2" fmla="*/ 276 w 322"/>
                <a:gd name="T3" fmla="*/ 31 h 257"/>
                <a:gd name="T4" fmla="*/ 246 w 322"/>
                <a:gd name="T5" fmla="*/ 185 h 257"/>
                <a:gd name="T6" fmla="*/ 235 w 322"/>
                <a:gd name="T7" fmla="*/ 193 h 257"/>
                <a:gd name="T8" fmla="*/ 235 w 322"/>
                <a:gd name="T9" fmla="*/ 193 h 257"/>
                <a:gd name="T10" fmla="*/ 235 w 322"/>
                <a:gd name="T11" fmla="*/ 193 h 257"/>
                <a:gd name="T12" fmla="*/ 54 w 322"/>
                <a:gd name="T13" fmla="*/ 193 h 257"/>
                <a:gd name="T14" fmla="*/ 43 w 322"/>
                <a:gd name="T15" fmla="*/ 183 h 257"/>
                <a:gd name="T16" fmla="*/ 54 w 322"/>
                <a:gd name="T17" fmla="*/ 172 h 257"/>
                <a:gd name="T18" fmla="*/ 227 w 322"/>
                <a:gd name="T19" fmla="*/ 172 h 257"/>
                <a:gd name="T20" fmla="*/ 257 w 322"/>
                <a:gd name="T21" fmla="*/ 21 h 257"/>
                <a:gd name="T22" fmla="*/ 265 w 322"/>
                <a:gd name="T23" fmla="*/ 12 h 257"/>
                <a:gd name="T24" fmla="*/ 307 w 322"/>
                <a:gd name="T25" fmla="*/ 2 h 257"/>
                <a:gd name="T26" fmla="*/ 320 w 322"/>
                <a:gd name="T27" fmla="*/ 9 h 257"/>
                <a:gd name="T28" fmla="*/ 313 w 322"/>
                <a:gd name="T29" fmla="*/ 22 h 257"/>
                <a:gd name="T30" fmla="*/ 203 w 322"/>
                <a:gd name="T31" fmla="*/ 140 h 257"/>
                <a:gd name="T32" fmla="*/ 193 w 322"/>
                <a:gd name="T33" fmla="*/ 129 h 257"/>
                <a:gd name="T34" fmla="*/ 41 w 322"/>
                <a:gd name="T35" fmla="*/ 129 h 257"/>
                <a:gd name="T36" fmla="*/ 25 w 322"/>
                <a:gd name="T37" fmla="*/ 65 h 257"/>
                <a:gd name="T38" fmla="*/ 214 w 322"/>
                <a:gd name="T39" fmla="*/ 65 h 257"/>
                <a:gd name="T40" fmla="*/ 225 w 322"/>
                <a:gd name="T41" fmla="*/ 55 h 257"/>
                <a:gd name="T42" fmla="*/ 214 w 322"/>
                <a:gd name="T43" fmla="*/ 44 h 257"/>
                <a:gd name="T44" fmla="*/ 11 w 322"/>
                <a:gd name="T45" fmla="*/ 44 h 257"/>
                <a:gd name="T46" fmla="*/ 3 w 322"/>
                <a:gd name="T47" fmla="*/ 48 h 257"/>
                <a:gd name="T48" fmla="*/ 1 w 322"/>
                <a:gd name="T49" fmla="*/ 57 h 257"/>
                <a:gd name="T50" fmla="*/ 22 w 322"/>
                <a:gd name="T51" fmla="*/ 143 h 257"/>
                <a:gd name="T52" fmla="*/ 33 w 322"/>
                <a:gd name="T53" fmla="*/ 151 h 257"/>
                <a:gd name="T54" fmla="*/ 193 w 322"/>
                <a:gd name="T55" fmla="*/ 151 h 257"/>
                <a:gd name="T56" fmla="*/ 203 w 322"/>
                <a:gd name="T57" fmla="*/ 140 h 257"/>
                <a:gd name="T58" fmla="*/ 65 w 322"/>
                <a:gd name="T59" fmla="*/ 87 h 257"/>
                <a:gd name="T60" fmla="*/ 54 w 322"/>
                <a:gd name="T61" fmla="*/ 97 h 257"/>
                <a:gd name="T62" fmla="*/ 65 w 322"/>
                <a:gd name="T63" fmla="*/ 108 h 257"/>
                <a:gd name="T64" fmla="*/ 203 w 322"/>
                <a:gd name="T65" fmla="*/ 108 h 257"/>
                <a:gd name="T66" fmla="*/ 214 w 322"/>
                <a:gd name="T67" fmla="*/ 97 h 257"/>
                <a:gd name="T68" fmla="*/ 203 w 322"/>
                <a:gd name="T69" fmla="*/ 87 h 257"/>
                <a:gd name="T70" fmla="*/ 65 w 322"/>
                <a:gd name="T71" fmla="*/ 87 h 257"/>
                <a:gd name="T72" fmla="*/ 75 w 322"/>
                <a:gd name="T73" fmla="*/ 215 h 257"/>
                <a:gd name="T74" fmla="*/ 54 w 322"/>
                <a:gd name="T75" fmla="*/ 236 h 257"/>
                <a:gd name="T76" fmla="*/ 75 w 322"/>
                <a:gd name="T77" fmla="*/ 257 h 257"/>
                <a:gd name="T78" fmla="*/ 97 w 322"/>
                <a:gd name="T79" fmla="*/ 236 h 257"/>
                <a:gd name="T80" fmla="*/ 75 w 322"/>
                <a:gd name="T81" fmla="*/ 215 h 257"/>
                <a:gd name="T82" fmla="*/ 214 w 322"/>
                <a:gd name="T83" fmla="*/ 215 h 257"/>
                <a:gd name="T84" fmla="*/ 193 w 322"/>
                <a:gd name="T85" fmla="*/ 236 h 257"/>
                <a:gd name="T86" fmla="*/ 214 w 322"/>
                <a:gd name="T87" fmla="*/ 257 h 257"/>
                <a:gd name="T88" fmla="*/ 235 w 322"/>
                <a:gd name="T89" fmla="*/ 236 h 257"/>
                <a:gd name="T90" fmla="*/ 214 w 322"/>
                <a:gd name="T91" fmla="*/ 215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2" h="257">
                  <a:moveTo>
                    <a:pt x="313" y="22"/>
                  </a:moveTo>
                  <a:cubicBezTo>
                    <a:pt x="276" y="31"/>
                    <a:pt x="276" y="31"/>
                    <a:pt x="276" y="31"/>
                  </a:cubicBezTo>
                  <a:cubicBezTo>
                    <a:pt x="246" y="185"/>
                    <a:pt x="246" y="185"/>
                    <a:pt x="246" y="185"/>
                  </a:cubicBezTo>
                  <a:cubicBezTo>
                    <a:pt x="245" y="190"/>
                    <a:pt x="240" y="193"/>
                    <a:pt x="235" y="193"/>
                  </a:cubicBezTo>
                  <a:cubicBezTo>
                    <a:pt x="235" y="193"/>
                    <a:pt x="235" y="193"/>
                    <a:pt x="235" y="193"/>
                  </a:cubicBezTo>
                  <a:cubicBezTo>
                    <a:pt x="235" y="193"/>
                    <a:pt x="235" y="193"/>
                    <a:pt x="235" y="193"/>
                  </a:cubicBezTo>
                  <a:cubicBezTo>
                    <a:pt x="54" y="193"/>
                    <a:pt x="54" y="193"/>
                    <a:pt x="54" y="193"/>
                  </a:cubicBezTo>
                  <a:cubicBezTo>
                    <a:pt x="48" y="193"/>
                    <a:pt x="43" y="189"/>
                    <a:pt x="43" y="183"/>
                  </a:cubicBezTo>
                  <a:cubicBezTo>
                    <a:pt x="43" y="177"/>
                    <a:pt x="48" y="172"/>
                    <a:pt x="54" y="172"/>
                  </a:cubicBezTo>
                  <a:cubicBezTo>
                    <a:pt x="227" y="172"/>
                    <a:pt x="227" y="172"/>
                    <a:pt x="227" y="172"/>
                  </a:cubicBezTo>
                  <a:cubicBezTo>
                    <a:pt x="257" y="21"/>
                    <a:pt x="257" y="21"/>
                    <a:pt x="257" y="21"/>
                  </a:cubicBezTo>
                  <a:cubicBezTo>
                    <a:pt x="258" y="17"/>
                    <a:pt x="261" y="13"/>
                    <a:pt x="265" y="12"/>
                  </a:cubicBezTo>
                  <a:cubicBezTo>
                    <a:pt x="307" y="2"/>
                    <a:pt x="307" y="2"/>
                    <a:pt x="307" y="2"/>
                  </a:cubicBezTo>
                  <a:cubicBezTo>
                    <a:pt x="313" y="0"/>
                    <a:pt x="319" y="4"/>
                    <a:pt x="320" y="9"/>
                  </a:cubicBezTo>
                  <a:cubicBezTo>
                    <a:pt x="322" y="15"/>
                    <a:pt x="318" y="21"/>
                    <a:pt x="313" y="22"/>
                  </a:cubicBezTo>
                  <a:close/>
                  <a:moveTo>
                    <a:pt x="203" y="140"/>
                  </a:moveTo>
                  <a:cubicBezTo>
                    <a:pt x="203" y="134"/>
                    <a:pt x="199" y="129"/>
                    <a:pt x="193" y="129"/>
                  </a:cubicBezTo>
                  <a:cubicBezTo>
                    <a:pt x="41" y="129"/>
                    <a:pt x="41" y="129"/>
                    <a:pt x="41" y="129"/>
                  </a:cubicBezTo>
                  <a:cubicBezTo>
                    <a:pt x="25" y="65"/>
                    <a:pt x="25" y="65"/>
                    <a:pt x="25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20" y="65"/>
                    <a:pt x="225" y="61"/>
                    <a:pt x="225" y="55"/>
                  </a:cubicBezTo>
                  <a:cubicBezTo>
                    <a:pt x="225" y="49"/>
                    <a:pt x="220" y="44"/>
                    <a:pt x="214" y="44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8" y="44"/>
                    <a:pt x="5" y="46"/>
                    <a:pt x="3" y="48"/>
                  </a:cubicBezTo>
                  <a:cubicBezTo>
                    <a:pt x="1" y="51"/>
                    <a:pt x="0" y="54"/>
                    <a:pt x="1" y="57"/>
                  </a:cubicBezTo>
                  <a:cubicBezTo>
                    <a:pt x="22" y="143"/>
                    <a:pt x="22" y="143"/>
                    <a:pt x="22" y="143"/>
                  </a:cubicBezTo>
                  <a:cubicBezTo>
                    <a:pt x="24" y="147"/>
                    <a:pt x="28" y="151"/>
                    <a:pt x="33" y="151"/>
                  </a:cubicBezTo>
                  <a:cubicBezTo>
                    <a:pt x="193" y="151"/>
                    <a:pt x="193" y="151"/>
                    <a:pt x="193" y="151"/>
                  </a:cubicBezTo>
                  <a:cubicBezTo>
                    <a:pt x="199" y="151"/>
                    <a:pt x="203" y="146"/>
                    <a:pt x="203" y="140"/>
                  </a:cubicBezTo>
                  <a:close/>
                  <a:moveTo>
                    <a:pt x="65" y="87"/>
                  </a:moveTo>
                  <a:cubicBezTo>
                    <a:pt x="59" y="87"/>
                    <a:pt x="54" y="91"/>
                    <a:pt x="54" y="97"/>
                  </a:cubicBezTo>
                  <a:cubicBezTo>
                    <a:pt x="54" y="103"/>
                    <a:pt x="59" y="108"/>
                    <a:pt x="65" y="108"/>
                  </a:cubicBezTo>
                  <a:cubicBezTo>
                    <a:pt x="203" y="108"/>
                    <a:pt x="203" y="108"/>
                    <a:pt x="203" y="108"/>
                  </a:cubicBezTo>
                  <a:cubicBezTo>
                    <a:pt x="209" y="108"/>
                    <a:pt x="214" y="103"/>
                    <a:pt x="214" y="97"/>
                  </a:cubicBezTo>
                  <a:cubicBezTo>
                    <a:pt x="214" y="91"/>
                    <a:pt x="209" y="87"/>
                    <a:pt x="203" y="87"/>
                  </a:cubicBezTo>
                  <a:lnTo>
                    <a:pt x="65" y="87"/>
                  </a:lnTo>
                  <a:close/>
                  <a:moveTo>
                    <a:pt x="75" y="215"/>
                  </a:moveTo>
                  <a:cubicBezTo>
                    <a:pt x="64" y="215"/>
                    <a:pt x="54" y="224"/>
                    <a:pt x="54" y="236"/>
                  </a:cubicBezTo>
                  <a:cubicBezTo>
                    <a:pt x="54" y="248"/>
                    <a:pt x="64" y="257"/>
                    <a:pt x="75" y="257"/>
                  </a:cubicBezTo>
                  <a:cubicBezTo>
                    <a:pt x="87" y="257"/>
                    <a:pt x="97" y="248"/>
                    <a:pt x="97" y="236"/>
                  </a:cubicBezTo>
                  <a:cubicBezTo>
                    <a:pt x="97" y="224"/>
                    <a:pt x="87" y="215"/>
                    <a:pt x="75" y="215"/>
                  </a:cubicBezTo>
                  <a:close/>
                  <a:moveTo>
                    <a:pt x="214" y="215"/>
                  </a:moveTo>
                  <a:cubicBezTo>
                    <a:pt x="202" y="215"/>
                    <a:pt x="193" y="224"/>
                    <a:pt x="193" y="236"/>
                  </a:cubicBezTo>
                  <a:cubicBezTo>
                    <a:pt x="193" y="248"/>
                    <a:pt x="202" y="257"/>
                    <a:pt x="214" y="257"/>
                  </a:cubicBezTo>
                  <a:cubicBezTo>
                    <a:pt x="226" y="257"/>
                    <a:pt x="235" y="248"/>
                    <a:pt x="235" y="236"/>
                  </a:cubicBezTo>
                  <a:cubicBezTo>
                    <a:pt x="235" y="224"/>
                    <a:pt x="226" y="215"/>
                    <a:pt x="214" y="215"/>
                  </a:cubicBezTo>
                  <a:close/>
                </a:path>
              </a:pathLst>
            </a:custGeom>
            <a:solidFill>
              <a:srgbClr val="009900"/>
            </a:solidFill>
            <a:ln>
              <a:noFill/>
            </a:ln>
            <a:extLst/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8" name="TextBox 417"/>
            <p:cNvSpPr txBox="1"/>
            <p:nvPr/>
          </p:nvSpPr>
          <p:spPr>
            <a:xfrm>
              <a:off x="5283092" y="5139945"/>
              <a:ext cx="828000" cy="369332"/>
            </a:xfrm>
            <a:prstGeom prst="rect">
              <a:avLst/>
            </a:prstGeom>
            <a:noFill/>
          </p:spPr>
          <p:txBody>
            <a:bodyPr wrap="square" lIns="0" rIns="0" rtlCol="0" anchor="ctr" anchorCtr="1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99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Ordine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99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PEPPOL UBL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4086055" y="3620915"/>
            <a:ext cx="684162" cy="546943"/>
            <a:chOff x="4086055" y="3664460"/>
            <a:chExt cx="684162" cy="546943"/>
          </a:xfrm>
        </p:grpSpPr>
        <p:sp>
          <p:nvSpPr>
            <p:cNvPr id="420" name="Rounded Rectangle 419"/>
            <p:cNvSpPr/>
            <p:nvPr/>
          </p:nvSpPr>
          <p:spPr bwMode="auto">
            <a:xfrm>
              <a:off x="4086055" y="3664460"/>
              <a:ext cx="684162" cy="546943"/>
            </a:xfrm>
            <a:prstGeom prst="roundRect">
              <a:avLst/>
            </a:prstGeom>
            <a:solidFill>
              <a:srgbClr val="00B0F0">
                <a:alpha val="18000"/>
              </a:srgbClr>
            </a:solidFill>
            <a:ln w="9525" cap="flat" cmpd="sng" algn="ctr">
              <a:solidFill>
                <a:srgbClr val="00B0F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0000"/>
                </a:buClr>
                <a:buSzPct val="70000"/>
                <a:buFont typeface="Wingdings" pitchFamily="2" charset="2"/>
                <a:buNone/>
                <a:tabLst/>
              </a:pPr>
              <a:endParaRPr kumimoji="0" 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21" name="Can 420"/>
            <p:cNvSpPr/>
            <p:nvPr/>
          </p:nvSpPr>
          <p:spPr bwMode="auto">
            <a:xfrm>
              <a:off x="4107089" y="3693392"/>
              <a:ext cx="625394" cy="485390"/>
            </a:xfrm>
            <a:prstGeom prst="can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txBody>
            <a:bodyPr lIns="0" tIns="72000" r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SO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1704755" y="1241731"/>
            <a:ext cx="648000" cy="648000"/>
            <a:chOff x="1683107" y="1117041"/>
            <a:chExt cx="648000" cy="648000"/>
          </a:xfrm>
        </p:grpSpPr>
        <p:grpSp>
          <p:nvGrpSpPr>
            <p:cNvPr id="130" name="Group 129"/>
            <p:cNvGrpSpPr/>
            <p:nvPr/>
          </p:nvGrpSpPr>
          <p:grpSpPr>
            <a:xfrm>
              <a:off x="1764250" y="1239044"/>
              <a:ext cx="486392" cy="351048"/>
              <a:chOff x="7635876" y="1039813"/>
              <a:chExt cx="547687" cy="395288"/>
            </a:xfrm>
            <a:solidFill>
              <a:schemeClr val="bg1"/>
            </a:solidFill>
          </p:grpSpPr>
          <p:sp>
            <p:nvSpPr>
              <p:cNvPr id="131" name="Freeform 371"/>
              <p:cNvSpPr>
                <a:spLocks noEditPoints="1"/>
              </p:cNvSpPr>
              <p:nvPr/>
            </p:nvSpPr>
            <p:spPr bwMode="auto">
              <a:xfrm>
                <a:off x="7635876" y="1039813"/>
                <a:ext cx="398463" cy="395288"/>
              </a:xfrm>
              <a:custGeom>
                <a:avLst/>
                <a:gdLst>
                  <a:gd name="T0" fmla="*/ 166 w 173"/>
                  <a:gd name="T1" fmla="*/ 131 h 172"/>
                  <a:gd name="T2" fmla="*/ 111 w 173"/>
                  <a:gd name="T3" fmla="*/ 104 h 172"/>
                  <a:gd name="T4" fmla="*/ 111 w 173"/>
                  <a:gd name="T5" fmla="*/ 99 h 172"/>
                  <a:gd name="T6" fmla="*/ 123 w 173"/>
                  <a:gd name="T7" fmla="*/ 77 h 172"/>
                  <a:gd name="T8" fmla="*/ 129 w 173"/>
                  <a:gd name="T9" fmla="*/ 63 h 172"/>
                  <a:gd name="T10" fmla="*/ 126 w 173"/>
                  <a:gd name="T11" fmla="*/ 53 h 172"/>
                  <a:gd name="T12" fmla="*/ 126 w 173"/>
                  <a:gd name="T13" fmla="*/ 37 h 172"/>
                  <a:gd name="T14" fmla="*/ 86 w 173"/>
                  <a:gd name="T15" fmla="*/ 0 h 172"/>
                  <a:gd name="T16" fmla="*/ 47 w 173"/>
                  <a:gd name="T17" fmla="*/ 37 h 172"/>
                  <a:gd name="T18" fmla="*/ 47 w 173"/>
                  <a:gd name="T19" fmla="*/ 53 h 172"/>
                  <a:gd name="T20" fmla="*/ 44 w 173"/>
                  <a:gd name="T21" fmla="*/ 63 h 172"/>
                  <a:gd name="T22" fmla="*/ 50 w 173"/>
                  <a:gd name="T23" fmla="*/ 77 h 172"/>
                  <a:gd name="T24" fmla="*/ 62 w 173"/>
                  <a:gd name="T25" fmla="*/ 99 h 172"/>
                  <a:gd name="T26" fmla="*/ 62 w 173"/>
                  <a:gd name="T27" fmla="*/ 104 h 172"/>
                  <a:gd name="T28" fmla="*/ 7 w 173"/>
                  <a:gd name="T29" fmla="*/ 131 h 172"/>
                  <a:gd name="T30" fmla="*/ 0 w 173"/>
                  <a:gd name="T31" fmla="*/ 141 h 172"/>
                  <a:gd name="T32" fmla="*/ 0 w 173"/>
                  <a:gd name="T33" fmla="*/ 162 h 172"/>
                  <a:gd name="T34" fmla="*/ 11 w 173"/>
                  <a:gd name="T35" fmla="*/ 172 h 172"/>
                  <a:gd name="T36" fmla="*/ 162 w 173"/>
                  <a:gd name="T37" fmla="*/ 172 h 172"/>
                  <a:gd name="T38" fmla="*/ 173 w 173"/>
                  <a:gd name="T39" fmla="*/ 162 h 172"/>
                  <a:gd name="T40" fmla="*/ 173 w 173"/>
                  <a:gd name="T41" fmla="*/ 141 h 172"/>
                  <a:gd name="T42" fmla="*/ 166 w 173"/>
                  <a:gd name="T43" fmla="*/ 131 h 172"/>
                  <a:gd name="T44" fmla="*/ 163 w 173"/>
                  <a:gd name="T45" fmla="*/ 162 h 172"/>
                  <a:gd name="T46" fmla="*/ 162 w 173"/>
                  <a:gd name="T47" fmla="*/ 163 h 172"/>
                  <a:gd name="T48" fmla="*/ 11 w 173"/>
                  <a:gd name="T49" fmla="*/ 163 h 172"/>
                  <a:gd name="T50" fmla="*/ 10 w 173"/>
                  <a:gd name="T51" fmla="*/ 162 h 172"/>
                  <a:gd name="T52" fmla="*/ 10 w 173"/>
                  <a:gd name="T53" fmla="*/ 141 h 172"/>
                  <a:gd name="T54" fmla="*/ 10 w 173"/>
                  <a:gd name="T55" fmla="*/ 140 h 172"/>
                  <a:gd name="T56" fmla="*/ 71 w 173"/>
                  <a:gd name="T57" fmla="*/ 106 h 172"/>
                  <a:gd name="T58" fmla="*/ 71 w 173"/>
                  <a:gd name="T59" fmla="*/ 105 h 172"/>
                  <a:gd name="T60" fmla="*/ 71 w 173"/>
                  <a:gd name="T61" fmla="*/ 97 h 172"/>
                  <a:gd name="T62" fmla="*/ 70 w 173"/>
                  <a:gd name="T63" fmla="*/ 93 h 172"/>
                  <a:gd name="T64" fmla="*/ 59 w 173"/>
                  <a:gd name="T65" fmla="*/ 73 h 172"/>
                  <a:gd name="T66" fmla="*/ 57 w 173"/>
                  <a:gd name="T67" fmla="*/ 70 h 172"/>
                  <a:gd name="T68" fmla="*/ 53 w 173"/>
                  <a:gd name="T69" fmla="*/ 63 h 172"/>
                  <a:gd name="T70" fmla="*/ 55 w 173"/>
                  <a:gd name="T71" fmla="*/ 58 h 172"/>
                  <a:gd name="T72" fmla="*/ 56 w 173"/>
                  <a:gd name="T73" fmla="*/ 55 h 172"/>
                  <a:gd name="T74" fmla="*/ 56 w 173"/>
                  <a:gd name="T75" fmla="*/ 37 h 172"/>
                  <a:gd name="T76" fmla="*/ 86 w 173"/>
                  <a:gd name="T77" fmla="*/ 9 h 172"/>
                  <a:gd name="T78" fmla="*/ 116 w 173"/>
                  <a:gd name="T79" fmla="*/ 37 h 172"/>
                  <a:gd name="T80" fmla="*/ 116 w 173"/>
                  <a:gd name="T81" fmla="*/ 55 h 172"/>
                  <a:gd name="T82" fmla="*/ 118 w 173"/>
                  <a:gd name="T83" fmla="*/ 58 h 172"/>
                  <a:gd name="T84" fmla="*/ 119 w 173"/>
                  <a:gd name="T85" fmla="*/ 63 h 172"/>
                  <a:gd name="T86" fmla="*/ 116 w 173"/>
                  <a:gd name="T87" fmla="*/ 70 h 172"/>
                  <a:gd name="T88" fmla="*/ 114 w 173"/>
                  <a:gd name="T89" fmla="*/ 73 h 172"/>
                  <a:gd name="T90" fmla="*/ 103 w 173"/>
                  <a:gd name="T91" fmla="*/ 93 h 172"/>
                  <a:gd name="T92" fmla="*/ 102 w 173"/>
                  <a:gd name="T93" fmla="*/ 97 h 172"/>
                  <a:gd name="T94" fmla="*/ 102 w 173"/>
                  <a:gd name="T95" fmla="*/ 105 h 172"/>
                  <a:gd name="T96" fmla="*/ 102 w 173"/>
                  <a:gd name="T97" fmla="*/ 106 h 172"/>
                  <a:gd name="T98" fmla="*/ 162 w 173"/>
                  <a:gd name="T99" fmla="*/ 140 h 172"/>
                  <a:gd name="T100" fmla="*/ 163 w 173"/>
                  <a:gd name="T101" fmla="*/ 141 h 172"/>
                  <a:gd name="T102" fmla="*/ 163 w 173"/>
                  <a:gd name="T103" fmla="*/ 16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3" h="172">
                    <a:moveTo>
                      <a:pt x="166" y="131"/>
                    </a:moveTo>
                    <a:cubicBezTo>
                      <a:pt x="121" y="114"/>
                      <a:pt x="113" y="106"/>
                      <a:pt x="111" y="104"/>
                    </a:cubicBezTo>
                    <a:cubicBezTo>
                      <a:pt x="111" y="99"/>
                      <a:pt x="111" y="99"/>
                      <a:pt x="111" y="99"/>
                    </a:cubicBezTo>
                    <a:cubicBezTo>
                      <a:pt x="116" y="93"/>
                      <a:pt x="120" y="86"/>
                      <a:pt x="123" y="77"/>
                    </a:cubicBezTo>
                    <a:cubicBezTo>
                      <a:pt x="127" y="74"/>
                      <a:pt x="129" y="69"/>
                      <a:pt x="129" y="63"/>
                    </a:cubicBezTo>
                    <a:cubicBezTo>
                      <a:pt x="129" y="60"/>
                      <a:pt x="128" y="56"/>
                      <a:pt x="126" y="53"/>
                    </a:cubicBezTo>
                    <a:cubicBezTo>
                      <a:pt x="126" y="37"/>
                      <a:pt x="126" y="37"/>
                      <a:pt x="126" y="37"/>
                    </a:cubicBezTo>
                    <a:cubicBezTo>
                      <a:pt x="126" y="13"/>
                      <a:pt x="112" y="0"/>
                      <a:pt x="86" y="0"/>
                    </a:cubicBezTo>
                    <a:cubicBezTo>
                      <a:pt x="62" y="0"/>
                      <a:pt x="47" y="14"/>
                      <a:pt x="47" y="37"/>
                    </a:cubicBezTo>
                    <a:cubicBezTo>
                      <a:pt x="47" y="53"/>
                      <a:pt x="47" y="53"/>
                      <a:pt x="47" y="53"/>
                    </a:cubicBezTo>
                    <a:cubicBezTo>
                      <a:pt x="45" y="56"/>
                      <a:pt x="44" y="60"/>
                      <a:pt x="44" y="63"/>
                    </a:cubicBezTo>
                    <a:cubicBezTo>
                      <a:pt x="44" y="69"/>
                      <a:pt x="46" y="74"/>
                      <a:pt x="50" y="77"/>
                    </a:cubicBezTo>
                    <a:cubicBezTo>
                      <a:pt x="53" y="86"/>
                      <a:pt x="57" y="93"/>
                      <a:pt x="62" y="99"/>
                    </a:cubicBezTo>
                    <a:cubicBezTo>
                      <a:pt x="62" y="104"/>
                      <a:pt x="62" y="104"/>
                      <a:pt x="62" y="104"/>
                    </a:cubicBezTo>
                    <a:cubicBezTo>
                      <a:pt x="60" y="106"/>
                      <a:pt x="52" y="114"/>
                      <a:pt x="7" y="131"/>
                    </a:cubicBezTo>
                    <a:cubicBezTo>
                      <a:pt x="3" y="133"/>
                      <a:pt x="0" y="137"/>
                      <a:pt x="0" y="141"/>
                    </a:cubicBezTo>
                    <a:cubicBezTo>
                      <a:pt x="0" y="162"/>
                      <a:pt x="0" y="162"/>
                      <a:pt x="0" y="162"/>
                    </a:cubicBezTo>
                    <a:cubicBezTo>
                      <a:pt x="0" y="168"/>
                      <a:pt x="5" y="172"/>
                      <a:pt x="11" y="172"/>
                    </a:cubicBezTo>
                    <a:cubicBezTo>
                      <a:pt x="162" y="172"/>
                      <a:pt x="162" y="172"/>
                      <a:pt x="162" y="172"/>
                    </a:cubicBezTo>
                    <a:cubicBezTo>
                      <a:pt x="168" y="172"/>
                      <a:pt x="173" y="168"/>
                      <a:pt x="173" y="162"/>
                    </a:cubicBezTo>
                    <a:cubicBezTo>
                      <a:pt x="173" y="141"/>
                      <a:pt x="173" y="141"/>
                      <a:pt x="173" y="141"/>
                    </a:cubicBezTo>
                    <a:cubicBezTo>
                      <a:pt x="173" y="137"/>
                      <a:pt x="170" y="133"/>
                      <a:pt x="166" y="131"/>
                    </a:cubicBezTo>
                    <a:close/>
                    <a:moveTo>
                      <a:pt x="163" y="162"/>
                    </a:moveTo>
                    <a:cubicBezTo>
                      <a:pt x="163" y="162"/>
                      <a:pt x="163" y="163"/>
                      <a:pt x="162" y="163"/>
                    </a:cubicBezTo>
                    <a:cubicBezTo>
                      <a:pt x="11" y="163"/>
                      <a:pt x="11" y="163"/>
                      <a:pt x="11" y="163"/>
                    </a:cubicBezTo>
                    <a:cubicBezTo>
                      <a:pt x="10" y="163"/>
                      <a:pt x="10" y="162"/>
                      <a:pt x="10" y="162"/>
                    </a:cubicBezTo>
                    <a:cubicBezTo>
                      <a:pt x="10" y="141"/>
                      <a:pt x="10" y="141"/>
                      <a:pt x="10" y="141"/>
                    </a:cubicBezTo>
                    <a:cubicBezTo>
                      <a:pt x="10" y="141"/>
                      <a:pt x="10" y="140"/>
                      <a:pt x="10" y="140"/>
                    </a:cubicBezTo>
                    <a:cubicBezTo>
                      <a:pt x="61" y="121"/>
                      <a:pt x="69" y="112"/>
                      <a:pt x="71" y="106"/>
                    </a:cubicBezTo>
                    <a:cubicBezTo>
                      <a:pt x="71" y="106"/>
                      <a:pt x="71" y="106"/>
                      <a:pt x="71" y="105"/>
                    </a:cubicBezTo>
                    <a:cubicBezTo>
                      <a:pt x="71" y="97"/>
                      <a:pt x="71" y="97"/>
                      <a:pt x="71" y="97"/>
                    </a:cubicBezTo>
                    <a:cubicBezTo>
                      <a:pt x="71" y="96"/>
                      <a:pt x="71" y="94"/>
                      <a:pt x="70" y="93"/>
                    </a:cubicBezTo>
                    <a:cubicBezTo>
                      <a:pt x="65" y="88"/>
                      <a:pt x="61" y="81"/>
                      <a:pt x="59" y="73"/>
                    </a:cubicBezTo>
                    <a:cubicBezTo>
                      <a:pt x="59" y="72"/>
                      <a:pt x="58" y="71"/>
                      <a:pt x="57" y="70"/>
                    </a:cubicBezTo>
                    <a:cubicBezTo>
                      <a:pt x="55" y="69"/>
                      <a:pt x="53" y="66"/>
                      <a:pt x="53" y="63"/>
                    </a:cubicBezTo>
                    <a:cubicBezTo>
                      <a:pt x="53" y="61"/>
                      <a:pt x="54" y="59"/>
                      <a:pt x="55" y="58"/>
                    </a:cubicBezTo>
                    <a:cubicBezTo>
                      <a:pt x="56" y="57"/>
                      <a:pt x="56" y="56"/>
                      <a:pt x="56" y="55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19"/>
                      <a:pt x="67" y="9"/>
                      <a:pt x="86" y="9"/>
                    </a:cubicBezTo>
                    <a:cubicBezTo>
                      <a:pt x="106" y="9"/>
                      <a:pt x="116" y="19"/>
                      <a:pt x="116" y="37"/>
                    </a:cubicBezTo>
                    <a:cubicBezTo>
                      <a:pt x="116" y="55"/>
                      <a:pt x="116" y="55"/>
                      <a:pt x="116" y="55"/>
                    </a:cubicBezTo>
                    <a:cubicBezTo>
                      <a:pt x="116" y="56"/>
                      <a:pt x="117" y="57"/>
                      <a:pt x="118" y="58"/>
                    </a:cubicBezTo>
                    <a:cubicBezTo>
                      <a:pt x="118" y="59"/>
                      <a:pt x="119" y="61"/>
                      <a:pt x="119" y="63"/>
                    </a:cubicBezTo>
                    <a:cubicBezTo>
                      <a:pt x="119" y="66"/>
                      <a:pt x="118" y="69"/>
                      <a:pt x="116" y="70"/>
                    </a:cubicBezTo>
                    <a:cubicBezTo>
                      <a:pt x="115" y="71"/>
                      <a:pt x="114" y="72"/>
                      <a:pt x="114" y="73"/>
                    </a:cubicBezTo>
                    <a:cubicBezTo>
                      <a:pt x="112" y="81"/>
                      <a:pt x="108" y="88"/>
                      <a:pt x="103" y="93"/>
                    </a:cubicBezTo>
                    <a:cubicBezTo>
                      <a:pt x="102" y="94"/>
                      <a:pt x="102" y="96"/>
                      <a:pt x="102" y="97"/>
                    </a:cubicBezTo>
                    <a:cubicBezTo>
                      <a:pt x="102" y="105"/>
                      <a:pt x="102" y="105"/>
                      <a:pt x="102" y="105"/>
                    </a:cubicBezTo>
                    <a:cubicBezTo>
                      <a:pt x="102" y="106"/>
                      <a:pt x="102" y="106"/>
                      <a:pt x="102" y="106"/>
                    </a:cubicBezTo>
                    <a:cubicBezTo>
                      <a:pt x="104" y="112"/>
                      <a:pt x="112" y="121"/>
                      <a:pt x="162" y="140"/>
                    </a:cubicBezTo>
                    <a:cubicBezTo>
                      <a:pt x="163" y="140"/>
                      <a:pt x="163" y="141"/>
                      <a:pt x="163" y="141"/>
                    </a:cubicBezTo>
                    <a:lnTo>
                      <a:pt x="163" y="162"/>
                    </a:lnTo>
                    <a:close/>
                  </a:path>
                </a:pathLst>
              </a:custGeom>
              <a:solidFill>
                <a:srgbClr val="002060"/>
              </a:solidFill>
              <a:ln>
                <a:solidFill>
                  <a:srgbClr val="002060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" name="Freeform 372"/>
              <p:cNvSpPr>
                <a:spLocks/>
              </p:cNvSpPr>
              <p:nvPr/>
            </p:nvSpPr>
            <p:spPr bwMode="auto">
              <a:xfrm>
                <a:off x="7932738" y="1062038"/>
                <a:ext cx="250825" cy="373063"/>
              </a:xfrm>
              <a:custGeom>
                <a:avLst/>
                <a:gdLst>
                  <a:gd name="T0" fmla="*/ 102 w 109"/>
                  <a:gd name="T1" fmla="*/ 123 h 162"/>
                  <a:gd name="T2" fmla="*/ 69 w 109"/>
                  <a:gd name="T3" fmla="*/ 115 h 162"/>
                  <a:gd name="T4" fmla="*/ 51 w 109"/>
                  <a:gd name="T5" fmla="*/ 110 h 162"/>
                  <a:gd name="T6" fmla="*/ 51 w 109"/>
                  <a:gd name="T7" fmla="*/ 105 h 162"/>
                  <a:gd name="T8" fmla="*/ 84 w 109"/>
                  <a:gd name="T9" fmla="*/ 96 h 162"/>
                  <a:gd name="T10" fmla="*/ 85 w 109"/>
                  <a:gd name="T11" fmla="*/ 92 h 162"/>
                  <a:gd name="T12" fmla="*/ 83 w 109"/>
                  <a:gd name="T13" fmla="*/ 89 h 162"/>
                  <a:gd name="T14" fmla="*/ 72 w 109"/>
                  <a:gd name="T15" fmla="*/ 47 h 162"/>
                  <a:gd name="T16" fmla="*/ 57 w 109"/>
                  <a:gd name="T17" fmla="*/ 12 h 162"/>
                  <a:gd name="T18" fmla="*/ 43 w 109"/>
                  <a:gd name="T19" fmla="*/ 3 h 162"/>
                  <a:gd name="T20" fmla="*/ 13 w 109"/>
                  <a:gd name="T21" fmla="*/ 4 h 162"/>
                  <a:gd name="T22" fmla="*/ 2 w 109"/>
                  <a:gd name="T23" fmla="*/ 9 h 162"/>
                  <a:gd name="T24" fmla="*/ 2 w 109"/>
                  <a:gd name="T25" fmla="*/ 16 h 162"/>
                  <a:gd name="T26" fmla="*/ 8 w 109"/>
                  <a:gd name="T27" fmla="*/ 17 h 162"/>
                  <a:gd name="T28" fmla="*/ 16 w 109"/>
                  <a:gd name="T29" fmla="*/ 13 h 162"/>
                  <a:gd name="T30" fmla="*/ 40 w 109"/>
                  <a:gd name="T31" fmla="*/ 12 h 162"/>
                  <a:gd name="T32" fmla="*/ 50 w 109"/>
                  <a:gd name="T33" fmla="*/ 19 h 162"/>
                  <a:gd name="T34" fmla="*/ 51 w 109"/>
                  <a:gd name="T35" fmla="*/ 19 h 162"/>
                  <a:gd name="T36" fmla="*/ 62 w 109"/>
                  <a:gd name="T37" fmla="*/ 47 h 162"/>
                  <a:gd name="T38" fmla="*/ 73 w 109"/>
                  <a:gd name="T39" fmla="*/ 91 h 162"/>
                  <a:gd name="T40" fmla="*/ 47 w 109"/>
                  <a:gd name="T41" fmla="*/ 96 h 162"/>
                  <a:gd name="T42" fmla="*/ 42 w 109"/>
                  <a:gd name="T43" fmla="*/ 101 h 162"/>
                  <a:gd name="T44" fmla="*/ 42 w 109"/>
                  <a:gd name="T45" fmla="*/ 112 h 162"/>
                  <a:gd name="T46" fmla="*/ 42 w 109"/>
                  <a:gd name="T47" fmla="*/ 113 h 162"/>
                  <a:gd name="T48" fmla="*/ 67 w 109"/>
                  <a:gd name="T49" fmla="*/ 124 h 162"/>
                  <a:gd name="T50" fmla="*/ 99 w 109"/>
                  <a:gd name="T51" fmla="*/ 132 h 162"/>
                  <a:gd name="T52" fmla="*/ 99 w 109"/>
                  <a:gd name="T53" fmla="*/ 133 h 162"/>
                  <a:gd name="T54" fmla="*/ 99 w 109"/>
                  <a:gd name="T55" fmla="*/ 152 h 162"/>
                  <a:gd name="T56" fmla="*/ 98 w 109"/>
                  <a:gd name="T57" fmla="*/ 153 h 162"/>
                  <a:gd name="T58" fmla="*/ 57 w 109"/>
                  <a:gd name="T59" fmla="*/ 153 h 162"/>
                  <a:gd name="T60" fmla="*/ 53 w 109"/>
                  <a:gd name="T61" fmla="*/ 158 h 162"/>
                  <a:gd name="T62" fmla="*/ 57 w 109"/>
                  <a:gd name="T63" fmla="*/ 162 h 162"/>
                  <a:gd name="T64" fmla="*/ 98 w 109"/>
                  <a:gd name="T65" fmla="*/ 162 h 162"/>
                  <a:gd name="T66" fmla="*/ 109 w 109"/>
                  <a:gd name="T67" fmla="*/ 152 h 162"/>
                  <a:gd name="T68" fmla="*/ 109 w 109"/>
                  <a:gd name="T69" fmla="*/ 133 h 162"/>
                  <a:gd name="T70" fmla="*/ 102 w 109"/>
                  <a:gd name="T71" fmla="*/ 123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9" h="162">
                    <a:moveTo>
                      <a:pt x="102" y="123"/>
                    </a:moveTo>
                    <a:cubicBezTo>
                      <a:pt x="91" y="119"/>
                      <a:pt x="79" y="117"/>
                      <a:pt x="69" y="115"/>
                    </a:cubicBezTo>
                    <a:cubicBezTo>
                      <a:pt x="62" y="114"/>
                      <a:pt x="53" y="112"/>
                      <a:pt x="51" y="110"/>
                    </a:cubicBezTo>
                    <a:cubicBezTo>
                      <a:pt x="51" y="105"/>
                      <a:pt x="51" y="105"/>
                      <a:pt x="51" y="105"/>
                    </a:cubicBezTo>
                    <a:cubicBezTo>
                      <a:pt x="74" y="104"/>
                      <a:pt x="83" y="97"/>
                      <a:pt x="84" y="96"/>
                    </a:cubicBezTo>
                    <a:cubicBezTo>
                      <a:pt x="85" y="95"/>
                      <a:pt x="86" y="94"/>
                      <a:pt x="85" y="92"/>
                    </a:cubicBezTo>
                    <a:cubicBezTo>
                      <a:pt x="85" y="91"/>
                      <a:pt x="84" y="89"/>
                      <a:pt x="83" y="89"/>
                    </a:cubicBezTo>
                    <a:cubicBezTo>
                      <a:pt x="78" y="86"/>
                      <a:pt x="73" y="65"/>
                      <a:pt x="72" y="47"/>
                    </a:cubicBezTo>
                    <a:cubicBezTo>
                      <a:pt x="72" y="34"/>
                      <a:pt x="67" y="21"/>
                      <a:pt x="57" y="12"/>
                    </a:cubicBezTo>
                    <a:cubicBezTo>
                      <a:pt x="54" y="8"/>
                      <a:pt x="49" y="5"/>
                      <a:pt x="43" y="3"/>
                    </a:cubicBezTo>
                    <a:cubicBezTo>
                      <a:pt x="33" y="0"/>
                      <a:pt x="22" y="0"/>
                      <a:pt x="13" y="4"/>
                    </a:cubicBezTo>
                    <a:cubicBezTo>
                      <a:pt x="9" y="5"/>
                      <a:pt x="5" y="7"/>
                      <a:pt x="2" y="9"/>
                    </a:cubicBezTo>
                    <a:cubicBezTo>
                      <a:pt x="0" y="11"/>
                      <a:pt x="0" y="14"/>
                      <a:pt x="2" y="16"/>
                    </a:cubicBezTo>
                    <a:cubicBezTo>
                      <a:pt x="3" y="18"/>
                      <a:pt x="6" y="18"/>
                      <a:pt x="8" y="17"/>
                    </a:cubicBezTo>
                    <a:cubicBezTo>
                      <a:pt x="10" y="15"/>
                      <a:pt x="13" y="14"/>
                      <a:pt x="16" y="13"/>
                    </a:cubicBezTo>
                    <a:cubicBezTo>
                      <a:pt x="24" y="10"/>
                      <a:pt x="31" y="9"/>
                      <a:pt x="40" y="12"/>
                    </a:cubicBezTo>
                    <a:cubicBezTo>
                      <a:pt x="44" y="14"/>
                      <a:pt x="48" y="16"/>
                      <a:pt x="50" y="19"/>
                    </a:cubicBezTo>
                    <a:cubicBezTo>
                      <a:pt x="50" y="19"/>
                      <a:pt x="50" y="19"/>
                      <a:pt x="51" y="19"/>
                    </a:cubicBezTo>
                    <a:cubicBezTo>
                      <a:pt x="58" y="26"/>
                      <a:pt x="62" y="36"/>
                      <a:pt x="62" y="47"/>
                    </a:cubicBezTo>
                    <a:cubicBezTo>
                      <a:pt x="63" y="55"/>
                      <a:pt x="66" y="80"/>
                      <a:pt x="73" y="91"/>
                    </a:cubicBezTo>
                    <a:cubicBezTo>
                      <a:pt x="68" y="93"/>
                      <a:pt x="60" y="96"/>
                      <a:pt x="47" y="96"/>
                    </a:cubicBezTo>
                    <a:cubicBezTo>
                      <a:pt x="44" y="96"/>
                      <a:pt x="42" y="98"/>
                      <a:pt x="42" y="101"/>
                    </a:cubicBezTo>
                    <a:cubicBezTo>
                      <a:pt x="42" y="112"/>
                      <a:pt x="42" y="112"/>
                      <a:pt x="42" y="112"/>
                    </a:cubicBezTo>
                    <a:cubicBezTo>
                      <a:pt x="42" y="112"/>
                      <a:pt x="42" y="113"/>
                      <a:pt x="42" y="113"/>
                    </a:cubicBezTo>
                    <a:cubicBezTo>
                      <a:pt x="44" y="120"/>
                      <a:pt x="53" y="122"/>
                      <a:pt x="67" y="124"/>
                    </a:cubicBezTo>
                    <a:cubicBezTo>
                      <a:pt x="76" y="126"/>
                      <a:pt x="88" y="128"/>
                      <a:pt x="99" y="132"/>
                    </a:cubicBezTo>
                    <a:cubicBezTo>
                      <a:pt x="99" y="132"/>
                      <a:pt x="99" y="133"/>
                      <a:pt x="99" y="133"/>
                    </a:cubicBezTo>
                    <a:cubicBezTo>
                      <a:pt x="99" y="152"/>
                      <a:pt x="99" y="152"/>
                      <a:pt x="99" y="152"/>
                    </a:cubicBezTo>
                    <a:cubicBezTo>
                      <a:pt x="99" y="152"/>
                      <a:pt x="99" y="153"/>
                      <a:pt x="98" y="153"/>
                    </a:cubicBezTo>
                    <a:cubicBezTo>
                      <a:pt x="57" y="153"/>
                      <a:pt x="57" y="153"/>
                      <a:pt x="57" y="153"/>
                    </a:cubicBezTo>
                    <a:cubicBezTo>
                      <a:pt x="55" y="153"/>
                      <a:pt x="53" y="155"/>
                      <a:pt x="53" y="158"/>
                    </a:cubicBezTo>
                    <a:cubicBezTo>
                      <a:pt x="53" y="160"/>
                      <a:pt x="55" y="162"/>
                      <a:pt x="57" y="162"/>
                    </a:cubicBezTo>
                    <a:cubicBezTo>
                      <a:pt x="98" y="162"/>
                      <a:pt x="98" y="162"/>
                      <a:pt x="98" y="162"/>
                    </a:cubicBezTo>
                    <a:cubicBezTo>
                      <a:pt x="104" y="162"/>
                      <a:pt x="109" y="158"/>
                      <a:pt x="109" y="152"/>
                    </a:cubicBezTo>
                    <a:cubicBezTo>
                      <a:pt x="109" y="133"/>
                      <a:pt x="109" y="133"/>
                      <a:pt x="109" y="133"/>
                    </a:cubicBezTo>
                    <a:cubicBezTo>
                      <a:pt x="109" y="129"/>
                      <a:pt x="106" y="125"/>
                      <a:pt x="102" y="123"/>
                    </a:cubicBezTo>
                    <a:close/>
                  </a:path>
                </a:pathLst>
              </a:custGeom>
              <a:solidFill>
                <a:srgbClr val="002060"/>
              </a:solidFill>
              <a:ln>
                <a:solidFill>
                  <a:srgbClr val="002060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139" name="Freeform 571"/>
            <p:cNvSpPr>
              <a:spLocks noEditPoints="1"/>
            </p:cNvSpPr>
            <p:nvPr/>
          </p:nvSpPr>
          <p:spPr bwMode="auto">
            <a:xfrm>
              <a:off x="1683107" y="1117041"/>
              <a:ext cx="648000" cy="64800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solidFill>
              <a:srgbClr val="002060"/>
            </a:solidFill>
            <a:ln>
              <a:solidFill>
                <a:srgbClr val="002060"/>
              </a:solidFill>
            </a:ln>
            <a:extLst/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9" name="Rectangle 18"/>
          <p:cNvSpPr/>
          <p:nvPr/>
        </p:nvSpPr>
        <p:spPr>
          <a:xfrm>
            <a:off x="1183958" y="897579"/>
            <a:ext cx="164019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dirty="0">
                <a:solidFill>
                  <a:prstClr val="white"/>
                </a:solidFill>
                <a:latin typeface="Arial Black" panose="020B0A04020102020204" pitchFamily="34" charset="0"/>
              </a:rPr>
              <a:t> </a:t>
            </a:r>
            <a:r>
              <a:rPr lang="it-IT" sz="2000" dirty="0">
                <a:solidFill>
                  <a:srgbClr val="002060"/>
                </a:solidFill>
                <a:latin typeface="Arial Black" panose="020B0A04020102020204" pitchFamily="34" charset="0"/>
              </a:rPr>
              <a:t>Consumer</a:t>
            </a:r>
            <a:endParaRPr lang="en-US" sz="2000" dirty="0">
              <a:solidFill>
                <a:srgbClr val="002060"/>
              </a:solidFill>
            </a:endParaRPr>
          </a:p>
        </p:txBody>
      </p:sp>
      <p:sp>
        <p:nvSpPr>
          <p:cNvPr id="164" name="Rectangle 4"/>
          <p:cNvSpPr>
            <a:spLocks noChangeArrowheads="1"/>
          </p:cNvSpPr>
          <p:nvPr/>
        </p:nvSpPr>
        <p:spPr bwMode="auto">
          <a:xfrm>
            <a:off x="1235895" y="129762"/>
            <a:ext cx="832561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it-IT" altLang="it-IT" sz="28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Scenario dematerializzazione TO-BE</a:t>
            </a:r>
            <a:endParaRPr lang="it-IT" altLang="it-IT" sz="1200" b="1" dirty="0">
              <a:solidFill>
                <a:srgbClr val="0066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982549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42</a:t>
            </a:fld>
            <a:endParaRPr lang="it-IT" altLang="it-IT" dirty="0"/>
          </a:p>
        </p:txBody>
      </p:sp>
      <p:sp>
        <p:nvSpPr>
          <p:cNvPr id="58" name="Rectangle 4"/>
          <p:cNvSpPr>
            <a:spLocks noChangeArrowheads="1"/>
          </p:cNvSpPr>
          <p:nvPr/>
        </p:nvSpPr>
        <p:spPr bwMode="auto">
          <a:xfrm>
            <a:off x="1235895" y="131817"/>
            <a:ext cx="8325617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it-IT" altLang="it-IT" sz="28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Focus Fattura </a:t>
            </a:r>
            <a:r>
              <a:rPr lang="it-IT" altLang="it-IT" sz="2800" b="1" dirty="0">
                <a:solidFill>
                  <a:schemeClr val="bg1"/>
                </a:solidFill>
                <a:latin typeface="Calibri" panose="020F0502020204030204" pitchFamily="34" charset="0"/>
              </a:rPr>
              <a:t>E</a:t>
            </a:r>
            <a:r>
              <a:rPr lang="it-IT" altLang="it-IT" sz="28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lettronica (1/2)</a:t>
            </a:r>
            <a:endParaRPr lang="it-IT" altLang="it-IT" sz="1600" b="1" dirty="0">
              <a:solidFill>
                <a:srgbClr val="006600"/>
              </a:solidFill>
              <a:latin typeface="Calibri" panose="020F050202020403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981199" y="1933222"/>
            <a:ext cx="77390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l Sistema di Interscambio effettua i 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olli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i file e, in caso di mancato superamento, viene ricevuta dal mittente, entro 5 giorni, una 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cevuta di scarto </a:t>
            </a:r>
            <a:endParaRPr lang="en-US" sz="1800" dirty="0"/>
          </a:p>
        </p:txBody>
      </p:sp>
      <p:sp>
        <p:nvSpPr>
          <p:cNvPr id="7" name="Rectangle 6"/>
          <p:cNvSpPr/>
          <p:nvPr/>
        </p:nvSpPr>
        <p:spPr>
          <a:xfrm>
            <a:off x="1981197" y="3216012"/>
            <a:ext cx="64924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l caso di privati, </a:t>
            </a:r>
            <a:r>
              <a:rPr lang="it-IT" sz="1800" dirty="0" err="1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dI</a:t>
            </a:r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cetta anche file 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 firmati </a:t>
            </a:r>
            <a:r>
              <a:rPr lang="it-IT" sz="1800" b="1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gitalmente</a:t>
            </a:r>
            <a:endParaRPr lang="en-US" sz="1800" dirty="0"/>
          </a:p>
        </p:txBody>
      </p:sp>
      <p:sp>
        <p:nvSpPr>
          <p:cNvPr id="8" name="Rectangle 7"/>
          <p:cNvSpPr/>
          <p:nvPr/>
        </p:nvSpPr>
        <p:spPr>
          <a:xfrm>
            <a:off x="1981199" y="4054287"/>
            <a:ext cx="773906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 </a:t>
            </a:r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tture elettroniche 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ngono inoltrate da </a:t>
            </a:r>
            <a:r>
              <a:rPr lang="it-IT" sz="1800" dirty="0" err="1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dI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ramite il canale scelto e, nel caso del consumatore finale, la </a:t>
            </a:r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ttura elettronica 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ene recapitata attraverso l'apposita 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ea web riservata </a:t>
            </a:r>
            <a:r>
              <a:rPr lang="it-IT" sz="1800" dirty="0" err="1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ll'AdE</a:t>
            </a:r>
            <a:endParaRPr lang="en-US" sz="1800" dirty="0"/>
          </a:p>
        </p:txBody>
      </p:sp>
      <p:sp>
        <p:nvSpPr>
          <p:cNvPr id="9" name="Rectangle 8"/>
          <p:cNvSpPr/>
          <p:nvPr/>
        </p:nvSpPr>
        <p:spPr>
          <a:xfrm>
            <a:off x="1981197" y="5309576"/>
            <a:ext cx="77390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l caso in cui </a:t>
            </a:r>
            <a:r>
              <a:rPr lang="it-IT" sz="1800" dirty="0" err="1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dI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 riesca a consegnare 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 </a:t>
            </a:r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ttura elettronica 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 </a:t>
            </a:r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cevente, 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l file della </a:t>
            </a:r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ttura elettronica 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ene messo a disposizione nell’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ea riservata</a:t>
            </a:r>
            <a:endParaRPr lang="en-US" sz="1800" dirty="0"/>
          </a:p>
        </p:txBody>
      </p:sp>
      <p:sp>
        <p:nvSpPr>
          <p:cNvPr id="100" name="TextBox 99"/>
          <p:cNvSpPr txBox="1"/>
          <p:nvPr/>
        </p:nvSpPr>
        <p:spPr>
          <a:xfrm>
            <a:off x="927795" y="1832135"/>
            <a:ext cx="900000" cy="90000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it-IT"/>
            </a:defPPr>
            <a:lvl1pPr>
              <a:defRPr sz="1200">
                <a:latin typeface="Calibri" panose="020F0502020204030204" pitchFamily="34" charset="0"/>
              </a:defRPr>
            </a:lvl1pPr>
          </a:lstStyle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</p:txBody>
      </p:sp>
      <p:sp>
        <p:nvSpPr>
          <p:cNvPr id="109" name="Freeform 132"/>
          <p:cNvSpPr>
            <a:spLocks noChangeAspect="1" noEditPoints="1"/>
          </p:cNvSpPr>
          <p:nvPr/>
        </p:nvSpPr>
        <p:spPr bwMode="auto">
          <a:xfrm>
            <a:off x="1107795" y="2012135"/>
            <a:ext cx="540000" cy="540000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81 w 512"/>
              <a:gd name="T11" fmla="*/ 365 h 512"/>
              <a:gd name="T12" fmla="*/ 381 w 512"/>
              <a:gd name="T13" fmla="*/ 381 h 512"/>
              <a:gd name="T14" fmla="*/ 373 w 512"/>
              <a:gd name="T15" fmla="*/ 384 h 512"/>
              <a:gd name="T16" fmla="*/ 365 w 512"/>
              <a:gd name="T17" fmla="*/ 381 h 512"/>
              <a:gd name="T18" fmla="*/ 256 w 512"/>
              <a:gd name="T19" fmla="*/ 271 h 512"/>
              <a:gd name="T20" fmla="*/ 146 w 512"/>
              <a:gd name="T21" fmla="*/ 381 h 512"/>
              <a:gd name="T22" fmla="*/ 138 w 512"/>
              <a:gd name="T23" fmla="*/ 384 h 512"/>
              <a:gd name="T24" fmla="*/ 131 w 512"/>
              <a:gd name="T25" fmla="*/ 381 h 512"/>
              <a:gd name="T26" fmla="*/ 131 w 512"/>
              <a:gd name="T27" fmla="*/ 365 h 512"/>
              <a:gd name="T28" fmla="*/ 241 w 512"/>
              <a:gd name="T29" fmla="*/ 256 h 512"/>
              <a:gd name="T30" fmla="*/ 131 w 512"/>
              <a:gd name="T31" fmla="*/ 146 h 512"/>
              <a:gd name="T32" fmla="*/ 131 w 512"/>
              <a:gd name="T33" fmla="*/ 131 h 512"/>
              <a:gd name="T34" fmla="*/ 146 w 512"/>
              <a:gd name="T35" fmla="*/ 131 h 512"/>
              <a:gd name="T36" fmla="*/ 256 w 512"/>
              <a:gd name="T37" fmla="*/ 241 h 512"/>
              <a:gd name="T38" fmla="*/ 365 w 512"/>
              <a:gd name="T39" fmla="*/ 131 h 512"/>
              <a:gd name="T40" fmla="*/ 381 w 512"/>
              <a:gd name="T41" fmla="*/ 131 h 512"/>
              <a:gd name="T42" fmla="*/ 381 w 512"/>
              <a:gd name="T43" fmla="*/ 146 h 512"/>
              <a:gd name="T44" fmla="*/ 271 w 512"/>
              <a:gd name="T45" fmla="*/ 256 h 512"/>
              <a:gd name="T46" fmla="*/ 381 w 512"/>
              <a:gd name="T47" fmla="*/ 365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81" y="365"/>
                </a:moveTo>
                <a:cubicBezTo>
                  <a:pt x="385" y="370"/>
                  <a:pt x="385" y="376"/>
                  <a:pt x="381" y="381"/>
                </a:cubicBezTo>
                <a:cubicBezTo>
                  <a:pt x="378" y="383"/>
                  <a:pt x="376" y="384"/>
                  <a:pt x="373" y="384"/>
                </a:cubicBezTo>
                <a:cubicBezTo>
                  <a:pt x="370" y="384"/>
                  <a:pt x="368" y="383"/>
                  <a:pt x="365" y="381"/>
                </a:cubicBezTo>
                <a:cubicBezTo>
                  <a:pt x="256" y="271"/>
                  <a:pt x="256" y="271"/>
                  <a:pt x="256" y="271"/>
                </a:cubicBezTo>
                <a:cubicBezTo>
                  <a:pt x="146" y="381"/>
                  <a:pt x="146" y="381"/>
                  <a:pt x="146" y="381"/>
                </a:cubicBezTo>
                <a:cubicBezTo>
                  <a:pt x="144" y="383"/>
                  <a:pt x="141" y="384"/>
                  <a:pt x="138" y="384"/>
                </a:cubicBezTo>
                <a:cubicBezTo>
                  <a:pt x="136" y="384"/>
                  <a:pt x="133" y="383"/>
                  <a:pt x="131" y="381"/>
                </a:cubicBezTo>
                <a:cubicBezTo>
                  <a:pt x="127" y="376"/>
                  <a:pt x="127" y="370"/>
                  <a:pt x="131" y="365"/>
                </a:cubicBezTo>
                <a:cubicBezTo>
                  <a:pt x="241" y="256"/>
                  <a:pt x="241" y="256"/>
                  <a:pt x="241" y="256"/>
                </a:cubicBezTo>
                <a:cubicBezTo>
                  <a:pt x="131" y="146"/>
                  <a:pt x="131" y="146"/>
                  <a:pt x="131" y="146"/>
                </a:cubicBezTo>
                <a:cubicBezTo>
                  <a:pt x="127" y="142"/>
                  <a:pt x="127" y="135"/>
                  <a:pt x="131" y="131"/>
                </a:cubicBezTo>
                <a:cubicBezTo>
                  <a:pt x="135" y="127"/>
                  <a:pt x="142" y="127"/>
                  <a:pt x="146" y="131"/>
                </a:cubicBezTo>
                <a:cubicBezTo>
                  <a:pt x="256" y="241"/>
                  <a:pt x="256" y="241"/>
                  <a:pt x="256" y="241"/>
                </a:cubicBezTo>
                <a:cubicBezTo>
                  <a:pt x="365" y="131"/>
                  <a:pt x="365" y="131"/>
                  <a:pt x="365" y="131"/>
                </a:cubicBezTo>
                <a:cubicBezTo>
                  <a:pt x="370" y="127"/>
                  <a:pt x="376" y="127"/>
                  <a:pt x="381" y="131"/>
                </a:cubicBezTo>
                <a:cubicBezTo>
                  <a:pt x="385" y="135"/>
                  <a:pt x="385" y="142"/>
                  <a:pt x="381" y="146"/>
                </a:cubicBezTo>
                <a:cubicBezTo>
                  <a:pt x="271" y="256"/>
                  <a:pt x="271" y="256"/>
                  <a:pt x="271" y="256"/>
                </a:cubicBezTo>
                <a:lnTo>
                  <a:pt x="381" y="365"/>
                </a:lnTo>
                <a:close/>
              </a:path>
            </a:pathLst>
          </a:custGeom>
          <a:solidFill>
            <a:srgbClr val="C00000"/>
          </a:solidFill>
          <a:ln>
            <a:solidFill>
              <a:srgbClr val="C00000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" name="Group 2"/>
          <p:cNvGrpSpPr/>
          <p:nvPr/>
        </p:nvGrpSpPr>
        <p:grpSpPr>
          <a:xfrm>
            <a:off x="927795" y="2950678"/>
            <a:ext cx="900000" cy="900000"/>
            <a:chOff x="927795" y="2941153"/>
            <a:chExt cx="900000" cy="900000"/>
          </a:xfrm>
        </p:grpSpPr>
        <p:sp>
          <p:nvSpPr>
            <p:cNvPr id="101" name="TextBox 100"/>
            <p:cNvSpPr txBox="1"/>
            <p:nvPr/>
          </p:nvSpPr>
          <p:spPr>
            <a:xfrm>
              <a:off x="927795" y="2941153"/>
              <a:ext cx="900000" cy="900000"/>
            </a:xfrm>
            <a:prstGeom prst="roundRect">
              <a:avLst/>
            </a:prstGeom>
            <a:noFill/>
            <a:ln>
              <a:solidFill>
                <a:srgbClr val="FFC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>
              <a:defPPr>
                <a:defRPr lang="it-IT"/>
              </a:defPPr>
              <a:lvl1pPr>
                <a:defRPr sz="1200">
                  <a:latin typeface="Calibri" panose="020F0502020204030204" pitchFamily="34" charset="0"/>
                </a:defRPr>
              </a:lvl1pPr>
            </a:lstStyle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</p:txBody>
        </p:sp>
        <p:grpSp>
          <p:nvGrpSpPr>
            <p:cNvPr id="110" name="Group 331"/>
            <p:cNvGrpSpPr>
              <a:grpSpLocks noChangeAspect="1"/>
            </p:cNvGrpSpPr>
            <p:nvPr/>
          </p:nvGrpSpPr>
          <p:grpSpPr bwMode="auto">
            <a:xfrm>
              <a:off x="1107795" y="3121153"/>
              <a:ext cx="540000" cy="540000"/>
              <a:chOff x="3832" y="1197"/>
              <a:chExt cx="340" cy="340"/>
            </a:xfrm>
            <a:solidFill>
              <a:srgbClr val="FFC000"/>
            </a:solidFill>
          </p:grpSpPr>
          <p:sp>
            <p:nvSpPr>
              <p:cNvPr id="111" name="Freeform 332"/>
              <p:cNvSpPr>
                <a:spLocks noEditPoints="1"/>
              </p:cNvSpPr>
              <p:nvPr/>
            </p:nvSpPr>
            <p:spPr bwMode="auto">
              <a:xfrm>
                <a:off x="3832" y="1197"/>
                <a:ext cx="340" cy="340"/>
              </a:xfrm>
              <a:custGeom>
                <a:avLst/>
                <a:gdLst>
                  <a:gd name="T0" fmla="*/ 337 w 512"/>
                  <a:gd name="T1" fmla="*/ 171 h 512"/>
                  <a:gd name="T2" fmla="*/ 299 w 512"/>
                  <a:gd name="T3" fmla="*/ 171 h 512"/>
                  <a:gd name="T4" fmla="*/ 299 w 512"/>
                  <a:gd name="T5" fmla="*/ 133 h 512"/>
                  <a:gd name="T6" fmla="*/ 337 w 512"/>
                  <a:gd name="T7" fmla="*/ 171 h 512"/>
                  <a:gd name="T8" fmla="*/ 288 w 512"/>
                  <a:gd name="T9" fmla="*/ 192 h 512"/>
                  <a:gd name="T10" fmla="*/ 352 w 512"/>
                  <a:gd name="T11" fmla="*/ 192 h 512"/>
                  <a:gd name="T12" fmla="*/ 352 w 512"/>
                  <a:gd name="T13" fmla="*/ 395 h 512"/>
                  <a:gd name="T14" fmla="*/ 160 w 512"/>
                  <a:gd name="T15" fmla="*/ 395 h 512"/>
                  <a:gd name="T16" fmla="*/ 160 w 512"/>
                  <a:gd name="T17" fmla="*/ 118 h 512"/>
                  <a:gd name="T18" fmla="*/ 277 w 512"/>
                  <a:gd name="T19" fmla="*/ 118 h 512"/>
                  <a:gd name="T20" fmla="*/ 277 w 512"/>
                  <a:gd name="T21" fmla="*/ 182 h 512"/>
                  <a:gd name="T22" fmla="*/ 288 w 512"/>
                  <a:gd name="T23" fmla="*/ 192 h 512"/>
                  <a:gd name="T24" fmla="*/ 331 w 512"/>
                  <a:gd name="T25" fmla="*/ 363 h 512"/>
                  <a:gd name="T26" fmla="*/ 320 w 512"/>
                  <a:gd name="T27" fmla="*/ 352 h 512"/>
                  <a:gd name="T28" fmla="*/ 192 w 512"/>
                  <a:gd name="T29" fmla="*/ 352 h 512"/>
                  <a:gd name="T30" fmla="*/ 181 w 512"/>
                  <a:gd name="T31" fmla="*/ 363 h 512"/>
                  <a:gd name="T32" fmla="*/ 192 w 512"/>
                  <a:gd name="T33" fmla="*/ 374 h 512"/>
                  <a:gd name="T34" fmla="*/ 320 w 512"/>
                  <a:gd name="T35" fmla="*/ 374 h 512"/>
                  <a:gd name="T36" fmla="*/ 331 w 512"/>
                  <a:gd name="T37" fmla="*/ 363 h 512"/>
                  <a:gd name="T38" fmla="*/ 331 w 512"/>
                  <a:gd name="T39" fmla="*/ 320 h 512"/>
                  <a:gd name="T40" fmla="*/ 320 w 512"/>
                  <a:gd name="T41" fmla="*/ 310 h 512"/>
                  <a:gd name="T42" fmla="*/ 192 w 512"/>
                  <a:gd name="T43" fmla="*/ 310 h 512"/>
                  <a:gd name="T44" fmla="*/ 181 w 512"/>
                  <a:gd name="T45" fmla="*/ 320 h 512"/>
                  <a:gd name="T46" fmla="*/ 192 w 512"/>
                  <a:gd name="T47" fmla="*/ 331 h 512"/>
                  <a:gd name="T48" fmla="*/ 320 w 512"/>
                  <a:gd name="T49" fmla="*/ 331 h 512"/>
                  <a:gd name="T50" fmla="*/ 331 w 512"/>
                  <a:gd name="T51" fmla="*/ 320 h 512"/>
                  <a:gd name="T52" fmla="*/ 331 w 512"/>
                  <a:gd name="T53" fmla="*/ 278 h 512"/>
                  <a:gd name="T54" fmla="*/ 320 w 512"/>
                  <a:gd name="T55" fmla="*/ 267 h 512"/>
                  <a:gd name="T56" fmla="*/ 192 w 512"/>
                  <a:gd name="T57" fmla="*/ 267 h 512"/>
                  <a:gd name="T58" fmla="*/ 181 w 512"/>
                  <a:gd name="T59" fmla="*/ 278 h 512"/>
                  <a:gd name="T60" fmla="*/ 192 w 512"/>
                  <a:gd name="T61" fmla="*/ 288 h 512"/>
                  <a:gd name="T62" fmla="*/ 320 w 512"/>
                  <a:gd name="T63" fmla="*/ 288 h 512"/>
                  <a:gd name="T64" fmla="*/ 331 w 512"/>
                  <a:gd name="T65" fmla="*/ 278 h 512"/>
                  <a:gd name="T66" fmla="*/ 320 w 512"/>
                  <a:gd name="T67" fmla="*/ 224 h 512"/>
                  <a:gd name="T68" fmla="*/ 192 w 512"/>
                  <a:gd name="T69" fmla="*/ 224 h 512"/>
                  <a:gd name="T70" fmla="*/ 181 w 512"/>
                  <a:gd name="T71" fmla="*/ 235 h 512"/>
                  <a:gd name="T72" fmla="*/ 192 w 512"/>
                  <a:gd name="T73" fmla="*/ 246 h 512"/>
                  <a:gd name="T74" fmla="*/ 320 w 512"/>
                  <a:gd name="T75" fmla="*/ 246 h 512"/>
                  <a:gd name="T76" fmla="*/ 331 w 512"/>
                  <a:gd name="T77" fmla="*/ 235 h 512"/>
                  <a:gd name="T78" fmla="*/ 320 w 512"/>
                  <a:gd name="T79" fmla="*/ 224 h 512"/>
                  <a:gd name="T80" fmla="*/ 512 w 512"/>
                  <a:gd name="T81" fmla="*/ 256 h 512"/>
                  <a:gd name="T82" fmla="*/ 256 w 512"/>
                  <a:gd name="T83" fmla="*/ 512 h 512"/>
                  <a:gd name="T84" fmla="*/ 0 w 512"/>
                  <a:gd name="T85" fmla="*/ 256 h 512"/>
                  <a:gd name="T86" fmla="*/ 256 w 512"/>
                  <a:gd name="T87" fmla="*/ 0 h 512"/>
                  <a:gd name="T88" fmla="*/ 512 w 512"/>
                  <a:gd name="T89" fmla="*/ 256 h 512"/>
                  <a:gd name="T90" fmla="*/ 373 w 512"/>
                  <a:gd name="T91" fmla="*/ 182 h 512"/>
                  <a:gd name="T92" fmla="*/ 373 w 512"/>
                  <a:gd name="T93" fmla="*/ 178 h 512"/>
                  <a:gd name="T94" fmla="*/ 370 w 512"/>
                  <a:gd name="T95" fmla="*/ 174 h 512"/>
                  <a:gd name="T96" fmla="*/ 296 w 512"/>
                  <a:gd name="T97" fmla="*/ 99 h 512"/>
                  <a:gd name="T98" fmla="*/ 292 w 512"/>
                  <a:gd name="T99" fmla="*/ 97 h 512"/>
                  <a:gd name="T100" fmla="*/ 288 w 512"/>
                  <a:gd name="T101" fmla="*/ 96 h 512"/>
                  <a:gd name="T102" fmla="*/ 149 w 512"/>
                  <a:gd name="T103" fmla="*/ 96 h 512"/>
                  <a:gd name="T104" fmla="*/ 139 w 512"/>
                  <a:gd name="T105" fmla="*/ 107 h 512"/>
                  <a:gd name="T106" fmla="*/ 139 w 512"/>
                  <a:gd name="T107" fmla="*/ 406 h 512"/>
                  <a:gd name="T108" fmla="*/ 149 w 512"/>
                  <a:gd name="T109" fmla="*/ 416 h 512"/>
                  <a:gd name="T110" fmla="*/ 363 w 512"/>
                  <a:gd name="T111" fmla="*/ 416 h 512"/>
                  <a:gd name="T112" fmla="*/ 373 w 512"/>
                  <a:gd name="T113" fmla="*/ 406 h 512"/>
                  <a:gd name="T114" fmla="*/ 373 w 512"/>
                  <a:gd name="T115" fmla="*/ 182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512">
                    <a:moveTo>
                      <a:pt x="337" y="171"/>
                    </a:moveTo>
                    <a:cubicBezTo>
                      <a:pt x="299" y="171"/>
                      <a:pt x="299" y="171"/>
                      <a:pt x="299" y="171"/>
                    </a:cubicBezTo>
                    <a:cubicBezTo>
                      <a:pt x="299" y="133"/>
                      <a:pt x="299" y="133"/>
                      <a:pt x="299" y="133"/>
                    </a:cubicBezTo>
                    <a:lnTo>
                      <a:pt x="337" y="171"/>
                    </a:lnTo>
                    <a:close/>
                    <a:moveTo>
                      <a:pt x="288" y="192"/>
                    </a:moveTo>
                    <a:cubicBezTo>
                      <a:pt x="352" y="192"/>
                      <a:pt x="352" y="192"/>
                      <a:pt x="352" y="192"/>
                    </a:cubicBezTo>
                    <a:cubicBezTo>
                      <a:pt x="352" y="395"/>
                      <a:pt x="352" y="395"/>
                      <a:pt x="352" y="395"/>
                    </a:cubicBezTo>
                    <a:cubicBezTo>
                      <a:pt x="160" y="395"/>
                      <a:pt x="160" y="395"/>
                      <a:pt x="160" y="395"/>
                    </a:cubicBezTo>
                    <a:cubicBezTo>
                      <a:pt x="160" y="118"/>
                      <a:pt x="160" y="118"/>
                      <a:pt x="160" y="118"/>
                    </a:cubicBezTo>
                    <a:cubicBezTo>
                      <a:pt x="277" y="118"/>
                      <a:pt x="277" y="118"/>
                      <a:pt x="277" y="118"/>
                    </a:cubicBezTo>
                    <a:cubicBezTo>
                      <a:pt x="277" y="182"/>
                      <a:pt x="277" y="182"/>
                      <a:pt x="277" y="182"/>
                    </a:cubicBezTo>
                    <a:cubicBezTo>
                      <a:pt x="277" y="188"/>
                      <a:pt x="282" y="192"/>
                      <a:pt x="288" y="192"/>
                    </a:cubicBezTo>
                    <a:close/>
                    <a:moveTo>
                      <a:pt x="331" y="363"/>
                    </a:moveTo>
                    <a:cubicBezTo>
                      <a:pt x="331" y="357"/>
                      <a:pt x="326" y="352"/>
                      <a:pt x="320" y="352"/>
                    </a:cubicBezTo>
                    <a:cubicBezTo>
                      <a:pt x="192" y="352"/>
                      <a:pt x="192" y="352"/>
                      <a:pt x="192" y="352"/>
                    </a:cubicBezTo>
                    <a:cubicBezTo>
                      <a:pt x="186" y="352"/>
                      <a:pt x="181" y="357"/>
                      <a:pt x="181" y="363"/>
                    </a:cubicBezTo>
                    <a:cubicBezTo>
                      <a:pt x="181" y="369"/>
                      <a:pt x="186" y="374"/>
                      <a:pt x="192" y="374"/>
                    </a:cubicBezTo>
                    <a:cubicBezTo>
                      <a:pt x="320" y="374"/>
                      <a:pt x="320" y="374"/>
                      <a:pt x="320" y="374"/>
                    </a:cubicBezTo>
                    <a:cubicBezTo>
                      <a:pt x="326" y="374"/>
                      <a:pt x="331" y="369"/>
                      <a:pt x="331" y="363"/>
                    </a:cubicBezTo>
                    <a:close/>
                    <a:moveTo>
                      <a:pt x="331" y="320"/>
                    </a:moveTo>
                    <a:cubicBezTo>
                      <a:pt x="331" y="314"/>
                      <a:pt x="326" y="310"/>
                      <a:pt x="320" y="310"/>
                    </a:cubicBezTo>
                    <a:cubicBezTo>
                      <a:pt x="192" y="310"/>
                      <a:pt x="192" y="310"/>
                      <a:pt x="192" y="310"/>
                    </a:cubicBezTo>
                    <a:cubicBezTo>
                      <a:pt x="186" y="310"/>
                      <a:pt x="181" y="314"/>
                      <a:pt x="181" y="320"/>
                    </a:cubicBezTo>
                    <a:cubicBezTo>
                      <a:pt x="181" y="326"/>
                      <a:pt x="186" y="331"/>
                      <a:pt x="192" y="331"/>
                    </a:cubicBezTo>
                    <a:cubicBezTo>
                      <a:pt x="320" y="331"/>
                      <a:pt x="320" y="331"/>
                      <a:pt x="320" y="331"/>
                    </a:cubicBezTo>
                    <a:cubicBezTo>
                      <a:pt x="326" y="331"/>
                      <a:pt x="331" y="326"/>
                      <a:pt x="331" y="320"/>
                    </a:cubicBezTo>
                    <a:close/>
                    <a:moveTo>
                      <a:pt x="331" y="278"/>
                    </a:moveTo>
                    <a:cubicBezTo>
                      <a:pt x="331" y="272"/>
                      <a:pt x="326" y="267"/>
                      <a:pt x="320" y="267"/>
                    </a:cubicBezTo>
                    <a:cubicBezTo>
                      <a:pt x="192" y="267"/>
                      <a:pt x="192" y="267"/>
                      <a:pt x="192" y="267"/>
                    </a:cubicBezTo>
                    <a:cubicBezTo>
                      <a:pt x="186" y="267"/>
                      <a:pt x="181" y="272"/>
                      <a:pt x="181" y="278"/>
                    </a:cubicBezTo>
                    <a:cubicBezTo>
                      <a:pt x="181" y="284"/>
                      <a:pt x="186" y="288"/>
                      <a:pt x="192" y="288"/>
                    </a:cubicBezTo>
                    <a:cubicBezTo>
                      <a:pt x="320" y="288"/>
                      <a:pt x="320" y="288"/>
                      <a:pt x="320" y="288"/>
                    </a:cubicBezTo>
                    <a:cubicBezTo>
                      <a:pt x="326" y="288"/>
                      <a:pt x="331" y="284"/>
                      <a:pt x="331" y="278"/>
                    </a:cubicBezTo>
                    <a:close/>
                    <a:moveTo>
                      <a:pt x="320" y="224"/>
                    </a:moveTo>
                    <a:cubicBezTo>
                      <a:pt x="192" y="224"/>
                      <a:pt x="192" y="224"/>
                      <a:pt x="192" y="224"/>
                    </a:cubicBezTo>
                    <a:cubicBezTo>
                      <a:pt x="186" y="224"/>
                      <a:pt x="181" y="229"/>
                      <a:pt x="181" y="235"/>
                    </a:cubicBezTo>
                    <a:cubicBezTo>
                      <a:pt x="181" y="241"/>
                      <a:pt x="186" y="246"/>
                      <a:pt x="192" y="246"/>
                    </a:cubicBezTo>
                    <a:cubicBezTo>
                      <a:pt x="320" y="246"/>
                      <a:pt x="320" y="246"/>
                      <a:pt x="320" y="246"/>
                    </a:cubicBezTo>
                    <a:cubicBezTo>
                      <a:pt x="326" y="246"/>
                      <a:pt x="331" y="241"/>
                      <a:pt x="331" y="235"/>
                    </a:cubicBezTo>
                    <a:cubicBezTo>
                      <a:pt x="331" y="229"/>
                      <a:pt x="326" y="224"/>
                      <a:pt x="320" y="224"/>
                    </a:cubicBezTo>
                    <a:close/>
                    <a:moveTo>
                      <a:pt x="512" y="256"/>
                    </a:moveTo>
                    <a:cubicBezTo>
                      <a:pt x="512" y="398"/>
                      <a:pt x="397" y="512"/>
                      <a:pt x="256" y="512"/>
                    </a:cubicBezTo>
                    <a:cubicBezTo>
                      <a:pt x="115" y="512"/>
                      <a:pt x="0" y="398"/>
                      <a:pt x="0" y="256"/>
                    </a:cubicBezTo>
                    <a:cubicBezTo>
                      <a:pt x="0" y="115"/>
                      <a:pt x="115" y="0"/>
                      <a:pt x="256" y="0"/>
                    </a:cubicBezTo>
                    <a:cubicBezTo>
                      <a:pt x="397" y="0"/>
                      <a:pt x="512" y="115"/>
                      <a:pt x="512" y="256"/>
                    </a:cubicBezTo>
                    <a:close/>
                    <a:moveTo>
                      <a:pt x="373" y="182"/>
                    </a:moveTo>
                    <a:cubicBezTo>
                      <a:pt x="373" y="180"/>
                      <a:pt x="373" y="179"/>
                      <a:pt x="373" y="178"/>
                    </a:cubicBezTo>
                    <a:cubicBezTo>
                      <a:pt x="372" y="176"/>
                      <a:pt x="371" y="175"/>
                      <a:pt x="370" y="174"/>
                    </a:cubicBezTo>
                    <a:cubicBezTo>
                      <a:pt x="296" y="99"/>
                      <a:pt x="296" y="99"/>
                      <a:pt x="296" y="99"/>
                    </a:cubicBezTo>
                    <a:cubicBezTo>
                      <a:pt x="295" y="98"/>
                      <a:pt x="293" y="98"/>
                      <a:pt x="292" y="97"/>
                    </a:cubicBezTo>
                    <a:cubicBezTo>
                      <a:pt x="291" y="97"/>
                      <a:pt x="289" y="96"/>
                      <a:pt x="288" y="96"/>
                    </a:cubicBezTo>
                    <a:cubicBezTo>
                      <a:pt x="149" y="96"/>
                      <a:pt x="149" y="96"/>
                      <a:pt x="149" y="96"/>
                    </a:cubicBezTo>
                    <a:cubicBezTo>
                      <a:pt x="143" y="96"/>
                      <a:pt x="139" y="101"/>
                      <a:pt x="139" y="107"/>
                    </a:cubicBezTo>
                    <a:cubicBezTo>
                      <a:pt x="139" y="406"/>
                      <a:pt x="139" y="406"/>
                      <a:pt x="139" y="406"/>
                    </a:cubicBezTo>
                    <a:cubicBezTo>
                      <a:pt x="139" y="412"/>
                      <a:pt x="143" y="416"/>
                      <a:pt x="149" y="416"/>
                    </a:cubicBezTo>
                    <a:cubicBezTo>
                      <a:pt x="363" y="416"/>
                      <a:pt x="363" y="416"/>
                      <a:pt x="363" y="416"/>
                    </a:cubicBezTo>
                    <a:cubicBezTo>
                      <a:pt x="369" y="416"/>
                      <a:pt x="373" y="412"/>
                      <a:pt x="373" y="406"/>
                    </a:cubicBezTo>
                    <a:lnTo>
                      <a:pt x="373" y="1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2" name="Freeform 333"/>
              <p:cNvSpPr>
                <a:spLocks noEditPoints="1"/>
              </p:cNvSpPr>
              <p:nvPr/>
            </p:nvSpPr>
            <p:spPr bwMode="auto">
              <a:xfrm>
                <a:off x="3832" y="1197"/>
                <a:ext cx="340" cy="340"/>
              </a:xfrm>
              <a:custGeom>
                <a:avLst/>
                <a:gdLst>
                  <a:gd name="T0" fmla="*/ 337 w 512"/>
                  <a:gd name="T1" fmla="*/ 171 h 512"/>
                  <a:gd name="T2" fmla="*/ 299 w 512"/>
                  <a:gd name="T3" fmla="*/ 171 h 512"/>
                  <a:gd name="T4" fmla="*/ 299 w 512"/>
                  <a:gd name="T5" fmla="*/ 133 h 512"/>
                  <a:gd name="T6" fmla="*/ 337 w 512"/>
                  <a:gd name="T7" fmla="*/ 171 h 512"/>
                  <a:gd name="T8" fmla="*/ 288 w 512"/>
                  <a:gd name="T9" fmla="*/ 192 h 512"/>
                  <a:gd name="T10" fmla="*/ 352 w 512"/>
                  <a:gd name="T11" fmla="*/ 192 h 512"/>
                  <a:gd name="T12" fmla="*/ 352 w 512"/>
                  <a:gd name="T13" fmla="*/ 395 h 512"/>
                  <a:gd name="T14" fmla="*/ 160 w 512"/>
                  <a:gd name="T15" fmla="*/ 395 h 512"/>
                  <a:gd name="T16" fmla="*/ 160 w 512"/>
                  <a:gd name="T17" fmla="*/ 118 h 512"/>
                  <a:gd name="T18" fmla="*/ 277 w 512"/>
                  <a:gd name="T19" fmla="*/ 118 h 512"/>
                  <a:gd name="T20" fmla="*/ 277 w 512"/>
                  <a:gd name="T21" fmla="*/ 182 h 512"/>
                  <a:gd name="T22" fmla="*/ 288 w 512"/>
                  <a:gd name="T23" fmla="*/ 192 h 512"/>
                  <a:gd name="T24" fmla="*/ 331 w 512"/>
                  <a:gd name="T25" fmla="*/ 363 h 512"/>
                  <a:gd name="T26" fmla="*/ 320 w 512"/>
                  <a:gd name="T27" fmla="*/ 352 h 512"/>
                  <a:gd name="T28" fmla="*/ 192 w 512"/>
                  <a:gd name="T29" fmla="*/ 352 h 512"/>
                  <a:gd name="T30" fmla="*/ 181 w 512"/>
                  <a:gd name="T31" fmla="*/ 363 h 512"/>
                  <a:gd name="T32" fmla="*/ 192 w 512"/>
                  <a:gd name="T33" fmla="*/ 374 h 512"/>
                  <a:gd name="T34" fmla="*/ 320 w 512"/>
                  <a:gd name="T35" fmla="*/ 374 h 512"/>
                  <a:gd name="T36" fmla="*/ 331 w 512"/>
                  <a:gd name="T37" fmla="*/ 363 h 512"/>
                  <a:gd name="T38" fmla="*/ 331 w 512"/>
                  <a:gd name="T39" fmla="*/ 320 h 512"/>
                  <a:gd name="T40" fmla="*/ 320 w 512"/>
                  <a:gd name="T41" fmla="*/ 310 h 512"/>
                  <a:gd name="T42" fmla="*/ 192 w 512"/>
                  <a:gd name="T43" fmla="*/ 310 h 512"/>
                  <a:gd name="T44" fmla="*/ 181 w 512"/>
                  <a:gd name="T45" fmla="*/ 320 h 512"/>
                  <a:gd name="T46" fmla="*/ 192 w 512"/>
                  <a:gd name="T47" fmla="*/ 331 h 512"/>
                  <a:gd name="T48" fmla="*/ 320 w 512"/>
                  <a:gd name="T49" fmla="*/ 331 h 512"/>
                  <a:gd name="T50" fmla="*/ 331 w 512"/>
                  <a:gd name="T51" fmla="*/ 320 h 512"/>
                  <a:gd name="T52" fmla="*/ 331 w 512"/>
                  <a:gd name="T53" fmla="*/ 278 h 512"/>
                  <a:gd name="T54" fmla="*/ 320 w 512"/>
                  <a:gd name="T55" fmla="*/ 267 h 512"/>
                  <a:gd name="T56" fmla="*/ 192 w 512"/>
                  <a:gd name="T57" fmla="*/ 267 h 512"/>
                  <a:gd name="T58" fmla="*/ 181 w 512"/>
                  <a:gd name="T59" fmla="*/ 278 h 512"/>
                  <a:gd name="T60" fmla="*/ 192 w 512"/>
                  <a:gd name="T61" fmla="*/ 288 h 512"/>
                  <a:gd name="T62" fmla="*/ 320 w 512"/>
                  <a:gd name="T63" fmla="*/ 288 h 512"/>
                  <a:gd name="T64" fmla="*/ 331 w 512"/>
                  <a:gd name="T65" fmla="*/ 278 h 512"/>
                  <a:gd name="T66" fmla="*/ 320 w 512"/>
                  <a:gd name="T67" fmla="*/ 224 h 512"/>
                  <a:gd name="T68" fmla="*/ 192 w 512"/>
                  <a:gd name="T69" fmla="*/ 224 h 512"/>
                  <a:gd name="T70" fmla="*/ 181 w 512"/>
                  <a:gd name="T71" fmla="*/ 235 h 512"/>
                  <a:gd name="T72" fmla="*/ 192 w 512"/>
                  <a:gd name="T73" fmla="*/ 246 h 512"/>
                  <a:gd name="T74" fmla="*/ 320 w 512"/>
                  <a:gd name="T75" fmla="*/ 246 h 512"/>
                  <a:gd name="T76" fmla="*/ 331 w 512"/>
                  <a:gd name="T77" fmla="*/ 235 h 512"/>
                  <a:gd name="T78" fmla="*/ 320 w 512"/>
                  <a:gd name="T79" fmla="*/ 224 h 512"/>
                  <a:gd name="T80" fmla="*/ 512 w 512"/>
                  <a:gd name="T81" fmla="*/ 256 h 512"/>
                  <a:gd name="T82" fmla="*/ 256 w 512"/>
                  <a:gd name="T83" fmla="*/ 512 h 512"/>
                  <a:gd name="T84" fmla="*/ 0 w 512"/>
                  <a:gd name="T85" fmla="*/ 256 h 512"/>
                  <a:gd name="T86" fmla="*/ 256 w 512"/>
                  <a:gd name="T87" fmla="*/ 0 h 512"/>
                  <a:gd name="T88" fmla="*/ 512 w 512"/>
                  <a:gd name="T89" fmla="*/ 256 h 512"/>
                  <a:gd name="T90" fmla="*/ 373 w 512"/>
                  <a:gd name="T91" fmla="*/ 182 h 512"/>
                  <a:gd name="T92" fmla="*/ 373 w 512"/>
                  <a:gd name="T93" fmla="*/ 178 h 512"/>
                  <a:gd name="T94" fmla="*/ 370 w 512"/>
                  <a:gd name="T95" fmla="*/ 174 h 512"/>
                  <a:gd name="T96" fmla="*/ 296 w 512"/>
                  <a:gd name="T97" fmla="*/ 99 h 512"/>
                  <a:gd name="T98" fmla="*/ 292 w 512"/>
                  <a:gd name="T99" fmla="*/ 97 h 512"/>
                  <a:gd name="T100" fmla="*/ 288 w 512"/>
                  <a:gd name="T101" fmla="*/ 96 h 512"/>
                  <a:gd name="T102" fmla="*/ 149 w 512"/>
                  <a:gd name="T103" fmla="*/ 96 h 512"/>
                  <a:gd name="T104" fmla="*/ 139 w 512"/>
                  <a:gd name="T105" fmla="*/ 107 h 512"/>
                  <a:gd name="T106" fmla="*/ 139 w 512"/>
                  <a:gd name="T107" fmla="*/ 406 h 512"/>
                  <a:gd name="T108" fmla="*/ 149 w 512"/>
                  <a:gd name="T109" fmla="*/ 416 h 512"/>
                  <a:gd name="T110" fmla="*/ 363 w 512"/>
                  <a:gd name="T111" fmla="*/ 416 h 512"/>
                  <a:gd name="T112" fmla="*/ 373 w 512"/>
                  <a:gd name="T113" fmla="*/ 406 h 512"/>
                  <a:gd name="T114" fmla="*/ 373 w 512"/>
                  <a:gd name="T115" fmla="*/ 182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512">
                    <a:moveTo>
                      <a:pt x="337" y="171"/>
                    </a:moveTo>
                    <a:cubicBezTo>
                      <a:pt x="299" y="171"/>
                      <a:pt x="299" y="171"/>
                      <a:pt x="299" y="171"/>
                    </a:cubicBezTo>
                    <a:cubicBezTo>
                      <a:pt x="299" y="133"/>
                      <a:pt x="299" y="133"/>
                      <a:pt x="299" y="133"/>
                    </a:cubicBezTo>
                    <a:lnTo>
                      <a:pt x="337" y="171"/>
                    </a:lnTo>
                    <a:close/>
                    <a:moveTo>
                      <a:pt x="288" y="192"/>
                    </a:moveTo>
                    <a:cubicBezTo>
                      <a:pt x="352" y="192"/>
                      <a:pt x="352" y="192"/>
                      <a:pt x="352" y="192"/>
                    </a:cubicBezTo>
                    <a:cubicBezTo>
                      <a:pt x="352" y="395"/>
                      <a:pt x="352" y="395"/>
                      <a:pt x="352" y="395"/>
                    </a:cubicBezTo>
                    <a:cubicBezTo>
                      <a:pt x="160" y="395"/>
                      <a:pt x="160" y="395"/>
                      <a:pt x="160" y="395"/>
                    </a:cubicBezTo>
                    <a:cubicBezTo>
                      <a:pt x="160" y="118"/>
                      <a:pt x="160" y="118"/>
                      <a:pt x="160" y="118"/>
                    </a:cubicBezTo>
                    <a:cubicBezTo>
                      <a:pt x="277" y="118"/>
                      <a:pt x="277" y="118"/>
                      <a:pt x="277" y="118"/>
                    </a:cubicBezTo>
                    <a:cubicBezTo>
                      <a:pt x="277" y="182"/>
                      <a:pt x="277" y="182"/>
                      <a:pt x="277" y="182"/>
                    </a:cubicBezTo>
                    <a:cubicBezTo>
                      <a:pt x="277" y="188"/>
                      <a:pt x="282" y="192"/>
                      <a:pt x="288" y="192"/>
                    </a:cubicBezTo>
                    <a:close/>
                    <a:moveTo>
                      <a:pt x="331" y="363"/>
                    </a:moveTo>
                    <a:cubicBezTo>
                      <a:pt x="331" y="357"/>
                      <a:pt x="326" y="352"/>
                      <a:pt x="320" y="352"/>
                    </a:cubicBezTo>
                    <a:cubicBezTo>
                      <a:pt x="192" y="352"/>
                      <a:pt x="192" y="352"/>
                      <a:pt x="192" y="352"/>
                    </a:cubicBezTo>
                    <a:cubicBezTo>
                      <a:pt x="186" y="352"/>
                      <a:pt x="181" y="357"/>
                      <a:pt x="181" y="363"/>
                    </a:cubicBezTo>
                    <a:cubicBezTo>
                      <a:pt x="181" y="369"/>
                      <a:pt x="186" y="374"/>
                      <a:pt x="192" y="374"/>
                    </a:cubicBezTo>
                    <a:cubicBezTo>
                      <a:pt x="320" y="374"/>
                      <a:pt x="320" y="374"/>
                      <a:pt x="320" y="374"/>
                    </a:cubicBezTo>
                    <a:cubicBezTo>
                      <a:pt x="326" y="374"/>
                      <a:pt x="331" y="369"/>
                      <a:pt x="331" y="363"/>
                    </a:cubicBezTo>
                    <a:close/>
                    <a:moveTo>
                      <a:pt x="331" y="320"/>
                    </a:moveTo>
                    <a:cubicBezTo>
                      <a:pt x="331" y="314"/>
                      <a:pt x="326" y="310"/>
                      <a:pt x="320" y="310"/>
                    </a:cubicBezTo>
                    <a:cubicBezTo>
                      <a:pt x="192" y="310"/>
                      <a:pt x="192" y="310"/>
                      <a:pt x="192" y="310"/>
                    </a:cubicBezTo>
                    <a:cubicBezTo>
                      <a:pt x="186" y="310"/>
                      <a:pt x="181" y="314"/>
                      <a:pt x="181" y="320"/>
                    </a:cubicBezTo>
                    <a:cubicBezTo>
                      <a:pt x="181" y="326"/>
                      <a:pt x="186" y="331"/>
                      <a:pt x="192" y="331"/>
                    </a:cubicBezTo>
                    <a:cubicBezTo>
                      <a:pt x="320" y="331"/>
                      <a:pt x="320" y="331"/>
                      <a:pt x="320" y="331"/>
                    </a:cubicBezTo>
                    <a:cubicBezTo>
                      <a:pt x="326" y="331"/>
                      <a:pt x="331" y="326"/>
                      <a:pt x="331" y="320"/>
                    </a:cubicBezTo>
                    <a:close/>
                    <a:moveTo>
                      <a:pt x="331" y="278"/>
                    </a:moveTo>
                    <a:cubicBezTo>
                      <a:pt x="331" y="272"/>
                      <a:pt x="326" y="267"/>
                      <a:pt x="320" y="267"/>
                    </a:cubicBezTo>
                    <a:cubicBezTo>
                      <a:pt x="192" y="267"/>
                      <a:pt x="192" y="267"/>
                      <a:pt x="192" y="267"/>
                    </a:cubicBezTo>
                    <a:cubicBezTo>
                      <a:pt x="186" y="267"/>
                      <a:pt x="181" y="272"/>
                      <a:pt x="181" y="278"/>
                    </a:cubicBezTo>
                    <a:cubicBezTo>
                      <a:pt x="181" y="284"/>
                      <a:pt x="186" y="288"/>
                      <a:pt x="192" y="288"/>
                    </a:cubicBezTo>
                    <a:cubicBezTo>
                      <a:pt x="320" y="288"/>
                      <a:pt x="320" y="288"/>
                      <a:pt x="320" y="288"/>
                    </a:cubicBezTo>
                    <a:cubicBezTo>
                      <a:pt x="326" y="288"/>
                      <a:pt x="331" y="284"/>
                      <a:pt x="331" y="278"/>
                    </a:cubicBezTo>
                    <a:close/>
                    <a:moveTo>
                      <a:pt x="320" y="224"/>
                    </a:moveTo>
                    <a:cubicBezTo>
                      <a:pt x="192" y="224"/>
                      <a:pt x="192" y="224"/>
                      <a:pt x="192" y="224"/>
                    </a:cubicBezTo>
                    <a:cubicBezTo>
                      <a:pt x="186" y="224"/>
                      <a:pt x="181" y="229"/>
                      <a:pt x="181" y="235"/>
                    </a:cubicBezTo>
                    <a:cubicBezTo>
                      <a:pt x="181" y="241"/>
                      <a:pt x="186" y="246"/>
                      <a:pt x="192" y="246"/>
                    </a:cubicBezTo>
                    <a:cubicBezTo>
                      <a:pt x="320" y="246"/>
                      <a:pt x="320" y="246"/>
                      <a:pt x="320" y="246"/>
                    </a:cubicBezTo>
                    <a:cubicBezTo>
                      <a:pt x="326" y="246"/>
                      <a:pt x="331" y="241"/>
                      <a:pt x="331" y="235"/>
                    </a:cubicBezTo>
                    <a:cubicBezTo>
                      <a:pt x="331" y="229"/>
                      <a:pt x="326" y="224"/>
                      <a:pt x="320" y="224"/>
                    </a:cubicBezTo>
                    <a:close/>
                    <a:moveTo>
                      <a:pt x="512" y="256"/>
                    </a:moveTo>
                    <a:cubicBezTo>
                      <a:pt x="512" y="398"/>
                      <a:pt x="397" y="512"/>
                      <a:pt x="256" y="512"/>
                    </a:cubicBezTo>
                    <a:cubicBezTo>
                      <a:pt x="115" y="512"/>
                      <a:pt x="0" y="398"/>
                      <a:pt x="0" y="256"/>
                    </a:cubicBezTo>
                    <a:cubicBezTo>
                      <a:pt x="0" y="115"/>
                      <a:pt x="115" y="0"/>
                      <a:pt x="256" y="0"/>
                    </a:cubicBezTo>
                    <a:cubicBezTo>
                      <a:pt x="397" y="0"/>
                      <a:pt x="512" y="115"/>
                      <a:pt x="512" y="256"/>
                    </a:cubicBezTo>
                    <a:close/>
                    <a:moveTo>
                      <a:pt x="373" y="182"/>
                    </a:moveTo>
                    <a:cubicBezTo>
                      <a:pt x="373" y="180"/>
                      <a:pt x="373" y="179"/>
                      <a:pt x="373" y="178"/>
                    </a:cubicBezTo>
                    <a:cubicBezTo>
                      <a:pt x="372" y="176"/>
                      <a:pt x="371" y="175"/>
                      <a:pt x="370" y="174"/>
                    </a:cubicBezTo>
                    <a:cubicBezTo>
                      <a:pt x="296" y="99"/>
                      <a:pt x="296" y="99"/>
                      <a:pt x="296" y="99"/>
                    </a:cubicBezTo>
                    <a:cubicBezTo>
                      <a:pt x="295" y="98"/>
                      <a:pt x="293" y="98"/>
                      <a:pt x="292" y="97"/>
                    </a:cubicBezTo>
                    <a:cubicBezTo>
                      <a:pt x="291" y="97"/>
                      <a:pt x="289" y="96"/>
                      <a:pt x="288" y="96"/>
                    </a:cubicBezTo>
                    <a:cubicBezTo>
                      <a:pt x="149" y="96"/>
                      <a:pt x="149" y="96"/>
                      <a:pt x="149" y="96"/>
                    </a:cubicBezTo>
                    <a:cubicBezTo>
                      <a:pt x="143" y="96"/>
                      <a:pt x="139" y="101"/>
                      <a:pt x="139" y="107"/>
                    </a:cubicBezTo>
                    <a:cubicBezTo>
                      <a:pt x="139" y="406"/>
                      <a:pt x="139" y="406"/>
                      <a:pt x="139" y="406"/>
                    </a:cubicBezTo>
                    <a:cubicBezTo>
                      <a:pt x="139" y="412"/>
                      <a:pt x="143" y="416"/>
                      <a:pt x="149" y="416"/>
                    </a:cubicBezTo>
                    <a:cubicBezTo>
                      <a:pt x="363" y="416"/>
                      <a:pt x="363" y="416"/>
                      <a:pt x="363" y="416"/>
                    </a:cubicBezTo>
                    <a:cubicBezTo>
                      <a:pt x="369" y="416"/>
                      <a:pt x="373" y="412"/>
                      <a:pt x="373" y="406"/>
                    </a:cubicBezTo>
                    <a:lnTo>
                      <a:pt x="373" y="1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" name="Group 3"/>
          <p:cNvGrpSpPr/>
          <p:nvPr/>
        </p:nvGrpSpPr>
        <p:grpSpPr>
          <a:xfrm>
            <a:off x="927795" y="4069221"/>
            <a:ext cx="900000" cy="900000"/>
            <a:chOff x="927795" y="4040646"/>
            <a:chExt cx="900000" cy="900000"/>
          </a:xfrm>
        </p:grpSpPr>
        <p:sp>
          <p:nvSpPr>
            <p:cNvPr id="102" name="TextBox 101"/>
            <p:cNvSpPr txBox="1"/>
            <p:nvPr/>
          </p:nvSpPr>
          <p:spPr>
            <a:xfrm>
              <a:off x="927795" y="4040646"/>
              <a:ext cx="900000" cy="900000"/>
            </a:xfrm>
            <a:prstGeom prst="roundRect">
              <a:avLst/>
            </a:prstGeom>
            <a:noFill/>
            <a:ln>
              <a:solidFill>
                <a:srgbClr val="007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>
              <a:defPPr>
                <a:defRPr lang="it-IT"/>
              </a:defPPr>
              <a:lvl1pPr>
                <a:defRPr sz="1200">
                  <a:latin typeface="Calibri" panose="020F0502020204030204" pitchFamily="34" charset="0"/>
                </a:defRPr>
              </a:lvl1pPr>
            </a:lstStyle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</p:txBody>
        </p:sp>
        <p:sp>
          <p:nvSpPr>
            <p:cNvPr id="115" name="Freeform 486"/>
            <p:cNvSpPr>
              <a:spLocks noChangeAspect="1" noEditPoints="1"/>
            </p:cNvSpPr>
            <p:nvPr/>
          </p:nvSpPr>
          <p:spPr bwMode="auto">
            <a:xfrm>
              <a:off x="1107795" y="4217377"/>
              <a:ext cx="540000" cy="54000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117 w 512"/>
                <a:gd name="T11" fmla="*/ 160 h 512"/>
                <a:gd name="T12" fmla="*/ 128 w 512"/>
                <a:gd name="T13" fmla="*/ 149 h 512"/>
                <a:gd name="T14" fmla="*/ 384 w 512"/>
                <a:gd name="T15" fmla="*/ 149 h 512"/>
                <a:gd name="T16" fmla="*/ 394 w 512"/>
                <a:gd name="T17" fmla="*/ 160 h 512"/>
                <a:gd name="T18" fmla="*/ 394 w 512"/>
                <a:gd name="T19" fmla="*/ 309 h 512"/>
                <a:gd name="T20" fmla="*/ 384 w 512"/>
                <a:gd name="T21" fmla="*/ 320 h 512"/>
                <a:gd name="T22" fmla="*/ 128 w 512"/>
                <a:gd name="T23" fmla="*/ 320 h 512"/>
                <a:gd name="T24" fmla="*/ 117 w 512"/>
                <a:gd name="T25" fmla="*/ 309 h 512"/>
                <a:gd name="T26" fmla="*/ 117 w 512"/>
                <a:gd name="T27" fmla="*/ 160 h 512"/>
                <a:gd name="T28" fmla="*/ 405 w 512"/>
                <a:gd name="T29" fmla="*/ 362 h 512"/>
                <a:gd name="T30" fmla="*/ 106 w 512"/>
                <a:gd name="T31" fmla="*/ 362 h 512"/>
                <a:gd name="T32" fmla="*/ 96 w 512"/>
                <a:gd name="T33" fmla="*/ 352 h 512"/>
                <a:gd name="T34" fmla="*/ 106 w 512"/>
                <a:gd name="T35" fmla="*/ 341 h 512"/>
                <a:gd name="T36" fmla="*/ 405 w 512"/>
                <a:gd name="T37" fmla="*/ 341 h 512"/>
                <a:gd name="T38" fmla="*/ 416 w 512"/>
                <a:gd name="T39" fmla="*/ 352 h 512"/>
                <a:gd name="T40" fmla="*/ 405 w 512"/>
                <a:gd name="T41" fmla="*/ 362 h 512"/>
                <a:gd name="T42" fmla="*/ 373 w 512"/>
                <a:gd name="T43" fmla="*/ 298 h 512"/>
                <a:gd name="T44" fmla="*/ 138 w 512"/>
                <a:gd name="T45" fmla="*/ 298 h 512"/>
                <a:gd name="T46" fmla="*/ 138 w 512"/>
                <a:gd name="T47" fmla="*/ 170 h 512"/>
                <a:gd name="T48" fmla="*/ 373 w 512"/>
                <a:gd name="T49" fmla="*/ 170 h 512"/>
                <a:gd name="T50" fmla="*/ 373 w 512"/>
                <a:gd name="T51" fmla="*/ 298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117" y="160"/>
                  </a:moveTo>
                  <a:cubicBezTo>
                    <a:pt x="117" y="154"/>
                    <a:pt x="122" y="149"/>
                    <a:pt x="128" y="149"/>
                  </a:cubicBezTo>
                  <a:cubicBezTo>
                    <a:pt x="384" y="149"/>
                    <a:pt x="384" y="149"/>
                    <a:pt x="384" y="149"/>
                  </a:cubicBezTo>
                  <a:cubicBezTo>
                    <a:pt x="390" y="149"/>
                    <a:pt x="394" y="154"/>
                    <a:pt x="394" y="160"/>
                  </a:cubicBezTo>
                  <a:cubicBezTo>
                    <a:pt x="394" y="309"/>
                    <a:pt x="394" y="309"/>
                    <a:pt x="394" y="309"/>
                  </a:cubicBezTo>
                  <a:cubicBezTo>
                    <a:pt x="394" y="315"/>
                    <a:pt x="390" y="320"/>
                    <a:pt x="384" y="320"/>
                  </a:cubicBezTo>
                  <a:cubicBezTo>
                    <a:pt x="128" y="320"/>
                    <a:pt x="128" y="320"/>
                    <a:pt x="128" y="320"/>
                  </a:cubicBezTo>
                  <a:cubicBezTo>
                    <a:pt x="122" y="320"/>
                    <a:pt x="117" y="315"/>
                    <a:pt x="117" y="309"/>
                  </a:cubicBezTo>
                  <a:lnTo>
                    <a:pt x="117" y="160"/>
                  </a:lnTo>
                  <a:close/>
                  <a:moveTo>
                    <a:pt x="405" y="362"/>
                  </a:moveTo>
                  <a:cubicBezTo>
                    <a:pt x="106" y="362"/>
                    <a:pt x="106" y="362"/>
                    <a:pt x="106" y="362"/>
                  </a:cubicBezTo>
                  <a:cubicBezTo>
                    <a:pt x="100" y="362"/>
                    <a:pt x="96" y="358"/>
                    <a:pt x="96" y="352"/>
                  </a:cubicBezTo>
                  <a:cubicBezTo>
                    <a:pt x="96" y="346"/>
                    <a:pt x="100" y="341"/>
                    <a:pt x="106" y="341"/>
                  </a:cubicBezTo>
                  <a:cubicBezTo>
                    <a:pt x="405" y="341"/>
                    <a:pt x="405" y="341"/>
                    <a:pt x="405" y="341"/>
                  </a:cubicBezTo>
                  <a:cubicBezTo>
                    <a:pt x="411" y="341"/>
                    <a:pt x="416" y="346"/>
                    <a:pt x="416" y="352"/>
                  </a:cubicBezTo>
                  <a:cubicBezTo>
                    <a:pt x="416" y="358"/>
                    <a:pt x="411" y="362"/>
                    <a:pt x="405" y="362"/>
                  </a:cubicBezTo>
                  <a:close/>
                  <a:moveTo>
                    <a:pt x="373" y="298"/>
                  </a:moveTo>
                  <a:cubicBezTo>
                    <a:pt x="138" y="298"/>
                    <a:pt x="138" y="298"/>
                    <a:pt x="138" y="298"/>
                  </a:cubicBezTo>
                  <a:cubicBezTo>
                    <a:pt x="138" y="170"/>
                    <a:pt x="138" y="170"/>
                    <a:pt x="138" y="170"/>
                  </a:cubicBezTo>
                  <a:cubicBezTo>
                    <a:pt x="373" y="170"/>
                    <a:pt x="373" y="170"/>
                    <a:pt x="373" y="170"/>
                  </a:cubicBezTo>
                  <a:lnTo>
                    <a:pt x="373" y="298"/>
                  </a:lnTo>
                  <a:close/>
                </a:path>
              </a:pathLst>
            </a:custGeom>
            <a:solidFill>
              <a:srgbClr val="007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927795" y="5187764"/>
            <a:ext cx="900000" cy="900000"/>
            <a:chOff x="927795" y="5092514"/>
            <a:chExt cx="900000" cy="900000"/>
          </a:xfrm>
        </p:grpSpPr>
        <p:sp>
          <p:nvSpPr>
            <p:cNvPr id="106" name="TextBox 105"/>
            <p:cNvSpPr txBox="1"/>
            <p:nvPr/>
          </p:nvSpPr>
          <p:spPr>
            <a:xfrm>
              <a:off x="927795" y="5092514"/>
              <a:ext cx="900000" cy="900000"/>
            </a:xfrm>
            <a:prstGeom prst="roundRect">
              <a:avLst/>
            </a:prstGeom>
            <a:noFill/>
            <a:ln>
              <a:solidFill>
                <a:srgbClr val="00206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>
              <a:defPPr>
                <a:defRPr lang="it-IT"/>
              </a:defPPr>
              <a:lvl1pPr>
                <a:defRPr sz="1200">
                  <a:latin typeface="Calibri" panose="020F0502020204030204" pitchFamily="34" charset="0"/>
                </a:defRPr>
              </a:lvl1pPr>
            </a:lstStyle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  <a:p>
              <a:pPr marL="85725" eaLnBrk="1" hangingPunct="1">
                <a:defRPr/>
              </a:pPr>
              <a:endParaRPr lang="it-IT" sz="1292" dirty="0">
                <a:solidFill>
                  <a:srgbClr val="FFC000"/>
                </a:solidFill>
              </a:endParaRPr>
            </a:p>
          </p:txBody>
        </p:sp>
        <p:sp>
          <p:nvSpPr>
            <p:cNvPr id="116" name="Freeform 384"/>
            <p:cNvSpPr>
              <a:spLocks noChangeAspect="1" noEditPoints="1"/>
            </p:cNvSpPr>
            <p:nvPr/>
          </p:nvSpPr>
          <p:spPr bwMode="auto">
            <a:xfrm>
              <a:off x="1107795" y="5267492"/>
              <a:ext cx="540000" cy="54000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06 w 512"/>
                <a:gd name="T11" fmla="*/ 152 h 512"/>
                <a:gd name="T12" fmla="*/ 220 w 512"/>
                <a:gd name="T13" fmla="*/ 145 h 512"/>
                <a:gd name="T14" fmla="*/ 340 w 512"/>
                <a:gd name="T15" fmla="*/ 189 h 512"/>
                <a:gd name="T16" fmla="*/ 347 w 512"/>
                <a:gd name="T17" fmla="*/ 202 h 512"/>
                <a:gd name="T18" fmla="*/ 337 w 512"/>
                <a:gd name="T19" fmla="*/ 209 h 512"/>
                <a:gd name="T20" fmla="*/ 333 w 512"/>
                <a:gd name="T21" fmla="*/ 209 h 512"/>
                <a:gd name="T22" fmla="*/ 213 w 512"/>
                <a:gd name="T23" fmla="*/ 166 h 512"/>
                <a:gd name="T24" fmla="*/ 206 w 512"/>
                <a:gd name="T25" fmla="*/ 152 h 512"/>
                <a:gd name="T26" fmla="*/ 190 w 512"/>
                <a:gd name="T27" fmla="*/ 209 h 512"/>
                <a:gd name="T28" fmla="*/ 202 w 512"/>
                <a:gd name="T29" fmla="*/ 201 h 512"/>
                <a:gd name="T30" fmla="*/ 328 w 512"/>
                <a:gd name="T31" fmla="*/ 226 h 512"/>
                <a:gd name="T32" fmla="*/ 336 w 512"/>
                <a:gd name="T33" fmla="*/ 239 h 512"/>
                <a:gd name="T34" fmla="*/ 325 w 512"/>
                <a:gd name="T35" fmla="*/ 247 h 512"/>
                <a:gd name="T36" fmla="*/ 323 w 512"/>
                <a:gd name="T37" fmla="*/ 247 h 512"/>
                <a:gd name="T38" fmla="*/ 198 w 512"/>
                <a:gd name="T39" fmla="*/ 221 h 512"/>
                <a:gd name="T40" fmla="*/ 190 w 512"/>
                <a:gd name="T41" fmla="*/ 209 h 512"/>
                <a:gd name="T42" fmla="*/ 193 w 512"/>
                <a:gd name="T43" fmla="*/ 254 h 512"/>
                <a:gd name="T44" fmla="*/ 321 w 512"/>
                <a:gd name="T45" fmla="*/ 266 h 512"/>
                <a:gd name="T46" fmla="*/ 330 w 512"/>
                <a:gd name="T47" fmla="*/ 278 h 512"/>
                <a:gd name="T48" fmla="*/ 320 w 512"/>
                <a:gd name="T49" fmla="*/ 288 h 512"/>
                <a:gd name="T50" fmla="*/ 319 w 512"/>
                <a:gd name="T51" fmla="*/ 288 h 512"/>
                <a:gd name="T52" fmla="*/ 191 w 512"/>
                <a:gd name="T53" fmla="*/ 275 h 512"/>
                <a:gd name="T54" fmla="*/ 182 w 512"/>
                <a:gd name="T55" fmla="*/ 263 h 512"/>
                <a:gd name="T56" fmla="*/ 193 w 512"/>
                <a:gd name="T57" fmla="*/ 254 h 512"/>
                <a:gd name="T58" fmla="*/ 192 w 512"/>
                <a:gd name="T59" fmla="*/ 309 h 512"/>
                <a:gd name="T60" fmla="*/ 320 w 512"/>
                <a:gd name="T61" fmla="*/ 309 h 512"/>
                <a:gd name="T62" fmla="*/ 330 w 512"/>
                <a:gd name="T63" fmla="*/ 320 h 512"/>
                <a:gd name="T64" fmla="*/ 320 w 512"/>
                <a:gd name="T65" fmla="*/ 330 h 512"/>
                <a:gd name="T66" fmla="*/ 192 w 512"/>
                <a:gd name="T67" fmla="*/ 330 h 512"/>
                <a:gd name="T68" fmla="*/ 181 w 512"/>
                <a:gd name="T69" fmla="*/ 320 h 512"/>
                <a:gd name="T70" fmla="*/ 192 w 512"/>
                <a:gd name="T71" fmla="*/ 309 h 512"/>
                <a:gd name="T72" fmla="*/ 373 w 512"/>
                <a:gd name="T73" fmla="*/ 362 h 512"/>
                <a:gd name="T74" fmla="*/ 362 w 512"/>
                <a:gd name="T75" fmla="*/ 373 h 512"/>
                <a:gd name="T76" fmla="*/ 149 w 512"/>
                <a:gd name="T77" fmla="*/ 373 h 512"/>
                <a:gd name="T78" fmla="*/ 138 w 512"/>
                <a:gd name="T79" fmla="*/ 362 h 512"/>
                <a:gd name="T80" fmla="*/ 138 w 512"/>
                <a:gd name="T81" fmla="*/ 298 h 512"/>
                <a:gd name="T82" fmla="*/ 149 w 512"/>
                <a:gd name="T83" fmla="*/ 288 h 512"/>
                <a:gd name="T84" fmla="*/ 160 w 512"/>
                <a:gd name="T85" fmla="*/ 298 h 512"/>
                <a:gd name="T86" fmla="*/ 160 w 512"/>
                <a:gd name="T87" fmla="*/ 352 h 512"/>
                <a:gd name="T88" fmla="*/ 352 w 512"/>
                <a:gd name="T89" fmla="*/ 352 h 512"/>
                <a:gd name="T90" fmla="*/ 352 w 512"/>
                <a:gd name="T91" fmla="*/ 298 h 512"/>
                <a:gd name="T92" fmla="*/ 362 w 512"/>
                <a:gd name="T93" fmla="*/ 288 h 512"/>
                <a:gd name="T94" fmla="*/ 373 w 512"/>
                <a:gd name="T95" fmla="*/ 298 h 512"/>
                <a:gd name="T96" fmla="*/ 373 w 512"/>
                <a:gd name="T97" fmla="*/ 36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06" y="152"/>
                  </a:moveTo>
                  <a:cubicBezTo>
                    <a:pt x="208" y="146"/>
                    <a:pt x="214" y="143"/>
                    <a:pt x="220" y="145"/>
                  </a:cubicBezTo>
                  <a:cubicBezTo>
                    <a:pt x="340" y="189"/>
                    <a:pt x="340" y="189"/>
                    <a:pt x="340" y="189"/>
                  </a:cubicBezTo>
                  <a:cubicBezTo>
                    <a:pt x="346" y="191"/>
                    <a:pt x="349" y="197"/>
                    <a:pt x="347" y="202"/>
                  </a:cubicBezTo>
                  <a:cubicBezTo>
                    <a:pt x="345" y="207"/>
                    <a:pt x="341" y="209"/>
                    <a:pt x="337" y="209"/>
                  </a:cubicBezTo>
                  <a:cubicBezTo>
                    <a:pt x="336" y="209"/>
                    <a:pt x="334" y="209"/>
                    <a:pt x="333" y="209"/>
                  </a:cubicBezTo>
                  <a:cubicBezTo>
                    <a:pt x="213" y="166"/>
                    <a:pt x="213" y="166"/>
                    <a:pt x="213" y="166"/>
                  </a:cubicBezTo>
                  <a:cubicBezTo>
                    <a:pt x="207" y="164"/>
                    <a:pt x="204" y="157"/>
                    <a:pt x="206" y="152"/>
                  </a:cubicBezTo>
                  <a:close/>
                  <a:moveTo>
                    <a:pt x="190" y="209"/>
                  </a:moveTo>
                  <a:cubicBezTo>
                    <a:pt x="191" y="203"/>
                    <a:pt x="196" y="199"/>
                    <a:pt x="202" y="201"/>
                  </a:cubicBezTo>
                  <a:cubicBezTo>
                    <a:pt x="328" y="226"/>
                    <a:pt x="328" y="226"/>
                    <a:pt x="328" y="226"/>
                  </a:cubicBezTo>
                  <a:cubicBezTo>
                    <a:pt x="333" y="227"/>
                    <a:pt x="337" y="233"/>
                    <a:pt x="336" y="239"/>
                  </a:cubicBezTo>
                  <a:cubicBezTo>
                    <a:pt x="335" y="244"/>
                    <a:pt x="330" y="247"/>
                    <a:pt x="325" y="247"/>
                  </a:cubicBezTo>
                  <a:cubicBezTo>
                    <a:pt x="325" y="247"/>
                    <a:pt x="324" y="247"/>
                    <a:pt x="323" y="247"/>
                  </a:cubicBezTo>
                  <a:cubicBezTo>
                    <a:pt x="198" y="221"/>
                    <a:pt x="198" y="221"/>
                    <a:pt x="198" y="221"/>
                  </a:cubicBezTo>
                  <a:cubicBezTo>
                    <a:pt x="192" y="220"/>
                    <a:pt x="188" y="215"/>
                    <a:pt x="190" y="209"/>
                  </a:cubicBezTo>
                  <a:close/>
                  <a:moveTo>
                    <a:pt x="193" y="254"/>
                  </a:moveTo>
                  <a:cubicBezTo>
                    <a:pt x="321" y="266"/>
                    <a:pt x="321" y="266"/>
                    <a:pt x="321" y="266"/>
                  </a:cubicBezTo>
                  <a:cubicBezTo>
                    <a:pt x="327" y="267"/>
                    <a:pt x="331" y="272"/>
                    <a:pt x="330" y="278"/>
                  </a:cubicBezTo>
                  <a:cubicBezTo>
                    <a:pt x="330" y="284"/>
                    <a:pt x="325" y="288"/>
                    <a:pt x="320" y="288"/>
                  </a:cubicBezTo>
                  <a:cubicBezTo>
                    <a:pt x="319" y="288"/>
                    <a:pt x="319" y="288"/>
                    <a:pt x="319" y="288"/>
                  </a:cubicBezTo>
                  <a:cubicBezTo>
                    <a:pt x="191" y="275"/>
                    <a:pt x="191" y="275"/>
                    <a:pt x="191" y="275"/>
                  </a:cubicBezTo>
                  <a:cubicBezTo>
                    <a:pt x="185" y="274"/>
                    <a:pt x="181" y="269"/>
                    <a:pt x="182" y="263"/>
                  </a:cubicBezTo>
                  <a:cubicBezTo>
                    <a:pt x="182" y="257"/>
                    <a:pt x="187" y="253"/>
                    <a:pt x="193" y="254"/>
                  </a:cubicBezTo>
                  <a:close/>
                  <a:moveTo>
                    <a:pt x="192" y="309"/>
                  </a:moveTo>
                  <a:cubicBezTo>
                    <a:pt x="320" y="309"/>
                    <a:pt x="320" y="309"/>
                    <a:pt x="320" y="309"/>
                  </a:cubicBezTo>
                  <a:cubicBezTo>
                    <a:pt x="326" y="309"/>
                    <a:pt x="330" y="314"/>
                    <a:pt x="330" y="320"/>
                  </a:cubicBezTo>
                  <a:cubicBezTo>
                    <a:pt x="330" y="326"/>
                    <a:pt x="326" y="330"/>
                    <a:pt x="320" y="330"/>
                  </a:cubicBezTo>
                  <a:cubicBezTo>
                    <a:pt x="192" y="330"/>
                    <a:pt x="192" y="330"/>
                    <a:pt x="192" y="330"/>
                  </a:cubicBezTo>
                  <a:cubicBezTo>
                    <a:pt x="186" y="330"/>
                    <a:pt x="181" y="326"/>
                    <a:pt x="181" y="320"/>
                  </a:cubicBezTo>
                  <a:cubicBezTo>
                    <a:pt x="181" y="314"/>
                    <a:pt x="186" y="309"/>
                    <a:pt x="192" y="309"/>
                  </a:cubicBezTo>
                  <a:close/>
                  <a:moveTo>
                    <a:pt x="373" y="362"/>
                  </a:moveTo>
                  <a:cubicBezTo>
                    <a:pt x="373" y="368"/>
                    <a:pt x="368" y="373"/>
                    <a:pt x="362" y="373"/>
                  </a:cubicBezTo>
                  <a:cubicBezTo>
                    <a:pt x="149" y="373"/>
                    <a:pt x="149" y="373"/>
                    <a:pt x="149" y="373"/>
                  </a:cubicBezTo>
                  <a:cubicBezTo>
                    <a:pt x="143" y="373"/>
                    <a:pt x="138" y="368"/>
                    <a:pt x="138" y="362"/>
                  </a:cubicBezTo>
                  <a:cubicBezTo>
                    <a:pt x="138" y="298"/>
                    <a:pt x="138" y="298"/>
                    <a:pt x="138" y="298"/>
                  </a:cubicBezTo>
                  <a:cubicBezTo>
                    <a:pt x="138" y="292"/>
                    <a:pt x="143" y="288"/>
                    <a:pt x="149" y="288"/>
                  </a:cubicBezTo>
                  <a:cubicBezTo>
                    <a:pt x="155" y="288"/>
                    <a:pt x="160" y="292"/>
                    <a:pt x="160" y="298"/>
                  </a:cubicBezTo>
                  <a:cubicBezTo>
                    <a:pt x="160" y="352"/>
                    <a:pt x="160" y="352"/>
                    <a:pt x="160" y="352"/>
                  </a:cubicBezTo>
                  <a:cubicBezTo>
                    <a:pt x="352" y="352"/>
                    <a:pt x="352" y="352"/>
                    <a:pt x="352" y="352"/>
                  </a:cubicBezTo>
                  <a:cubicBezTo>
                    <a:pt x="352" y="298"/>
                    <a:pt x="352" y="298"/>
                    <a:pt x="352" y="298"/>
                  </a:cubicBezTo>
                  <a:cubicBezTo>
                    <a:pt x="352" y="292"/>
                    <a:pt x="356" y="288"/>
                    <a:pt x="362" y="288"/>
                  </a:cubicBezTo>
                  <a:cubicBezTo>
                    <a:pt x="368" y="288"/>
                    <a:pt x="373" y="292"/>
                    <a:pt x="373" y="298"/>
                  </a:cubicBezTo>
                  <a:lnTo>
                    <a:pt x="373" y="362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4" name="Rectangle 23"/>
          <p:cNvSpPr/>
          <p:nvPr/>
        </p:nvSpPr>
        <p:spPr>
          <a:xfrm>
            <a:off x="1173163" y="1062467"/>
            <a:ext cx="83883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Il </a:t>
            </a:r>
            <a:r>
              <a:rPr 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rocesso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di </a:t>
            </a:r>
            <a:r>
              <a:rPr 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emissione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della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fattura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elettronica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revede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seguenti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unti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chiave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778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43</a:t>
            </a:fld>
            <a:endParaRPr lang="it-IT" altLang="it-IT" dirty="0"/>
          </a:p>
        </p:txBody>
      </p:sp>
      <p:sp>
        <p:nvSpPr>
          <p:cNvPr id="58" name="Rectangle 4"/>
          <p:cNvSpPr>
            <a:spLocks noChangeArrowheads="1"/>
          </p:cNvSpPr>
          <p:nvPr/>
        </p:nvSpPr>
        <p:spPr bwMode="auto">
          <a:xfrm>
            <a:off x="1235895" y="131817"/>
            <a:ext cx="8325617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it-IT" altLang="it-IT" sz="28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Focus Fattura </a:t>
            </a:r>
            <a:r>
              <a:rPr lang="it-IT" altLang="it-IT" sz="2800" b="1" dirty="0">
                <a:solidFill>
                  <a:schemeClr val="bg1"/>
                </a:solidFill>
                <a:latin typeface="Calibri" panose="020F0502020204030204" pitchFamily="34" charset="0"/>
              </a:rPr>
              <a:t>E</a:t>
            </a:r>
            <a:r>
              <a:rPr lang="it-IT" altLang="it-IT" sz="28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lettronica (2/2)</a:t>
            </a:r>
            <a:endParaRPr lang="it-IT" altLang="it-IT" sz="1600" b="1" dirty="0">
              <a:solidFill>
                <a:srgbClr val="006600"/>
              </a:solidFill>
              <a:latin typeface="Calibri" panose="020F050202020403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981197" y="1506919"/>
            <a:ext cx="77390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fontAlgn="auto">
              <a:spcAft>
                <a:spcPts val="600"/>
              </a:spcAft>
              <a:defRPr/>
            </a:pP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i casi di 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possibilità di recapito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iene inviata la relativa 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cevuta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l mittente</a:t>
            </a:r>
            <a:endParaRPr lang="it-IT" sz="1800" b="1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981197" y="2374428"/>
            <a:ext cx="773906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l caso in cui la FE 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 fosse recapitabile 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 ricevente, verrà resa 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ponibile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ell'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ea riservata </a:t>
            </a:r>
            <a:r>
              <a:rPr lang="it-IT" sz="1800" b="1" dirty="0" err="1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E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; il mittente è tenuto a comunicare che la FE è a disposizione anche mediante la consegna di una 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ia cartacea</a:t>
            </a:r>
            <a:endParaRPr lang="en-US" sz="1800" b="1" dirty="0"/>
          </a:p>
        </p:txBody>
      </p:sp>
      <p:sp>
        <p:nvSpPr>
          <p:cNvPr id="8" name="Rectangle 7"/>
          <p:cNvSpPr/>
          <p:nvPr/>
        </p:nvSpPr>
        <p:spPr>
          <a:xfrm>
            <a:off x="1981199" y="3463737"/>
            <a:ext cx="773906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l momento di invio al </a:t>
            </a:r>
            <a:r>
              <a:rPr lang="it-IT" sz="1800" dirty="0" err="1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dI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di superamento dei controlli e recapito / messa a disposizione della fattura elettronica non è sincrono: i 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mpi di elaborazione 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 parte del </a:t>
            </a:r>
            <a:r>
              <a:rPr lang="it-IT" sz="1800" dirty="0" err="1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dI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ossono variare da 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chi minuti sino a 5 </a:t>
            </a:r>
            <a:r>
              <a:rPr lang="it-IT" sz="1800" b="1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orni</a:t>
            </a:r>
            <a:endParaRPr lang="en-US" sz="1800" dirty="0"/>
          </a:p>
        </p:txBody>
      </p:sp>
      <p:sp>
        <p:nvSpPr>
          <p:cNvPr id="9" name="Rectangle 8"/>
          <p:cNvSpPr/>
          <p:nvPr/>
        </p:nvSpPr>
        <p:spPr>
          <a:xfrm>
            <a:off x="1981197" y="4597214"/>
            <a:ext cx="773906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 err="1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E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ette a disposizione un servizio di 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ultazione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i file transitati dal </a:t>
            </a:r>
            <a:r>
              <a:rPr lang="it-IT" sz="1800" dirty="0" err="1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dI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ediante il quale è possibile anche effettuare il 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wnload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tale servizio è riservato esclusivamente al titolare dei dati e ad un 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mediario</a:t>
            </a:r>
            <a:endParaRPr lang="en-US" sz="1800" dirty="0"/>
          </a:p>
        </p:txBody>
      </p:sp>
      <p:sp>
        <p:nvSpPr>
          <p:cNvPr id="100" name="TextBox 99"/>
          <p:cNvSpPr txBox="1"/>
          <p:nvPr/>
        </p:nvSpPr>
        <p:spPr>
          <a:xfrm>
            <a:off x="927795" y="1241585"/>
            <a:ext cx="900000" cy="90000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it-IT"/>
            </a:defPPr>
            <a:lvl1pPr>
              <a:defRPr sz="1200">
                <a:latin typeface="Calibri" panose="020F0502020204030204" pitchFamily="34" charset="0"/>
              </a:defRPr>
            </a:lvl1pPr>
          </a:lstStyle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927795" y="2360128"/>
            <a:ext cx="900000" cy="900000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it-IT"/>
            </a:defPPr>
            <a:lvl1pPr>
              <a:defRPr sz="1200">
                <a:latin typeface="Calibri" panose="020F0502020204030204" pitchFamily="34" charset="0"/>
              </a:defRPr>
            </a:lvl1pPr>
          </a:lstStyle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927795" y="3478671"/>
            <a:ext cx="900000" cy="900000"/>
          </a:xfrm>
          <a:prstGeom prst="roundRect">
            <a:avLst/>
          </a:prstGeom>
          <a:noFill/>
          <a:ln>
            <a:solidFill>
              <a:srgbClr val="007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it-IT"/>
            </a:defPPr>
            <a:lvl1pPr>
              <a:defRPr sz="1200">
                <a:latin typeface="Calibri" panose="020F0502020204030204" pitchFamily="34" charset="0"/>
              </a:defRPr>
            </a:lvl1pPr>
          </a:lstStyle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927795" y="4597214"/>
            <a:ext cx="900000" cy="900000"/>
          </a:xfrm>
          <a:prstGeom prst="round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it-IT"/>
            </a:defPPr>
            <a:lvl1pPr>
              <a:defRPr sz="1200">
                <a:latin typeface="Calibri" panose="020F0502020204030204" pitchFamily="34" charset="0"/>
              </a:defRPr>
            </a:lvl1pPr>
          </a:lstStyle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  <a:p>
            <a:pPr marL="85725" eaLnBrk="1" hangingPunct="1">
              <a:defRPr/>
            </a:pPr>
            <a:endParaRPr lang="it-IT" sz="1292" dirty="0">
              <a:solidFill>
                <a:srgbClr val="FFC000"/>
              </a:solidFill>
            </a:endParaRPr>
          </a:p>
        </p:txBody>
      </p:sp>
      <p:sp>
        <p:nvSpPr>
          <p:cNvPr id="22" name="Freeform 747"/>
          <p:cNvSpPr>
            <a:spLocks noChangeAspect="1" noEditPoints="1"/>
          </p:cNvSpPr>
          <p:nvPr/>
        </p:nvSpPr>
        <p:spPr bwMode="auto">
          <a:xfrm>
            <a:off x="1096872" y="1421585"/>
            <a:ext cx="538417" cy="540000"/>
          </a:xfrm>
          <a:custGeom>
            <a:avLst/>
            <a:gdLst>
              <a:gd name="T0" fmla="*/ 373 w 512"/>
              <a:gd name="T1" fmla="*/ 288 h 512"/>
              <a:gd name="T2" fmla="*/ 349 w 512"/>
              <a:gd name="T3" fmla="*/ 361 h 512"/>
              <a:gd name="T4" fmla="*/ 352 w 512"/>
              <a:gd name="T5" fmla="*/ 342 h 512"/>
              <a:gd name="T6" fmla="*/ 261 w 512"/>
              <a:gd name="T7" fmla="*/ 246 h 512"/>
              <a:gd name="T8" fmla="*/ 245 w 512"/>
              <a:gd name="T9" fmla="*/ 246 h 512"/>
              <a:gd name="T10" fmla="*/ 235 w 512"/>
              <a:gd name="T11" fmla="*/ 256 h 512"/>
              <a:gd name="T12" fmla="*/ 235 w 512"/>
              <a:gd name="T13" fmla="*/ 295 h 512"/>
              <a:gd name="T14" fmla="*/ 154 w 512"/>
              <a:gd name="T15" fmla="*/ 214 h 512"/>
              <a:gd name="T16" fmla="*/ 235 w 512"/>
              <a:gd name="T17" fmla="*/ 133 h 512"/>
              <a:gd name="T18" fmla="*/ 235 w 512"/>
              <a:gd name="T19" fmla="*/ 160 h 512"/>
              <a:gd name="T20" fmla="*/ 245 w 512"/>
              <a:gd name="T21" fmla="*/ 171 h 512"/>
              <a:gd name="T22" fmla="*/ 256 w 512"/>
              <a:gd name="T23" fmla="*/ 171 h 512"/>
              <a:gd name="T24" fmla="*/ 373 w 512"/>
              <a:gd name="T25" fmla="*/ 288 h 512"/>
              <a:gd name="T26" fmla="*/ 512 w 512"/>
              <a:gd name="T27" fmla="*/ 256 h 512"/>
              <a:gd name="T28" fmla="*/ 256 w 512"/>
              <a:gd name="T29" fmla="*/ 512 h 512"/>
              <a:gd name="T30" fmla="*/ 0 w 512"/>
              <a:gd name="T31" fmla="*/ 256 h 512"/>
              <a:gd name="T32" fmla="*/ 256 w 512"/>
              <a:gd name="T33" fmla="*/ 0 h 512"/>
              <a:gd name="T34" fmla="*/ 512 w 512"/>
              <a:gd name="T35" fmla="*/ 256 h 512"/>
              <a:gd name="T36" fmla="*/ 395 w 512"/>
              <a:gd name="T37" fmla="*/ 288 h 512"/>
              <a:gd name="T38" fmla="*/ 256 w 512"/>
              <a:gd name="T39" fmla="*/ 150 h 512"/>
              <a:gd name="T40" fmla="*/ 256 w 512"/>
              <a:gd name="T41" fmla="*/ 107 h 512"/>
              <a:gd name="T42" fmla="*/ 249 w 512"/>
              <a:gd name="T43" fmla="*/ 97 h 512"/>
              <a:gd name="T44" fmla="*/ 238 w 512"/>
              <a:gd name="T45" fmla="*/ 99 h 512"/>
              <a:gd name="T46" fmla="*/ 131 w 512"/>
              <a:gd name="T47" fmla="*/ 206 h 512"/>
              <a:gd name="T48" fmla="*/ 131 w 512"/>
              <a:gd name="T49" fmla="*/ 221 h 512"/>
              <a:gd name="T50" fmla="*/ 238 w 512"/>
              <a:gd name="T51" fmla="*/ 328 h 512"/>
              <a:gd name="T52" fmla="*/ 249 w 512"/>
              <a:gd name="T53" fmla="*/ 330 h 512"/>
              <a:gd name="T54" fmla="*/ 256 w 512"/>
              <a:gd name="T55" fmla="*/ 320 h 512"/>
              <a:gd name="T56" fmla="*/ 256 w 512"/>
              <a:gd name="T57" fmla="*/ 267 h 512"/>
              <a:gd name="T58" fmla="*/ 261 w 512"/>
              <a:gd name="T59" fmla="*/ 267 h 512"/>
              <a:gd name="T60" fmla="*/ 330 w 512"/>
              <a:gd name="T61" fmla="*/ 342 h 512"/>
              <a:gd name="T62" fmla="*/ 303 w 512"/>
              <a:gd name="T63" fmla="*/ 397 h 512"/>
              <a:gd name="T64" fmla="*/ 300 w 512"/>
              <a:gd name="T65" fmla="*/ 411 h 512"/>
              <a:gd name="T66" fmla="*/ 309 w 512"/>
              <a:gd name="T67" fmla="*/ 416 h 512"/>
              <a:gd name="T68" fmla="*/ 314 w 512"/>
              <a:gd name="T69" fmla="*/ 415 h 512"/>
              <a:gd name="T70" fmla="*/ 395 w 512"/>
              <a:gd name="T71" fmla="*/ 28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2" h="512">
                <a:moveTo>
                  <a:pt x="373" y="288"/>
                </a:moveTo>
                <a:cubicBezTo>
                  <a:pt x="373" y="316"/>
                  <a:pt x="365" y="341"/>
                  <a:pt x="349" y="361"/>
                </a:cubicBezTo>
                <a:cubicBezTo>
                  <a:pt x="351" y="355"/>
                  <a:pt x="352" y="348"/>
                  <a:pt x="352" y="342"/>
                </a:cubicBezTo>
                <a:cubicBezTo>
                  <a:pt x="352" y="285"/>
                  <a:pt x="314" y="246"/>
                  <a:pt x="261" y="246"/>
                </a:cubicBezTo>
                <a:cubicBezTo>
                  <a:pt x="245" y="246"/>
                  <a:pt x="245" y="246"/>
                  <a:pt x="245" y="246"/>
                </a:cubicBezTo>
                <a:cubicBezTo>
                  <a:pt x="239" y="246"/>
                  <a:pt x="235" y="250"/>
                  <a:pt x="235" y="256"/>
                </a:cubicBezTo>
                <a:cubicBezTo>
                  <a:pt x="235" y="295"/>
                  <a:pt x="235" y="295"/>
                  <a:pt x="235" y="295"/>
                </a:cubicBezTo>
                <a:cubicBezTo>
                  <a:pt x="154" y="214"/>
                  <a:pt x="154" y="214"/>
                  <a:pt x="154" y="214"/>
                </a:cubicBezTo>
                <a:cubicBezTo>
                  <a:pt x="235" y="133"/>
                  <a:pt x="235" y="133"/>
                  <a:pt x="235" y="133"/>
                </a:cubicBezTo>
                <a:cubicBezTo>
                  <a:pt x="235" y="160"/>
                  <a:pt x="235" y="160"/>
                  <a:pt x="235" y="160"/>
                </a:cubicBezTo>
                <a:cubicBezTo>
                  <a:pt x="235" y="166"/>
                  <a:pt x="239" y="171"/>
                  <a:pt x="245" y="171"/>
                </a:cubicBezTo>
                <a:cubicBezTo>
                  <a:pt x="256" y="171"/>
                  <a:pt x="256" y="171"/>
                  <a:pt x="256" y="171"/>
                </a:cubicBezTo>
                <a:cubicBezTo>
                  <a:pt x="321" y="171"/>
                  <a:pt x="373" y="224"/>
                  <a:pt x="373" y="288"/>
                </a:cubicBez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395" y="288"/>
                </a:moveTo>
                <a:cubicBezTo>
                  <a:pt x="395" y="212"/>
                  <a:pt x="332" y="150"/>
                  <a:pt x="256" y="150"/>
                </a:cubicBezTo>
                <a:cubicBezTo>
                  <a:pt x="256" y="107"/>
                  <a:pt x="256" y="107"/>
                  <a:pt x="256" y="107"/>
                </a:cubicBezTo>
                <a:cubicBezTo>
                  <a:pt x="256" y="103"/>
                  <a:pt x="253" y="99"/>
                  <a:pt x="249" y="97"/>
                </a:cubicBezTo>
                <a:cubicBezTo>
                  <a:pt x="245" y="95"/>
                  <a:pt x="241" y="96"/>
                  <a:pt x="238" y="99"/>
                </a:cubicBezTo>
                <a:cubicBezTo>
                  <a:pt x="131" y="206"/>
                  <a:pt x="131" y="206"/>
                  <a:pt x="131" y="206"/>
                </a:cubicBezTo>
                <a:cubicBezTo>
                  <a:pt x="127" y="210"/>
                  <a:pt x="127" y="217"/>
                  <a:pt x="131" y="221"/>
                </a:cubicBezTo>
                <a:cubicBezTo>
                  <a:pt x="238" y="328"/>
                  <a:pt x="238" y="328"/>
                  <a:pt x="238" y="328"/>
                </a:cubicBezTo>
                <a:cubicBezTo>
                  <a:pt x="241" y="331"/>
                  <a:pt x="245" y="332"/>
                  <a:pt x="249" y="330"/>
                </a:cubicBezTo>
                <a:cubicBezTo>
                  <a:pt x="253" y="329"/>
                  <a:pt x="256" y="325"/>
                  <a:pt x="256" y="320"/>
                </a:cubicBezTo>
                <a:cubicBezTo>
                  <a:pt x="256" y="267"/>
                  <a:pt x="256" y="267"/>
                  <a:pt x="256" y="267"/>
                </a:cubicBezTo>
                <a:cubicBezTo>
                  <a:pt x="261" y="267"/>
                  <a:pt x="261" y="267"/>
                  <a:pt x="261" y="267"/>
                </a:cubicBezTo>
                <a:cubicBezTo>
                  <a:pt x="309" y="267"/>
                  <a:pt x="330" y="305"/>
                  <a:pt x="330" y="342"/>
                </a:cubicBezTo>
                <a:cubicBezTo>
                  <a:pt x="330" y="362"/>
                  <a:pt x="320" y="383"/>
                  <a:pt x="303" y="397"/>
                </a:cubicBezTo>
                <a:cubicBezTo>
                  <a:pt x="298" y="401"/>
                  <a:pt x="297" y="407"/>
                  <a:pt x="300" y="411"/>
                </a:cubicBezTo>
                <a:cubicBezTo>
                  <a:pt x="302" y="415"/>
                  <a:pt x="306" y="416"/>
                  <a:pt x="309" y="416"/>
                </a:cubicBezTo>
                <a:cubicBezTo>
                  <a:pt x="311" y="416"/>
                  <a:pt x="312" y="416"/>
                  <a:pt x="314" y="415"/>
                </a:cubicBezTo>
                <a:cubicBezTo>
                  <a:pt x="363" y="394"/>
                  <a:pt x="395" y="344"/>
                  <a:pt x="395" y="288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23" name="Group 91"/>
          <p:cNvGrpSpPr>
            <a:grpSpLocks noChangeAspect="1"/>
          </p:cNvGrpSpPr>
          <p:nvPr/>
        </p:nvGrpSpPr>
        <p:grpSpPr bwMode="auto">
          <a:xfrm>
            <a:off x="1107795" y="2540128"/>
            <a:ext cx="540000" cy="540000"/>
            <a:chOff x="5088" y="2680"/>
            <a:chExt cx="340" cy="340"/>
          </a:xfrm>
          <a:solidFill>
            <a:srgbClr val="FFC000"/>
          </a:solidFill>
        </p:grpSpPr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201" y="2807"/>
              <a:ext cx="85" cy="128"/>
            </a:xfrm>
            <a:custGeom>
              <a:avLst/>
              <a:gdLst>
                <a:gd name="T0" fmla="*/ 75 w 128"/>
                <a:gd name="T1" fmla="*/ 42 h 192"/>
                <a:gd name="T2" fmla="*/ 75 w 128"/>
                <a:gd name="T3" fmla="*/ 0 h 192"/>
                <a:gd name="T4" fmla="*/ 0 w 128"/>
                <a:gd name="T5" fmla="*/ 0 h 192"/>
                <a:gd name="T6" fmla="*/ 0 w 128"/>
                <a:gd name="T7" fmla="*/ 192 h 192"/>
                <a:gd name="T8" fmla="*/ 128 w 128"/>
                <a:gd name="T9" fmla="*/ 192 h 192"/>
                <a:gd name="T10" fmla="*/ 128 w 128"/>
                <a:gd name="T11" fmla="*/ 53 h 192"/>
                <a:gd name="T12" fmla="*/ 86 w 128"/>
                <a:gd name="T13" fmla="*/ 53 h 192"/>
                <a:gd name="T14" fmla="*/ 75 w 128"/>
                <a:gd name="T15" fmla="*/ 4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92">
                  <a:moveTo>
                    <a:pt x="75" y="42"/>
                  </a:moveTo>
                  <a:cubicBezTo>
                    <a:pt x="75" y="0"/>
                    <a:pt x="75" y="0"/>
                    <a:pt x="7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28" y="53"/>
                    <a:pt x="128" y="53"/>
                    <a:pt x="128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0" y="53"/>
                    <a:pt x="75" y="48"/>
                    <a:pt x="75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265" y="2817"/>
              <a:ext cx="12" cy="12"/>
            </a:xfrm>
            <a:custGeom>
              <a:avLst/>
              <a:gdLst>
                <a:gd name="T0" fmla="*/ 0 w 12"/>
                <a:gd name="T1" fmla="*/ 12 h 12"/>
                <a:gd name="T2" fmla="*/ 12 w 12"/>
                <a:gd name="T3" fmla="*/ 12 h 12"/>
                <a:gd name="T4" fmla="*/ 0 w 12"/>
                <a:gd name="T5" fmla="*/ 0 h 12"/>
                <a:gd name="T6" fmla="*/ 0 w 12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0" y="12"/>
                  </a:moveTo>
                  <a:lnTo>
                    <a:pt x="12" y="12"/>
                  </a:lnTo>
                  <a:lnTo>
                    <a:pt x="0" y="0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5314" y="2774"/>
              <a:ext cx="12" cy="12"/>
            </a:xfrm>
            <a:custGeom>
              <a:avLst/>
              <a:gdLst>
                <a:gd name="T0" fmla="*/ 0 w 12"/>
                <a:gd name="T1" fmla="*/ 0 h 12"/>
                <a:gd name="T2" fmla="*/ 0 w 12"/>
                <a:gd name="T3" fmla="*/ 12 h 12"/>
                <a:gd name="T4" fmla="*/ 12 w 12"/>
                <a:gd name="T5" fmla="*/ 12 h 12"/>
                <a:gd name="T6" fmla="*/ 0 w 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0" y="0"/>
                  </a:moveTo>
                  <a:lnTo>
                    <a:pt x="0" y="12"/>
                  </a:lnTo>
                  <a:lnTo>
                    <a:pt x="12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5251" y="2765"/>
              <a:ext cx="85" cy="127"/>
            </a:xfrm>
            <a:custGeom>
              <a:avLst/>
              <a:gdLst>
                <a:gd name="T0" fmla="*/ 75 w 128"/>
                <a:gd name="T1" fmla="*/ 42 h 192"/>
                <a:gd name="T2" fmla="*/ 75 w 128"/>
                <a:gd name="T3" fmla="*/ 0 h 192"/>
                <a:gd name="T4" fmla="*/ 0 w 128"/>
                <a:gd name="T5" fmla="*/ 0 h 192"/>
                <a:gd name="T6" fmla="*/ 0 w 128"/>
                <a:gd name="T7" fmla="*/ 42 h 192"/>
                <a:gd name="T8" fmla="*/ 12 w 128"/>
                <a:gd name="T9" fmla="*/ 42 h 192"/>
                <a:gd name="T10" fmla="*/ 19 w 128"/>
                <a:gd name="T11" fmla="*/ 45 h 192"/>
                <a:gd name="T12" fmla="*/ 71 w 128"/>
                <a:gd name="T13" fmla="*/ 98 h 192"/>
                <a:gd name="T14" fmla="*/ 73 w 128"/>
                <a:gd name="T15" fmla="*/ 101 h 192"/>
                <a:gd name="T16" fmla="*/ 75 w 128"/>
                <a:gd name="T17" fmla="*/ 106 h 192"/>
                <a:gd name="T18" fmla="*/ 75 w 128"/>
                <a:gd name="T19" fmla="*/ 192 h 192"/>
                <a:gd name="T20" fmla="*/ 128 w 128"/>
                <a:gd name="T21" fmla="*/ 192 h 192"/>
                <a:gd name="T22" fmla="*/ 128 w 128"/>
                <a:gd name="T23" fmla="*/ 53 h 192"/>
                <a:gd name="T24" fmla="*/ 85 w 128"/>
                <a:gd name="T25" fmla="*/ 53 h 192"/>
                <a:gd name="T26" fmla="*/ 75 w 128"/>
                <a:gd name="T27" fmla="*/ 4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" h="192">
                  <a:moveTo>
                    <a:pt x="75" y="42"/>
                  </a:moveTo>
                  <a:cubicBezTo>
                    <a:pt x="75" y="0"/>
                    <a:pt x="75" y="0"/>
                    <a:pt x="7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5" y="42"/>
                    <a:pt x="17" y="43"/>
                    <a:pt x="19" y="45"/>
                  </a:cubicBezTo>
                  <a:cubicBezTo>
                    <a:pt x="71" y="98"/>
                    <a:pt x="71" y="98"/>
                    <a:pt x="71" y="98"/>
                  </a:cubicBezTo>
                  <a:cubicBezTo>
                    <a:pt x="72" y="99"/>
                    <a:pt x="73" y="100"/>
                    <a:pt x="73" y="101"/>
                  </a:cubicBezTo>
                  <a:cubicBezTo>
                    <a:pt x="74" y="103"/>
                    <a:pt x="75" y="104"/>
                    <a:pt x="75" y="106"/>
                  </a:cubicBezTo>
                  <a:cubicBezTo>
                    <a:pt x="75" y="192"/>
                    <a:pt x="75" y="192"/>
                    <a:pt x="75" y="192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28" y="53"/>
                    <a:pt x="128" y="53"/>
                    <a:pt x="128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79" y="53"/>
                    <a:pt x="75" y="48"/>
                    <a:pt x="75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8"/>
            <p:cNvSpPr>
              <a:spLocks noEditPoints="1"/>
            </p:cNvSpPr>
            <p:nvPr/>
          </p:nvSpPr>
          <p:spPr bwMode="auto">
            <a:xfrm>
              <a:off x="5088" y="2680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94 w 512"/>
                <a:gd name="T11" fmla="*/ 330 h 512"/>
                <a:gd name="T12" fmla="*/ 384 w 512"/>
                <a:gd name="T13" fmla="*/ 341 h 512"/>
                <a:gd name="T14" fmla="*/ 320 w 512"/>
                <a:gd name="T15" fmla="*/ 341 h 512"/>
                <a:gd name="T16" fmla="*/ 320 w 512"/>
                <a:gd name="T17" fmla="*/ 394 h 512"/>
                <a:gd name="T18" fmla="*/ 309 w 512"/>
                <a:gd name="T19" fmla="*/ 405 h 512"/>
                <a:gd name="T20" fmla="*/ 160 w 512"/>
                <a:gd name="T21" fmla="*/ 405 h 512"/>
                <a:gd name="T22" fmla="*/ 149 w 512"/>
                <a:gd name="T23" fmla="*/ 394 h 512"/>
                <a:gd name="T24" fmla="*/ 149 w 512"/>
                <a:gd name="T25" fmla="*/ 181 h 512"/>
                <a:gd name="T26" fmla="*/ 160 w 512"/>
                <a:gd name="T27" fmla="*/ 170 h 512"/>
                <a:gd name="T28" fmla="*/ 224 w 512"/>
                <a:gd name="T29" fmla="*/ 170 h 512"/>
                <a:gd name="T30" fmla="*/ 224 w 512"/>
                <a:gd name="T31" fmla="*/ 117 h 512"/>
                <a:gd name="T32" fmla="*/ 234 w 512"/>
                <a:gd name="T33" fmla="*/ 106 h 512"/>
                <a:gd name="T34" fmla="*/ 331 w 512"/>
                <a:gd name="T35" fmla="*/ 106 h 512"/>
                <a:gd name="T36" fmla="*/ 339 w 512"/>
                <a:gd name="T37" fmla="*/ 109 h 512"/>
                <a:gd name="T38" fmla="*/ 391 w 512"/>
                <a:gd name="T39" fmla="*/ 162 h 512"/>
                <a:gd name="T40" fmla="*/ 393 w 512"/>
                <a:gd name="T41" fmla="*/ 166 h 512"/>
                <a:gd name="T42" fmla="*/ 394 w 512"/>
                <a:gd name="T43" fmla="*/ 170 h 512"/>
                <a:gd name="T44" fmla="*/ 394 w 512"/>
                <a:gd name="T45" fmla="*/ 33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94" y="330"/>
                  </a:moveTo>
                  <a:cubicBezTo>
                    <a:pt x="394" y="336"/>
                    <a:pt x="390" y="341"/>
                    <a:pt x="384" y="341"/>
                  </a:cubicBezTo>
                  <a:cubicBezTo>
                    <a:pt x="320" y="341"/>
                    <a:pt x="320" y="341"/>
                    <a:pt x="320" y="341"/>
                  </a:cubicBezTo>
                  <a:cubicBezTo>
                    <a:pt x="320" y="394"/>
                    <a:pt x="320" y="394"/>
                    <a:pt x="320" y="394"/>
                  </a:cubicBezTo>
                  <a:cubicBezTo>
                    <a:pt x="320" y="400"/>
                    <a:pt x="315" y="405"/>
                    <a:pt x="309" y="405"/>
                  </a:cubicBezTo>
                  <a:cubicBezTo>
                    <a:pt x="160" y="405"/>
                    <a:pt x="160" y="405"/>
                    <a:pt x="160" y="405"/>
                  </a:cubicBezTo>
                  <a:cubicBezTo>
                    <a:pt x="154" y="405"/>
                    <a:pt x="149" y="400"/>
                    <a:pt x="149" y="394"/>
                  </a:cubicBezTo>
                  <a:cubicBezTo>
                    <a:pt x="149" y="181"/>
                    <a:pt x="149" y="181"/>
                    <a:pt x="149" y="181"/>
                  </a:cubicBezTo>
                  <a:cubicBezTo>
                    <a:pt x="149" y="175"/>
                    <a:pt x="154" y="170"/>
                    <a:pt x="160" y="170"/>
                  </a:cubicBezTo>
                  <a:cubicBezTo>
                    <a:pt x="224" y="170"/>
                    <a:pt x="224" y="170"/>
                    <a:pt x="224" y="170"/>
                  </a:cubicBezTo>
                  <a:cubicBezTo>
                    <a:pt x="224" y="117"/>
                    <a:pt x="224" y="117"/>
                    <a:pt x="224" y="117"/>
                  </a:cubicBezTo>
                  <a:cubicBezTo>
                    <a:pt x="224" y="111"/>
                    <a:pt x="228" y="106"/>
                    <a:pt x="234" y="106"/>
                  </a:cubicBezTo>
                  <a:cubicBezTo>
                    <a:pt x="331" y="106"/>
                    <a:pt x="331" y="106"/>
                    <a:pt x="331" y="106"/>
                  </a:cubicBezTo>
                  <a:cubicBezTo>
                    <a:pt x="334" y="106"/>
                    <a:pt x="337" y="107"/>
                    <a:pt x="339" y="109"/>
                  </a:cubicBezTo>
                  <a:cubicBezTo>
                    <a:pt x="391" y="162"/>
                    <a:pt x="391" y="162"/>
                    <a:pt x="391" y="162"/>
                  </a:cubicBezTo>
                  <a:cubicBezTo>
                    <a:pt x="392" y="163"/>
                    <a:pt x="393" y="164"/>
                    <a:pt x="393" y="166"/>
                  </a:cubicBezTo>
                  <a:cubicBezTo>
                    <a:pt x="394" y="167"/>
                    <a:pt x="394" y="169"/>
                    <a:pt x="394" y="170"/>
                  </a:cubicBezTo>
                  <a:lnTo>
                    <a:pt x="394" y="3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0" name="Freeform 988"/>
          <p:cNvSpPr>
            <a:spLocks noChangeAspect="1" noEditPoints="1"/>
          </p:cNvSpPr>
          <p:nvPr/>
        </p:nvSpPr>
        <p:spPr bwMode="auto">
          <a:xfrm>
            <a:off x="1107795" y="3655402"/>
            <a:ext cx="540000" cy="540000"/>
          </a:xfrm>
          <a:custGeom>
            <a:avLst/>
            <a:gdLst>
              <a:gd name="T0" fmla="*/ 256 w 512"/>
              <a:gd name="T1" fmla="*/ 117 h 512"/>
              <a:gd name="T2" fmla="*/ 117 w 512"/>
              <a:gd name="T3" fmla="*/ 256 h 512"/>
              <a:gd name="T4" fmla="*/ 256 w 512"/>
              <a:gd name="T5" fmla="*/ 394 h 512"/>
              <a:gd name="T6" fmla="*/ 394 w 512"/>
              <a:gd name="T7" fmla="*/ 256 h 512"/>
              <a:gd name="T8" fmla="*/ 256 w 512"/>
              <a:gd name="T9" fmla="*/ 117 h 512"/>
              <a:gd name="T10" fmla="*/ 245 w 512"/>
              <a:gd name="T11" fmla="*/ 149 h 512"/>
              <a:gd name="T12" fmla="*/ 256 w 512"/>
              <a:gd name="T13" fmla="*/ 138 h 512"/>
              <a:gd name="T14" fmla="*/ 266 w 512"/>
              <a:gd name="T15" fmla="*/ 149 h 512"/>
              <a:gd name="T16" fmla="*/ 266 w 512"/>
              <a:gd name="T17" fmla="*/ 160 h 512"/>
              <a:gd name="T18" fmla="*/ 256 w 512"/>
              <a:gd name="T19" fmla="*/ 170 h 512"/>
              <a:gd name="T20" fmla="*/ 245 w 512"/>
              <a:gd name="T21" fmla="*/ 160 h 512"/>
              <a:gd name="T22" fmla="*/ 245 w 512"/>
              <a:gd name="T23" fmla="*/ 149 h 512"/>
              <a:gd name="T24" fmla="*/ 160 w 512"/>
              <a:gd name="T25" fmla="*/ 266 h 512"/>
              <a:gd name="T26" fmla="*/ 149 w 512"/>
              <a:gd name="T27" fmla="*/ 266 h 512"/>
              <a:gd name="T28" fmla="*/ 138 w 512"/>
              <a:gd name="T29" fmla="*/ 256 h 512"/>
              <a:gd name="T30" fmla="*/ 149 w 512"/>
              <a:gd name="T31" fmla="*/ 245 h 512"/>
              <a:gd name="T32" fmla="*/ 160 w 512"/>
              <a:gd name="T33" fmla="*/ 245 h 512"/>
              <a:gd name="T34" fmla="*/ 170 w 512"/>
              <a:gd name="T35" fmla="*/ 256 h 512"/>
              <a:gd name="T36" fmla="*/ 160 w 512"/>
              <a:gd name="T37" fmla="*/ 266 h 512"/>
              <a:gd name="T38" fmla="*/ 266 w 512"/>
              <a:gd name="T39" fmla="*/ 362 h 512"/>
              <a:gd name="T40" fmla="*/ 256 w 512"/>
              <a:gd name="T41" fmla="*/ 373 h 512"/>
              <a:gd name="T42" fmla="*/ 245 w 512"/>
              <a:gd name="T43" fmla="*/ 362 h 512"/>
              <a:gd name="T44" fmla="*/ 245 w 512"/>
              <a:gd name="T45" fmla="*/ 352 h 512"/>
              <a:gd name="T46" fmla="*/ 256 w 512"/>
              <a:gd name="T47" fmla="*/ 341 h 512"/>
              <a:gd name="T48" fmla="*/ 266 w 512"/>
              <a:gd name="T49" fmla="*/ 352 h 512"/>
              <a:gd name="T50" fmla="*/ 266 w 512"/>
              <a:gd name="T51" fmla="*/ 362 h 512"/>
              <a:gd name="T52" fmla="*/ 306 w 512"/>
              <a:gd name="T53" fmla="*/ 231 h 512"/>
              <a:gd name="T54" fmla="*/ 263 w 512"/>
              <a:gd name="T55" fmla="*/ 274 h 512"/>
              <a:gd name="T56" fmla="*/ 256 w 512"/>
              <a:gd name="T57" fmla="*/ 277 h 512"/>
              <a:gd name="T58" fmla="*/ 248 w 512"/>
              <a:gd name="T59" fmla="*/ 274 h 512"/>
              <a:gd name="T60" fmla="*/ 173 w 512"/>
              <a:gd name="T61" fmla="*/ 199 h 512"/>
              <a:gd name="T62" fmla="*/ 173 w 512"/>
              <a:gd name="T63" fmla="*/ 184 h 512"/>
              <a:gd name="T64" fmla="*/ 189 w 512"/>
              <a:gd name="T65" fmla="*/ 184 h 512"/>
              <a:gd name="T66" fmla="*/ 256 w 512"/>
              <a:gd name="T67" fmla="*/ 251 h 512"/>
              <a:gd name="T68" fmla="*/ 291 w 512"/>
              <a:gd name="T69" fmla="*/ 216 h 512"/>
              <a:gd name="T70" fmla="*/ 306 w 512"/>
              <a:gd name="T71" fmla="*/ 216 h 512"/>
              <a:gd name="T72" fmla="*/ 306 w 512"/>
              <a:gd name="T73" fmla="*/ 231 h 512"/>
              <a:gd name="T74" fmla="*/ 373 w 512"/>
              <a:gd name="T75" fmla="*/ 256 h 512"/>
              <a:gd name="T76" fmla="*/ 362 w 512"/>
              <a:gd name="T77" fmla="*/ 266 h 512"/>
              <a:gd name="T78" fmla="*/ 352 w 512"/>
              <a:gd name="T79" fmla="*/ 266 h 512"/>
              <a:gd name="T80" fmla="*/ 341 w 512"/>
              <a:gd name="T81" fmla="*/ 256 h 512"/>
              <a:gd name="T82" fmla="*/ 352 w 512"/>
              <a:gd name="T83" fmla="*/ 245 h 512"/>
              <a:gd name="T84" fmla="*/ 362 w 512"/>
              <a:gd name="T85" fmla="*/ 245 h 512"/>
              <a:gd name="T86" fmla="*/ 373 w 512"/>
              <a:gd name="T87" fmla="*/ 256 h 512"/>
              <a:gd name="T88" fmla="*/ 256 w 512"/>
              <a:gd name="T89" fmla="*/ 0 h 512"/>
              <a:gd name="T90" fmla="*/ 0 w 512"/>
              <a:gd name="T91" fmla="*/ 256 h 512"/>
              <a:gd name="T92" fmla="*/ 256 w 512"/>
              <a:gd name="T93" fmla="*/ 512 h 512"/>
              <a:gd name="T94" fmla="*/ 512 w 512"/>
              <a:gd name="T95" fmla="*/ 256 h 512"/>
              <a:gd name="T96" fmla="*/ 256 w 512"/>
              <a:gd name="T97" fmla="*/ 0 h 512"/>
              <a:gd name="T98" fmla="*/ 256 w 512"/>
              <a:gd name="T99" fmla="*/ 416 h 512"/>
              <a:gd name="T100" fmla="*/ 96 w 512"/>
              <a:gd name="T101" fmla="*/ 256 h 512"/>
              <a:gd name="T102" fmla="*/ 256 w 512"/>
              <a:gd name="T103" fmla="*/ 96 h 512"/>
              <a:gd name="T104" fmla="*/ 416 w 512"/>
              <a:gd name="T105" fmla="*/ 256 h 512"/>
              <a:gd name="T106" fmla="*/ 256 w 512"/>
              <a:gd name="T107" fmla="*/ 41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12" h="512">
                <a:moveTo>
                  <a:pt x="256" y="117"/>
                </a:moveTo>
                <a:cubicBezTo>
                  <a:pt x="179" y="117"/>
                  <a:pt x="117" y="179"/>
                  <a:pt x="117" y="256"/>
                </a:cubicBezTo>
                <a:cubicBezTo>
                  <a:pt x="117" y="332"/>
                  <a:pt x="179" y="394"/>
                  <a:pt x="256" y="394"/>
                </a:cubicBezTo>
                <a:cubicBezTo>
                  <a:pt x="332" y="394"/>
                  <a:pt x="394" y="332"/>
                  <a:pt x="394" y="256"/>
                </a:cubicBezTo>
                <a:cubicBezTo>
                  <a:pt x="394" y="179"/>
                  <a:pt x="332" y="117"/>
                  <a:pt x="256" y="117"/>
                </a:cubicBezTo>
                <a:close/>
                <a:moveTo>
                  <a:pt x="245" y="149"/>
                </a:moveTo>
                <a:cubicBezTo>
                  <a:pt x="245" y="143"/>
                  <a:pt x="250" y="138"/>
                  <a:pt x="256" y="138"/>
                </a:cubicBezTo>
                <a:cubicBezTo>
                  <a:pt x="262" y="138"/>
                  <a:pt x="266" y="143"/>
                  <a:pt x="266" y="149"/>
                </a:cubicBezTo>
                <a:cubicBezTo>
                  <a:pt x="266" y="160"/>
                  <a:pt x="266" y="160"/>
                  <a:pt x="266" y="160"/>
                </a:cubicBezTo>
                <a:cubicBezTo>
                  <a:pt x="266" y="166"/>
                  <a:pt x="262" y="170"/>
                  <a:pt x="256" y="170"/>
                </a:cubicBezTo>
                <a:cubicBezTo>
                  <a:pt x="250" y="170"/>
                  <a:pt x="245" y="166"/>
                  <a:pt x="245" y="160"/>
                </a:cubicBezTo>
                <a:lnTo>
                  <a:pt x="245" y="149"/>
                </a:lnTo>
                <a:close/>
                <a:moveTo>
                  <a:pt x="160" y="266"/>
                </a:moveTo>
                <a:cubicBezTo>
                  <a:pt x="149" y="266"/>
                  <a:pt x="149" y="266"/>
                  <a:pt x="149" y="266"/>
                </a:cubicBezTo>
                <a:cubicBezTo>
                  <a:pt x="143" y="266"/>
                  <a:pt x="138" y="262"/>
                  <a:pt x="138" y="256"/>
                </a:cubicBezTo>
                <a:cubicBezTo>
                  <a:pt x="138" y="250"/>
                  <a:pt x="143" y="245"/>
                  <a:pt x="149" y="245"/>
                </a:cubicBezTo>
                <a:cubicBezTo>
                  <a:pt x="160" y="245"/>
                  <a:pt x="160" y="245"/>
                  <a:pt x="160" y="245"/>
                </a:cubicBezTo>
                <a:cubicBezTo>
                  <a:pt x="166" y="245"/>
                  <a:pt x="170" y="250"/>
                  <a:pt x="170" y="256"/>
                </a:cubicBezTo>
                <a:cubicBezTo>
                  <a:pt x="170" y="262"/>
                  <a:pt x="166" y="266"/>
                  <a:pt x="160" y="266"/>
                </a:cubicBezTo>
                <a:close/>
                <a:moveTo>
                  <a:pt x="266" y="362"/>
                </a:moveTo>
                <a:cubicBezTo>
                  <a:pt x="266" y="368"/>
                  <a:pt x="262" y="373"/>
                  <a:pt x="256" y="373"/>
                </a:cubicBezTo>
                <a:cubicBezTo>
                  <a:pt x="250" y="373"/>
                  <a:pt x="245" y="368"/>
                  <a:pt x="245" y="362"/>
                </a:cubicBezTo>
                <a:cubicBezTo>
                  <a:pt x="245" y="352"/>
                  <a:pt x="245" y="352"/>
                  <a:pt x="245" y="352"/>
                </a:cubicBezTo>
                <a:cubicBezTo>
                  <a:pt x="245" y="346"/>
                  <a:pt x="250" y="341"/>
                  <a:pt x="256" y="341"/>
                </a:cubicBezTo>
                <a:cubicBezTo>
                  <a:pt x="262" y="341"/>
                  <a:pt x="266" y="346"/>
                  <a:pt x="266" y="352"/>
                </a:cubicBezTo>
                <a:lnTo>
                  <a:pt x="266" y="362"/>
                </a:lnTo>
                <a:close/>
                <a:moveTo>
                  <a:pt x="306" y="231"/>
                </a:moveTo>
                <a:cubicBezTo>
                  <a:pt x="263" y="274"/>
                  <a:pt x="263" y="274"/>
                  <a:pt x="263" y="274"/>
                </a:cubicBezTo>
                <a:cubicBezTo>
                  <a:pt x="261" y="276"/>
                  <a:pt x="258" y="277"/>
                  <a:pt x="256" y="277"/>
                </a:cubicBezTo>
                <a:cubicBezTo>
                  <a:pt x="253" y="277"/>
                  <a:pt x="250" y="276"/>
                  <a:pt x="248" y="274"/>
                </a:cubicBezTo>
                <a:cubicBezTo>
                  <a:pt x="173" y="199"/>
                  <a:pt x="173" y="199"/>
                  <a:pt x="173" y="199"/>
                </a:cubicBezTo>
                <a:cubicBezTo>
                  <a:pt x="169" y="195"/>
                  <a:pt x="169" y="188"/>
                  <a:pt x="173" y="184"/>
                </a:cubicBezTo>
                <a:cubicBezTo>
                  <a:pt x="178" y="180"/>
                  <a:pt x="184" y="180"/>
                  <a:pt x="189" y="184"/>
                </a:cubicBezTo>
                <a:cubicBezTo>
                  <a:pt x="256" y="251"/>
                  <a:pt x="256" y="251"/>
                  <a:pt x="256" y="251"/>
                </a:cubicBezTo>
                <a:cubicBezTo>
                  <a:pt x="291" y="216"/>
                  <a:pt x="291" y="216"/>
                  <a:pt x="291" y="216"/>
                </a:cubicBezTo>
                <a:cubicBezTo>
                  <a:pt x="295" y="212"/>
                  <a:pt x="302" y="212"/>
                  <a:pt x="306" y="216"/>
                </a:cubicBezTo>
                <a:cubicBezTo>
                  <a:pt x="310" y="220"/>
                  <a:pt x="310" y="227"/>
                  <a:pt x="306" y="231"/>
                </a:cubicBezTo>
                <a:close/>
                <a:moveTo>
                  <a:pt x="373" y="256"/>
                </a:moveTo>
                <a:cubicBezTo>
                  <a:pt x="373" y="262"/>
                  <a:pt x="368" y="266"/>
                  <a:pt x="362" y="266"/>
                </a:cubicBezTo>
                <a:cubicBezTo>
                  <a:pt x="352" y="266"/>
                  <a:pt x="352" y="266"/>
                  <a:pt x="352" y="266"/>
                </a:cubicBezTo>
                <a:cubicBezTo>
                  <a:pt x="346" y="266"/>
                  <a:pt x="341" y="262"/>
                  <a:pt x="341" y="256"/>
                </a:cubicBezTo>
                <a:cubicBezTo>
                  <a:pt x="341" y="250"/>
                  <a:pt x="346" y="245"/>
                  <a:pt x="352" y="245"/>
                </a:cubicBezTo>
                <a:cubicBezTo>
                  <a:pt x="362" y="245"/>
                  <a:pt x="362" y="245"/>
                  <a:pt x="362" y="245"/>
                </a:cubicBezTo>
                <a:cubicBezTo>
                  <a:pt x="368" y="245"/>
                  <a:pt x="373" y="250"/>
                  <a:pt x="373" y="256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416"/>
                </a:moveTo>
                <a:cubicBezTo>
                  <a:pt x="167" y="416"/>
                  <a:pt x="96" y="344"/>
                  <a:pt x="96" y="256"/>
                </a:cubicBezTo>
                <a:cubicBezTo>
                  <a:pt x="96" y="167"/>
                  <a:pt x="167" y="96"/>
                  <a:pt x="256" y="96"/>
                </a:cubicBezTo>
                <a:cubicBezTo>
                  <a:pt x="344" y="96"/>
                  <a:pt x="416" y="167"/>
                  <a:pt x="416" y="256"/>
                </a:cubicBezTo>
                <a:cubicBezTo>
                  <a:pt x="416" y="344"/>
                  <a:pt x="344" y="416"/>
                  <a:pt x="256" y="416"/>
                </a:cubicBezTo>
                <a:close/>
              </a:path>
            </a:pathLst>
          </a:custGeom>
          <a:solidFill>
            <a:srgbClr val="0076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1" name="Group 412"/>
          <p:cNvGrpSpPr>
            <a:grpSpLocks noChangeAspect="1"/>
          </p:cNvGrpSpPr>
          <p:nvPr/>
        </p:nvGrpSpPr>
        <p:grpSpPr bwMode="auto">
          <a:xfrm>
            <a:off x="1110999" y="4777214"/>
            <a:ext cx="540000" cy="540000"/>
            <a:chOff x="2297" y="1592"/>
            <a:chExt cx="340" cy="340"/>
          </a:xfrm>
          <a:solidFill>
            <a:srgbClr val="002060"/>
          </a:solidFill>
        </p:grpSpPr>
        <p:sp>
          <p:nvSpPr>
            <p:cNvPr id="32" name="Freeform 31"/>
            <p:cNvSpPr>
              <a:spLocks noEditPoints="1"/>
            </p:cNvSpPr>
            <p:nvPr/>
          </p:nvSpPr>
          <p:spPr bwMode="auto">
            <a:xfrm>
              <a:off x="2297" y="1592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163 w 512"/>
                <a:gd name="T11" fmla="*/ 269 h 512"/>
                <a:gd name="T12" fmla="*/ 178 w 512"/>
                <a:gd name="T13" fmla="*/ 269 h 512"/>
                <a:gd name="T14" fmla="*/ 245 w 512"/>
                <a:gd name="T15" fmla="*/ 337 h 512"/>
                <a:gd name="T16" fmla="*/ 245 w 512"/>
                <a:gd name="T17" fmla="*/ 106 h 512"/>
                <a:gd name="T18" fmla="*/ 256 w 512"/>
                <a:gd name="T19" fmla="*/ 96 h 512"/>
                <a:gd name="T20" fmla="*/ 266 w 512"/>
                <a:gd name="T21" fmla="*/ 106 h 512"/>
                <a:gd name="T22" fmla="*/ 266 w 512"/>
                <a:gd name="T23" fmla="*/ 337 h 512"/>
                <a:gd name="T24" fmla="*/ 333 w 512"/>
                <a:gd name="T25" fmla="*/ 269 h 512"/>
                <a:gd name="T26" fmla="*/ 349 w 512"/>
                <a:gd name="T27" fmla="*/ 269 h 512"/>
                <a:gd name="T28" fmla="*/ 349 w 512"/>
                <a:gd name="T29" fmla="*/ 285 h 512"/>
                <a:gd name="T30" fmla="*/ 263 w 512"/>
                <a:gd name="T31" fmla="*/ 370 h 512"/>
                <a:gd name="T32" fmla="*/ 260 w 512"/>
                <a:gd name="T33" fmla="*/ 372 h 512"/>
                <a:gd name="T34" fmla="*/ 256 w 512"/>
                <a:gd name="T35" fmla="*/ 373 h 512"/>
                <a:gd name="T36" fmla="*/ 252 w 512"/>
                <a:gd name="T37" fmla="*/ 372 h 512"/>
                <a:gd name="T38" fmla="*/ 248 w 512"/>
                <a:gd name="T39" fmla="*/ 370 h 512"/>
                <a:gd name="T40" fmla="*/ 163 w 512"/>
                <a:gd name="T41" fmla="*/ 285 h 512"/>
                <a:gd name="T42" fmla="*/ 163 w 512"/>
                <a:gd name="T43" fmla="*/ 269 h 512"/>
                <a:gd name="T44" fmla="*/ 373 w 512"/>
                <a:gd name="T45" fmla="*/ 405 h 512"/>
                <a:gd name="T46" fmla="*/ 362 w 512"/>
                <a:gd name="T47" fmla="*/ 416 h 512"/>
                <a:gd name="T48" fmla="*/ 149 w 512"/>
                <a:gd name="T49" fmla="*/ 416 h 512"/>
                <a:gd name="T50" fmla="*/ 138 w 512"/>
                <a:gd name="T51" fmla="*/ 405 h 512"/>
                <a:gd name="T52" fmla="*/ 138 w 512"/>
                <a:gd name="T53" fmla="*/ 362 h 512"/>
                <a:gd name="T54" fmla="*/ 149 w 512"/>
                <a:gd name="T55" fmla="*/ 352 h 512"/>
                <a:gd name="T56" fmla="*/ 160 w 512"/>
                <a:gd name="T57" fmla="*/ 362 h 512"/>
                <a:gd name="T58" fmla="*/ 160 w 512"/>
                <a:gd name="T59" fmla="*/ 394 h 512"/>
                <a:gd name="T60" fmla="*/ 352 w 512"/>
                <a:gd name="T61" fmla="*/ 394 h 512"/>
                <a:gd name="T62" fmla="*/ 352 w 512"/>
                <a:gd name="T63" fmla="*/ 362 h 512"/>
                <a:gd name="T64" fmla="*/ 362 w 512"/>
                <a:gd name="T65" fmla="*/ 352 h 512"/>
                <a:gd name="T66" fmla="*/ 373 w 512"/>
                <a:gd name="T67" fmla="*/ 362 h 512"/>
                <a:gd name="T68" fmla="*/ 373 w 512"/>
                <a:gd name="T69" fmla="*/ 405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163" y="269"/>
                  </a:moveTo>
                  <a:cubicBezTo>
                    <a:pt x="167" y="265"/>
                    <a:pt x="174" y="265"/>
                    <a:pt x="178" y="269"/>
                  </a:cubicBezTo>
                  <a:cubicBezTo>
                    <a:pt x="245" y="337"/>
                    <a:pt x="245" y="337"/>
                    <a:pt x="245" y="337"/>
                  </a:cubicBezTo>
                  <a:cubicBezTo>
                    <a:pt x="245" y="106"/>
                    <a:pt x="245" y="106"/>
                    <a:pt x="245" y="106"/>
                  </a:cubicBezTo>
                  <a:cubicBezTo>
                    <a:pt x="245" y="100"/>
                    <a:pt x="250" y="96"/>
                    <a:pt x="256" y="96"/>
                  </a:cubicBezTo>
                  <a:cubicBezTo>
                    <a:pt x="262" y="96"/>
                    <a:pt x="266" y="100"/>
                    <a:pt x="266" y="106"/>
                  </a:cubicBezTo>
                  <a:cubicBezTo>
                    <a:pt x="266" y="337"/>
                    <a:pt x="266" y="337"/>
                    <a:pt x="266" y="337"/>
                  </a:cubicBezTo>
                  <a:cubicBezTo>
                    <a:pt x="333" y="269"/>
                    <a:pt x="333" y="269"/>
                    <a:pt x="333" y="269"/>
                  </a:cubicBezTo>
                  <a:cubicBezTo>
                    <a:pt x="338" y="265"/>
                    <a:pt x="344" y="265"/>
                    <a:pt x="349" y="269"/>
                  </a:cubicBezTo>
                  <a:cubicBezTo>
                    <a:pt x="353" y="274"/>
                    <a:pt x="353" y="280"/>
                    <a:pt x="349" y="285"/>
                  </a:cubicBezTo>
                  <a:cubicBezTo>
                    <a:pt x="263" y="370"/>
                    <a:pt x="263" y="370"/>
                    <a:pt x="263" y="370"/>
                  </a:cubicBezTo>
                  <a:cubicBezTo>
                    <a:pt x="262" y="371"/>
                    <a:pt x="261" y="372"/>
                    <a:pt x="260" y="372"/>
                  </a:cubicBezTo>
                  <a:cubicBezTo>
                    <a:pt x="258" y="373"/>
                    <a:pt x="257" y="373"/>
                    <a:pt x="256" y="373"/>
                  </a:cubicBezTo>
                  <a:cubicBezTo>
                    <a:pt x="254" y="373"/>
                    <a:pt x="253" y="373"/>
                    <a:pt x="252" y="372"/>
                  </a:cubicBezTo>
                  <a:cubicBezTo>
                    <a:pt x="250" y="372"/>
                    <a:pt x="249" y="371"/>
                    <a:pt x="248" y="370"/>
                  </a:cubicBezTo>
                  <a:cubicBezTo>
                    <a:pt x="163" y="285"/>
                    <a:pt x="163" y="285"/>
                    <a:pt x="163" y="285"/>
                  </a:cubicBezTo>
                  <a:cubicBezTo>
                    <a:pt x="159" y="280"/>
                    <a:pt x="159" y="274"/>
                    <a:pt x="163" y="269"/>
                  </a:cubicBezTo>
                  <a:close/>
                  <a:moveTo>
                    <a:pt x="373" y="405"/>
                  </a:move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362"/>
                    <a:pt x="138" y="362"/>
                    <a:pt x="138" y="362"/>
                  </a:cubicBezTo>
                  <a:cubicBezTo>
                    <a:pt x="138" y="356"/>
                    <a:pt x="143" y="352"/>
                    <a:pt x="149" y="352"/>
                  </a:cubicBezTo>
                  <a:cubicBezTo>
                    <a:pt x="155" y="352"/>
                    <a:pt x="160" y="356"/>
                    <a:pt x="160" y="362"/>
                  </a:cubicBezTo>
                  <a:cubicBezTo>
                    <a:pt x="160" y="394"/>
                    <a:pt x="160" y="394"/>
                    <a:pt x="160" y="394"/>
                  </a:cubicBezTo>
                  <a:cubicBezTo>
                    <a:pt x="352" y="394"/>
                    <a:pt x="352" y="394"/>
                    <a:pt x="352" y="394"/>
                  </a:cubicBezTo>
                  <a:cubicBezTo>
                    <a:pt x="352" y="362"/>
                    <a:pt x="352" y="362"/>
                    <a:pt x="352" y="362"/>
                  </a:cubicBezTo>
                  <a:cubicBezTo>
                    <a:pt x="352" y="356"/>
                    <a:pt x="356" y="352"/>
                    <a:pt x="362" y="352"/>
                  </a:cubicBezTo>
                  <a:cubicBezTo>
                    <a:pt x="368" y="352"/>
                    <a:pt x="373" y="356"/>
                    <a:pt x="373" y="362"/>
                  </a:cubicBezTo>
                  <a:lnTo>
                    <a:pt x="373" y="4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32"/>
            <p:cNvSpPr>
              <a:spLocks noEditPoints="1"/>
            </p:cNvSpPr>
            <p:nvPr/>
          </p:nvSpPr>
          <p:spPr bwMode="auto">
            <a:xfrm>
              <a:off x="2297" y="1592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163 w 512"/>
                <a:gd name="T11" fmla="*/ 269 h 512"/>
                <a:gd name="T12" fmla="*/ 178 w 512"/>
                <a:gd name="T13" fmla="*/ 269 h 512"/>
                <a:gd name="T14" fmla="*/ 245 w 512"/>
                <a:gd name="T15" fmla="*/ 337 h 512"/>
                <a:gd name="T16" fmla="*/ 245 w 512"/>
                <a:gd name="T17" fmla="*/ 106 h 512"/>
                <a:gd name="T18" fmla="*/ 256 w 512"/>
                <a:gd name="T19" fmla="*/ 96 h 512"/>
                <a:gd name="T20" fmla="*/ 266 w 512"/>
                <a:gd name="T21" fmla="*/ 106 h 512"/>
                <a:gd name="T22" fmla="*/ 266 w 512"/>
                <a:gd name="T23" fmla="*/ 337 h 512"/>
                <a:gd name="T24" fmla="*/ 333 w 512"/>
                <a:gd name="T25" fmla="*/ 269 h 512"/>
                <a:gd name="T26" fmla="*/ 349 w 512"/>
                <a:gd name="T27" fmla="*/ 269 h 512"/>
                <a:gd name="T28" fmla="*/ 349 w 512"/>
                <a:gd name="T29" fmla="*/ 285 h 512"/>
                <a:gd name="T30" fmla="*/ 263 w 512"/>
                <a:gd name="T31" fmla="*/ 370 h 512"/>
                <a:gd name="T32" fmla="*/ 260 w 512"/>
                <a:gd name="T33" fmla="*/ 372 h 512"/>
                <a:gd name="T34" fmla="*/ 256 w 512"/>
                <a:gd name="T35" fmla="*/ 373 h 512"/>
                <a:gd name="T36" fmla="*/ 252 w 512"/>
                <a:gd name="T37" fmla="*/ 372 h 512"/>
                <a:gd name="T38" fmla="*/ 248 w 512"/>
                <a:gd name="T39" fmla="*/ 370 h 512"/>
                <a:gd name="T40" fmla="*/ 163 w 512"/>
                <a:gd name="T41" fmla="*/ 285 h 512"/>
                <a:gd name="T42" fmla="*/ 163 w 512"/>
                <a:gd name="T43" fmla="*/ 269 h 512"/>
                <a:gd name="T44" fmla="*/ 373 w 512"/>
                <a:gd name="T45" fmla="*/ 405 h 512"/>
                <a:gd name="T46" fmla="*/ 362 w 512"/>
                <a:gd name="T47" fmla="*/ 416 h 512"/>
                <a:gd name="T48" fmla="*/ 149 w 512"/>
                <a:gd name="T49" fmla="*/ 416 h 512"/>
                <a:gd name="T50" fmla="*/ 138 w 512"/>
                <a:gd name="T51" fmla="*/ 405 h 512"/>
                <a:gd name="T52" fmla="*/ 138 w 512"/>
                <a:gd name="T53" fmla="*/ 362 h 512"/>
                <a:gd name="T54" fmla="*/ 149 w 512"/>
                <a:gd name="T55" fmla="*/ 352 h 512"/>
                <a:gd name="T56" fmla="*/ 160 w 512"/>
                <a:gd name="T57" fmla="*/ 362 h 512"/>
                <a:gd name="T58" fmla="*/ 160 w 512"/>
                <a:gd name="T59" fmla="*/ 394 h 512"/>
                <a:gd name="T60" fmla="*/ 352 w 512"/>
                <a:gd name="T61" fmla="*/ 394 h 512"/>
                <a:gd name="T62" fmla="*/ 352 w 512"/>
                <a:gd name="T63" fmla="*/ 362 h 512"/>
                <a:gd name="T64" fmla="*/ 362 w 512"/>
                <a:gd name="T65" fmla="*/ 352 h 512"/>
                <a:gd name="T66" fmla="*/ 373 w 512"/>
                <a:gd name="T67" fmla="*/ 362 h 512"/>
                <a:gd name="T68" fmla="*/ 373 w 512"/>
                <a:gd name="T69" fmla="*/ 405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163" y="269"/>
                  </a:moveTo>
                  <a:cubicBezTo>
                    <a:pt x="167" y="265"/>
                    <a:pt x="174" y="265"/>
                    <a:pt x="178" y="269"/>
                  </a:cubicBezTo>
                  <a:cubicBezTo>
                    <a:pt x="245" y="337"/>
                    <a:pt x="245" y="337"/>
                    <a:pt x="245" y="337"/>
                  </a:cubicBezTo>
                  <a:cubicBezTo>
                    <a:pt x="245" y="106"/>
                    <a:pt x="245" y="106"/>
                    <a:pt x="245" y="106"/>
                  </a:cubicBezTo>
                  <a:cubicBezTo>
                    <a:pt x="245" y="100"/>
                    <a:pt x="250" y="96"/>
                    <a:pt x="256" y="96"/>
                  </a:cubicBezTo>
                  <a:cubicBezTo>
                    <a:pt x="262" y="96"/>
                    <a:pt x="266" y="100"/>
                    <a:pt x="266" y="106"/>
                  </a:cubicBezTo>
                  <a:cubicBezTo>
                    <a:pt x="266" y="337"/>
                    <a:pt x="266" y="337"/>
                    <a:pt x="266" y="337"/>
                  </a:cubicBezTo>
                  <a:cubicBezTo>
                    <a:pt x="333" y="269"/>
                    <a:pt x="333" y="269"/>
                    <a:pt x="333" y="269"/>
                  </a:cubicBezTo>
                  <a:cubicBezTo>
                    <a:pt x="338" y="265"/>
                    <a:pt x="344" y="265"/>
                    <a:pt x="349" y="269"/>
                  </a:cubicBezTo>
                  <a:cubicBezTo>
                    <a:pt x="353" y="274"/>
                    <a:pt x="353" y="280"/>
                    <a:pt x="349" y="285"/>
                  </a:cubicBezTo>
                  <a:cubicBezTo>
                    <a:pt x="263" y="370"/>
                    <a:pt x="263" y="370"/>
                    <a:pt x="263" y="370"/>
                  </a:cubicBezTo>
                  <a:cubicBezTo>
                    <a:pt x="262" y="371"/>
                    <a:pt x="261" y="372"/>
                    <a:pt x="260" y="372"/>
                  </a:cubicBezTo>
                  <a:cubicBezTo>
                    <a:pt x="258" y="373"/>
                    <a:pt x="257" y="373"/>
                    <a:pt x="256" y="373"/>
                  </a:cubicBezTo>
                  <a:cubicBezTo>
                    <a:pt x="254" y="373"/>
                    <a:pt x="253" y="373"/>
                    <a:pt x="252" y="372"/>
                  </a:cubicBezTo>
                  <a:cubicBezTo>
                    <a:pt x="250" y="372"/>
                    <a:pt x="249" y="371"/>
                    <a:pt x="248" y="370"/>
                  </a:cubicBezTo>
                  <a:cubicBezTo>
                    <a:pt x="163" y="285"/>
                    <a:pt x="163" y="285"/>
                    <a:pt x="163" y="285"/>
                  </a:cubicBezTo>
                  <a:cubicBezTo>
                    <a:pt x="159" y="280"/>
                    <a:pt x="159" y="274"/>
                    <a:pt x="163" y="269"/>
                  </a:cubicBezTo>
                  <a:close/>
                  <a:moveTo>
                    <a:pt x="373" y="405"/>
                  </a:move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362"/>
                    <a:pt x="138" y="362"/>
                    <a:pt x="138" y="362"/>
                  </a:cubicBezTo>
                  <a:cubicBezTo>
                    <a:pt x="138" y="356"/>
                    <a:pt x="143" y="352"/>
                    <a:pt x="149" y="352"/>
                  </a:cubicBezTo>
                  <a:cubicBezTo>
                    <a:pt x="155" y="352"/>
                    <a:pt x="160" y="356"/>
                    <a:pt x="160" y="362"/>
                  </a:cubicBezTo>
                  <a:cubicBezTo>
                    <a:pt x="160" y="394"/>
                    <a:pt x="160" y="394"/>
                    <a:pt x="160" y="394"/>
                  </a:cubicBezTo>
                  <a:cubicBezTo>
                    <a:pt x="352" y="394"/>
                    <a:pt x="352" y="394"/>
                    <a:pt x="352" y="394"/>
                  </a:cubicBezTo>
                  <a:cubicBezTo>
                    <a:pt x="352" y="362"/>
                    <a:pt x="352" y="362"/>
                    <a:pt x="352" y="362"/>
                  </a:cubicBezTo>
                  <a:cubicBezTo>
                    <a:pt x="352" y="356"/>
                    <a:pt x="356" y="352"/>
                    <a:pt x="362" y="352"/>
                  </a:cubicBezTo>
                  <a:cubicBezTo>
                    <a:pt x="368" y="352"/>
                    <a:pt x="373" y="356"/>
                    <a:pt x="373" y="362"/>
                  </a:cubicBezTo>
                  <a:lnTo>
                    <a:pt x="373" y="4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58962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44</a:t>
            </a:fld>
            <a:endParaRPr lang="it-IT" altLang="it-IT" dirty="0"/>
          </a:p>
        </p:txBody>
      </p:sp>
      <p:grpSp>
        <p:nvGrpSpPr>
          <p:cNvPr id="5" name="Group 4"/>
          <p:cNvGrpSpPr/>
          <p:nvPr/>
        </p:nvGrpSpPr>
        <p:grpSpPr>
          <a:xfrm>
            <a:off x="1167881" y="2289629"/>
            <a:ext cx="720000" cy="543672"/>
            <a:chOff x="1178655" y="1116034"/>
            <a:chExt cx="720000" cy="543672"/>
          </a:xfrm>
        </p:grpSpPr>
        <p:sp>
          <p:nvSpPr>
            <p:cNvPr id="7" name="Rounded Rectangle 6"/>
            <p:cNvSpPr/>
            <p:nvPr/>
          </p:nvSpPr>
          <p:spPr bwMode="auto">
            <a:xfrm>
              <a:off x="1178655" y="1116034"/>
              <a:ext cx="720000" cy="543672"/>
            </a:xfrm>
            <a:prstGeom prst="roundRect">
              <a:avLst>
                <a:gd name="adj" fmla="val 7658"/>
              </a:avLst>
            </a:prstGeom>
            <a:solidFill>
              <a:srgbClr val="00B0F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0000"/>
                </a:buClr>
                <a:buSzPct val="70000"/>
                <a:buFont typeface="Wingdings" pitchFamily="2" charset="2"/>
                <a:buNone/>
                <a:tabLst/>
              </a:pPr>
              <a:endParaRPr kumimoji="0" 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1295459" y="1212346"/>
              <a:ext cx="486392" cy="351048"/>
              <a:chOff x="7635876" y="1039813"/>
              <a:chExt cx="547687" cy="395288"/>
            </a:xfrm>
            <a:solidFill>
              <a:schemeClr val="bg1"/>
            </a:solidFill>
          </p:grpSpPr>
          <p:sp>
            <p:nvSpPr>
              <p:cNvPr id="9" name="Freeform 371"/>
              <p:cNvSpPr>
                <a:spLocks noEditPoints="1"/>
              </p:cNvSpPr>
              <p:nvPr/>
            </p:nvSpPr>
            <p:spPr bwMode="auto">
              <a:xfrm>
                <a:off x="7635876" y="1039813"/>
                <a:ext cx="398463" cy="395288"/>
              </a:xfrm>
              <a:custGeom>
                <a:avLst/>
                <a:gdLst>
                  <a:gd name="T0" fmla="*/ 166 w 173"/>
                  <a:gd name="T1" fmla="*/ 131 h 172"/>
                  <a:gd name="T2" fmla="*/ 111 w 173"/>
                  <a:gd name="T3" fmla="*/ 104 h 172"/>
                  <a:gd name="T4" fmla="*/ 111 w 173"/>
                  <a:gd name="T5" fmla="*/ 99 h 172"/>
                  <a:gd name="T6" fmla="*/ 123 w 173"/>
                  <a:gd name="T7" fmla="*/ 77 h 172"/>
                  <a:gd name="T8" fmla="*/ 129 w 173"/>
                  <a:gd name="T9" fmla="*/ 63 h 172"/>
                  <a:gd name="T10" fmla="*/ 126 w 173"/>
                  <a:gd name="T11" fmla="*/ 53 h 172"/>
                  <a:gd name="T12" fmla="*/ 126 w 173"/>
                  <a:gd name="T13" fmla="*/ 37 h 172"/>
                  <a:gd name="T14" fmla="*/ 86 w 173"/>
                  <a:gd name="T15" fmla="*/ 0 h 172"/>
                  <a:gd name="T16" fmla="*/ 47 w 173"/>
                  <a:gd name="T17" fmla="*/ 37 h 172"/>
                  <a:gd name="T18" fmla="*/ 47 w 173"/>
                  <a:gd name="T19" fmla="*/ 53 h 172"/>
                  <a:gd name="T20" fmla="*/ 44 w 173"/>
                  <a:gd name="T21" fmla="*/ 63 h 172"/>
                  <a:gd name="T22" fmla="*/ 50 w 173"/>
                  <a:gd name="T23" fmla="*/ 77 h 172"/>
                  <a:gd name="T24" fmla="*/ 62 w 173"/>
                  <a:gd name="T25" fmla="*/ 99 h 172"/>
                  <a:gd name="T26" fmla="*/ 62 w 173"/>
                  <a:gd name="T27" fmla="*/ 104 h 172"/>
                  <a:gd name="T28" fmla="*/ 7 w 173"/>
                  <a:gd name="T29" fmla="*/ 131 h 172"/>
                  <a:gd name="T30" fmla="*/ 0 w 173"/>
                  <a:gd name="T31" fmla="*/ 141 h 172"/>
                  <a:gd name="T32" fmla="*/ 0 w 173"/>
                  <a:gd name="T33" fmla="*/ 162 h 172"/>
                  <a:gd name="T34" fmla="*/ 11 w 173"/>
                  <a:gd name="T35" fmla="*/ 172 h 172"/>
                  <a:gd name="T36" fmla="*/ 162 w 173"/>
                  <a:gd name="T37" fmla="*/ 172 h 172"/>
                  <a:gd name="T38" fmla="*/ 173 w 173"/>
                  <a:gd name="T39" fmla="*/ 162 h 172"/>
                  <a:gd name="T40" fmla="*/ 173 w 173"/>
                  <a:gd name="T41" fmla="*/ 141 h 172"/>
                  <a:gd name="T42" fmla="*/ 166 w 173"/>
                  <a:gd name="T43" fmla="*/ 131 h 172"/>
                  <a:gd name="T44" fmla="*/ 163 w 173"/>
                  <a:gd name="T45" fmla="*/ 162 h 172"/>
                  <a:gd name="T46" fmla="*/ 162 w 173"/>
                  <a:gd name="T47" fmla="*/ 163 h 172"/>
                  <a:gd name="T48" fmla="*/ 11 w 173"/>
                  <a:gd name="T49" fmla="*/ 163 h 172"/>
                  <a:gd name="T50" fmla="*/ 10 w 173"/>
                  <a:gd name="T51" fmla="*/ 162 h 172"/>
                  <a:gd name="T52" fmla="*/ 10 w 173"/>
                  <a:gd name="T53" fmla="*/ 141 h 172"/>
                  <a:gd name="T54" fmla="*/ 10 w 173"/>
                  <a:gd name="T55" fmla="*/ 140 h 172"/>
                  <a:gd name="T56" fmla="*/ 71 w 173"/>
                  <a:gd name="T57" fmla="*/ 106 h 172"/>
                  <a:gd name="T58" fmla="*/ 71 w 173"/>
                  <a:gd name="T59" fmla="*/ 105 h 172"/>
                  <a:gd name="T60" fmla="*/ 71 w 173"/>
                  <a:gd name="T61" fmla="*/ 97 h 172"/>
                  <a:gd name="T62" fmla="*/ 70 w 173"/>
                  <a:gd name="T63" fmla="*/ 93 h 172"/>
                  <a:gd name="T64" fmla="*/ 59 w 173"/>
                  <a:gd name="T65" fmla="*/ 73 h 172"/>
                  <a:gd name="T66" fmla="*/ 57 w 173"/>
                  <a:gd name="T67" fmla="*/ 70 h 172"/>
                  <a:gd name="T68" fmla="*/ 53 w 173"/>
                  <a:gd name="T69" fmla="*/ 63 h 172"/>
                  <a:gd name="T70" fmla="*/ 55 w 173"/>
                  <a:gd name="T71" fmla="*/ 58 h 172"/>
                  <a:gd name="T72" fmla="*/ 56 w 173"/>
                  <a:gd name="T73" fmla="*/ 55 h 172"/>
                  <a:gd name="T74" fmla="*/ 56 w 173"/>
                  <a:gd name="T75" fmla="*/ 37 h 172"/>
                  <a:gd name="T76" fmla="*/ 86 w 173"/>
                  <a:gd name="T77" fmla="*/ 9 h 172"/>
                  <a:gd name="T78" fmla="*/ 116 w 173"/>
                  <a:gd name="T79" fmla="*/ 37 h 172"/>
                  <a:gd name="T80" fmla="*/ 116 w 173"/>
                  <a:gd name="T81" fmla="*/ 55 h 172"/>
                  <a:gd name="T82" fmla="*/ 118 w 173"/>
                  <a:gd name="T83" fmla="*/ 58 h 172"/>
                  <a:gd name="T84" fmla="*/ 119 w 173"/>
                  <a:gd name="T85" fmla="*/ 63 h 172"/>
                  <a:gd name="T86" fmla="*/ 116 w 173"/>
                  <a:gd name="T87" fmla="*/ 70 h 172"/>
                  <a:gd name="T88" fmla="*/ 114 w 173"/>
                  <a:gd name="T89" fmla="*/ 73 h 172"/>
                  <a:gd name="T90" fmla="*/ 103 w 173"/>
                  <a:gd name="T91" fmla="*/ 93 h 172"/>
                  <a:gd name="T92" fmla="*/ 102 w 173"/>
                  <a:gd name="T93" fmla="*/ 97 h 172"/>
                  <a:gd name="T94" fmla="*/ 102 w 173"/>
                  <a:gd name="T95" fmla="*/ 105 h 172"/>
                  <a:gd name="T96" fmla="*/ 102 w 173"/>
                  <a:gd name="T97" fmla="*/ 106 h 172"/>
                  <a:gd name="T98" fmla="*/ 162 w 173"/>
                  <a:gd name="T99" fmla="*/ 140 h 172"/>
                  <a:gd name="T100" fmla="*/ 163 w 173"/>
                  <a:gd name="T101" fmla="*/ 141 h 172"/>
                  <a:gd name="T102" fmla="*/ 163 w 173"/>
                  <a:gd name="T103" fmla="*/ 16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3" h="172">
                    <a:moveTo>
                      <a:pt x="166" y="131"/>
                    </a:moveTo>
                    <a:cubicBezTo>
                      <a:pt x="121" y="114"/>
                      <a:pt x="113" y="106"/>
                      <a:pt x="111" y="104"/>
                    </a:cubicBezTo>
                    <a:cubicBezTo>
                      <a:pt x="111" y="99"/>
                      <a:pt x="111" y="99"/>
                      <a:pt x="111" y="99"/>
                    </a:cubicBezTo>
                    <a:cubicBezTo>
                      <a:pt x="116" y="93"/>
                      <a:pt x="120" y="86"/>
                      <a:pt x="123" y="77"/>
                    </a:cubicBezTo>
                    <a:cubicBezTo>
                      <a:pt x="127" y="74"/>
                      <a:pt x="129" y="69"/>
                      <a:pt x="129" y="63"/>
                    </a:cubicBezTo>
                    <a:cubicBezTo>
                      <a:pt x="129" y="60"/>
                      <a:pt x="128" y="56"/>
                      <a:pt x="126" y="53"/>
                    </a:cubicBezTo>
                    <a:cubicBezTo>
                      <a:pt x="126" y="37"/>
                      <a:pt x="126" y="37"/>
                      <a:pt x="126" y="37"/>
                    </a:cubicBezTo>
                    <a:cubicBezTo>
                      <a:pt x="126" y="13"/>
                      <a:pt x="112" y="0"/>
                      <a:pt x="86" y="0"/>
                    </a:cubicBezTo>
                    <a:cubicBezTo>
                      <a:pt x="62" y="0"/>
                      <a:pt x="47" y="14"/>
                      <a:pt x="47" y="37"/>
                    </a:cubicBezTo>
                    <a:cubicBezTo>
                      <a:pt x="47" y="53"/>
                      <a:pt x="47" y="53"/>
                      <a:pt x="47" y="53"/>
                    </a:cubicBezTo>
                    <a:cubicBezTo>
                      <a:pt x="45" y="56"/>
                      <a:pt x="44" y="60"/>
                      <a:pt x="44" y="63"/>
                    </a:cubicBezTo>
                    <a:cubicBezTo>
                      <a:pt x="44" y="69"/>
                      <a:pt x="46" y="74"/>
                      <a:pt x="50" y="77"/>
                    </a:cubicBezTo>
                    <a:cubicBezTo>
                      <a:pt x="53" y="86"/>
                      <a:pt x="57" y="93"/>
                      <a:pt x="62" y="99"/>
                    </a:cubicBezTo>
                    <a:cubicBezTo>
                      <a:pt x="62" y="104"/>
                      <a:pt x="62" y="104"/>
                      <a:pt x="62" y="104"/>
                    </a:cubicBezTo>
                    <a:cubicBezTo>
                      <a:pt x="60" y="106"/>
                      <a:pt x="52" y="114"/>
                      <a:pt x="7" y="131"/>
                    </a:cubicBezTo>
                    <a:cubicBezTo>
                      <a:pt x="3" y="133"/>
                      <a:pt x="0" y="137"/>
                      <a:pt x="0" y="141"/>
                    </a:cubicBezTo>
                    <a:cubicBezTo>
                      <a:pt x="0" y="162"/>
                      <a:pt x="0" y="162"/>
                      <a:pt x="0" y="162"/>
                    </a:cubicBezTo>
                    <a:cubicBezTo>
                      <a:pt x="0" y="168"/>
                      <a:pt x="5" y="172"/>
                      <a:pt x="11" y="172"/>
                    </a:cubicBezTo>
                    <a:cubicBezTo>
                      <a:pt x="162" y="172"/>
                      <a:pt x="162" y="172"/>
                      <a:pt x="162" y="172"/>
                    </a:cubicBezTo>
                    <a:cubicBezTo>
                      <a:pt x="168" y="172"/>
                      <a:pt x="173" y="168"/>
                      <a:pt x="173" y="162"/>
                    </a:cubicBezTo>
                    <a:cubicBezTo>
                      <a:pt x="173" y="141"/>
                      <a:pt x="173" y="141"/>
                      <a:pt x="173" y="141"/>
                    </a:cubicBezTo>
                    <a:cubicBezTo>
                      <a:pt x="173" y="137"/>
                      <a:pt x="170" y="133"/>
                      <a:pt x="166" y="131"/>
                    </a:cubicBezTo>
                    <a:close/>
                    <a:moveTo>
                      <a:pt x="163" y="162"/>
                    </a:moveTo>
                    <a:cubicBezTo>
                      <a:pt x="163" y="162"/>
                      <a:pt x="163" y="163"/>
                      <a:pt x="162" y="163"/>
                    </a:cubicBezTo>
                    <a:cubicBezTo>
                      <a:pt x="11" y="163"/>
                      <a:pt x="11" y="163"/>
                      <a:pt x="11" y="163"/>
                    </a:cubicBezTo>
                    <a:cubicBezTo>
                      <a:pt x="10" y="163"/>
                      <a:pt x="10" y="162"/>
                      <a:pt x="10" y="162"/>
                    </a:cubicBezTo>
                    <a:cubicBezTo>
                      <a:pt x="10" y="141"/>
                      <a:pt x="10" y="141"/>
                      <a:pt x="10" y="141"/>
                    </a:cubicBezTo>
                    <a:cubicBezTo>
                      <a:pt x="10" y="141"/>
                      <a:pt x="10" y="140"/>
                      <a:pt x="10" y="140"/>
                    </a:cubicBezTo>
                    <a:cubicBezTo>
                      <a:pt x="61" y="121"/>
                      <a:pt x="69" y="112"/>
                      <a:pt x="71" y="106"/>
                    </a:cubicBezTo>
                    <a:cubicBezTo>
                      <a:pt x="71" y="106"/>
                      <a:pt x="71" y="106"/>
                      <a:pt x="71" y="105"/>
                    </a:cubicBezTo>
                    <a:cubicBezTo>
                      <a:pt x="71" y="97"/>
                      <a:pt x="71" y="97"/>
                      <a:pt x="71" y="97"/>
                    </a:cubicBezTo>
                    <a:cubicBezTo>
                      <a:pt x="71" y="96"/>
                      <a:pt x="71" y="94"/>
                      <a:pt x="70" y="93"/>
                    </a:cubicBezTo>
                    <a:cubicBezTo>
                      <a:pt x="65" y="88"/>
                      <a:pt x="61" y="81"/>
                      <a:pt x="59" y="73"/>
                    </a:cubicBezTo>
                    <a:cubicBezTo>
                      <a:pt x="59" y="72"/>
                      <a:pt x="58" y="71"/>
                      <a:pt x="57" y="70"/>
                    </a:cubicBezTo>
                    <a:cubicBezTo>
                      <a:pt x="55" y="69"/>
                      <a:pt x="53" y="66"/>
                      <a:pt x="53" y="63"/>
                    </a:cubicBezTo>
                    <a:cubicBezTo>
                      <a:pt x="53" y="61"/>
                      <a:pt x="54" y="59"/>
                      <a:pt x="55" y="58"/>
                    </a:cubicBezTo>
                    <a:cubicBezTo>
                      <a:pt x="56" y="57"/>
                      <a:pt x="56" y="56"/>
                      <a:pt x="56" y="55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19"/>
                      <a:pt x="67" y="9"/>
                      <a:pt x="86" y="9"/>
                    </a:cubicBezTo>
                    <a:cubicBezTo>
                      <a:pt x="106" y="9"/>
                      <a:pt x="116" y="19"/>
                      <a:pt x="116" y="37"/>
                    </a:cubicBezTo>
                    <a:cubicBezTo>
                      <a:pt x="116" y="55"/>
                      <a:pt x="116" y="55"/>
                      <a:pt x="116" y="55"/>
                    </a:cubicBezTo>
                    <a:cubicBezTo>
                      <a:pt x="116" y="56"/>
                      <a:pt x="117" y="57"/>
                      <a:pt x="118" y="58"/>
                    </a:cubicBezTo>
                    <a:cubicBezTo>
                      <a:pt x="118" y="59"/>
                      <a:pt x="119" y="61"/>
                      <a:pt x="119" y="63"/>
                    </a:cubicBezTo>
                    <a:cubicBezTo>
                      <a:pt x="119" y="66"/>
                      <a:pt x="118" y="69"/>
                      <a:pt x="116" y="70"/>
                    </a:cubicBezTo>
                    <a:cubicBezTo>
                      <a:pt x="115" y="71"/>
                      <a:pt x="114" y="72"/>
                      <a:pt x="114" y="73"/>
                    </a:cubicBezTo>
                    <a:cubicBezTo>
                      <a:pt x="112" y="81"/>
                      <a:pt x="108" y="88"/>
                      <a:pt x="103" y="93"/>
                    </a:cubicBezTo>
                    <a:cubicBezTo>
                      <a:pt x="102" y="94"/>
                      <a:pt x="102" y="96"/>
                      <a:pt x="102" y="97"/>
                    </a:cubicBezTo>
                    <a:cubicBezTo>
                      <a:pt x="102" y="105"/>
                      <a:pt x="102" y="105"/>
                      <a:pt x="102" y="105"/>
                    </a:cubicBezTo>
                    <a:cubicBezTo>
                      <a:pt x="102" y="106"/>
                      <a:pt x="102" y="106"/>
                      <a:pt x="102" y="106"/>
                    </a:cubicBezTo>
                    <a:cubicBezTo>
                      <a:pt x="104" y="112"/>
                      <a:pt x="112" y="121"/>
                      <a:pt x="162" y="140"/>
                    </a:cubicBezTo>
                    <a:cubicBezTo>
                      <a:pt x="163" y="140"/>
                      <a:pt x="163" y="141"/>
                      <a:pt x="163" y="141"/>
                    </a:cubicBezTo>
                    <a:lnTo>
                      <a:pt x="163" y="16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Freeform 372"/>
              <p:cNvSpPr>
                <a:spLocks/>
              </p:cNvSpPr>
              <p:nvPr/>
            </p:nvSpPr>
            <p:spPr bwMode="auto">
              <a:xfrm>
                <a:off x="7932738" y="1062038"/>
                <a:ext cx="250825" cy="373063"/>
              </a:xfrm>
              <a:custGeom>
                <a:avLst/>
                <a:gdLst>
                  <a:gd name="T0" fmla="*/ 102 w 109"/>
                  <a:gd name="T1" fmla="*/ 123 h 162"/>
                  <a:gd name="T2" fmla="*/ 69 w 109"/>
                  <a:gd name="T3" fmla="*/ 115 h 162"/>
                  <a:gd name="T4" fmla="*/ 51 w 109"/>
                  <a:gd name="T5" fmla="*/ 110 h 162"/>
                  <a:gd name="T6" fmla="*/ 51 w 109"/>
                  <a:gd name="T7" fmla="*/ 105 h 162"/>
                  <a:gd name="T8" fmla="*/ 84 w 109"/>
                  <a:gd name="T9" fmla="*/ 96 h 162"/>
                  <a:gd name="T10" fmla="*/ 85 w 109"/>
                  <a:gd name="T11" fmla="*/ 92 h 162"/>
                  <a:gd name="T12" fmla="*/ 83 w 109"/>
                  <a:gd name="T13" fmla="*/ 89 h 162"/>
                  <a:gd name="T14" fmla="*/ 72 w 109"/>
                  <a:gd name="T15" fmla="*/ 47 h 162"/>
                  <a:gd name="T16" fmla="*/ 57 w 109"/>
                  <a:gd name="T17" fmla="*/ 12 h 162"/>
                  <a:gd name="T18" fmla="*/ 43 w 109"/>
                  <a:gd name="T19" fmla="*/ 3 h 162"/>
                  <a:gd name="T20" fmla="*/ 13 w 109"/>
                  <a:gd name="T21" fmla="*/ 4 h 162"/>
                  <a:gd name="T22" fmla="*/ 2 w 109"/>
                  <a:gd name="T23" fmla="*/ 9 h 162"/>
                  <a:gd name="T24" fmla="*/ 2 w 109"/>
                  <a:gd name="T25" fmla="*/ 16 h 162"/>
                  <a:gd name="T26" fmla="*/ 8 w 109"/>
                  <a:gd name="T27" fmla="*/ 17 h 162"/>
                  <a:gd name="T28" fmla="*/ 16 w 109"/>
                  <a:gd name="T29" fmla="*/ 13 h 162"/>
                  <a:gd name="T30" fmla="*/ 40 w 109"/>
                  <a:gd name="T31" fmla="*/ 12 h 162"/>
                  <a:gd name="T32" fmla="*/ 50 w 109"/>
                  <a:gd name="T33" fmla="*/ 19 h 162"/>
                  <a:gd name="T34" fmla="*/ 51 w 109"/>
                  <a:gd name="T35" fmla="*/ 19 h 162"/>
                  <a:gd name="T36" fmla="*/ 62 w 109"/>
                  <a:gd name="T37" fmla="*/ 47 h 162"/>
                  <a:gd name="T38" fmla="*/ 73 w 109"/>
                  <a:gd name="T39" fmla="*/ 91 h 162"/>
                  <a:gd name="T40" fmla="*/ 47 w 109"/>
                  <a:gd name="T41" fmla="*/ 96 h 162"/>
                  <a:gd name="T42" fmla="*/ 42 w 109"/>
                  <a:gd name="T43" fmla="*/ 101 h 162"/>
                  <a:gd name="T44" fmla="*/ 42 w 109"/>
                  <a:gd name="T45" fmla="*/ 112 h 162"/>
                  <a:gd name="T46" fmla="*/ 42 w 109"/>
                  <a:gd name="T47" fmla="*/ 113 h 162"/>
                  <a:gd name="T48" fmla="*/ 67 w 109"/>
                  <a:gd name="T49" fmla="*/ 124 h 162"/>
                  <a:gd name="T50" fmla="*/ 99 w 109"/>
                  <a:gd name="T51" fmla="*/ 132 h 162"/>
                  <a:gd name="T52" fmla="*/ 99 w 109"/>
                  <a:gd name="T53" fmla="*/ 133 h 162"/>
                  <a:gd name="T54" fmla="*/ 99 w 109"/>
                  <a:gd name="T55" fmla="*/ 152 h 162"/>
                  <a:gd name="T56" fmla="*/ 98 w 109"/>
                  <a:gd name="T57" fmla="*/ 153 h 162"/>
                  <a:gd name="T58" fmla="*/ 57 w 109"/>
                  <a:gd name="T59" fmla="*/ 153 h 162"/>
                  <a:gd name="T60" fmla="*/ 53 w 109"/>
                  <a:gd name="T61" fmla="*/ 158 h 162"/>
                  <a:gd name="T62" fmla="*/ 57 w 109"/>
                  <a:gd name="T63" fmla="*/ 162 h 162"/>
                  <a:gd name="T64" fmla="*/ 98 w 109"/>
                  <a:gd name="T65" fmla="*/ 162 h 162"/>
                  <a:gd name="T66" fmla="*/ 109 w 109"/>
                  <a:gd name="T67" fmla="*/ 152 h 162"/>
                  <a:gd name="T68" fmla="*/ 109 w 109"/>
                  <a:gd name="T69" fmla="*/ 133 h 162"/>
                  <a:gd name="T70" fmla="*/ 102 w 109"/>
                  <a:gd name="T71" fmla="*/ 123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9" h="162">
                    <a:moveTo>
                      <a:pt x="102" y="123"/>
                    </a:moveTo>
                    <a:cubicBezTo>
                      <a:pt x="91" y="119"/>
                      <a:pt x="79" y="117"/>
                      <a:pt x="69" y="115"/>
                    </a:cubicBezTo>
                    <a:cubicBezTo>
                      <a:pt x="62" y="114"/>
                      <a:pt x="53" y="112"/>
                      <a:pt x="51" y="110"/>
                    </a:cubicBezTo>
                    <a:cubicBezTo>
                      <a:pt x="51" y="105"/>
                      <a:pt x="51" y="105"/>
                      <a:pt x="51" y="105"/>
                    </a:cubicBezTo>
                    <a:cubicBezTo>
                      <a:pt x="74" y="104"/>
                      <a:pt x="83" y="97"/>
                      <a:pt x="84" y="96"/>
                    </a:cubicBezTo>
                    <a:cubicBezTo>
                      <a:pt x="85" y="95"/>
                      <a:pt x="86" y="94"/>
                      <a:pt x="85" y="92"/>
                    </a:cubicBezTo>
                    <a:cubicBezTo>
                      <a:pt x="85" y="91"/>
                      <a:pt x="84" y="89"/>
                      <a:pt x="83" y="89"/>
                    </a:cubicBezTo>
                    <a:cubicBezTo>
                      <a:pt x="78" y="86"/>
                      <a:pt x="73" y="65"/>
                      <a:pt x="72" y="47"/>
                    </a:cubicBezTo>
                    <a:cubicBezTo>
                      <a:pt x="72" y="34"/>
                      <a:pt x="67" y="21"/>
                      <a:pt x="57" y="12"/>
                    </a:cubicBezTo>
                    <a:cubicBezTo>
                      <a:pt x="54" y="8"/>
                      <a:pt x="49" y="5"/>
                      <a:pt x="43" y="3"/>
                    </a:cubicBezTo>
                    <a:cubicBezTo>
                      <a:pt x="33" y="0"/>
                      <a:pt x="22" y="0"/>
                      <a:pt x="13" y="4"/>
                    </a:cubicBezTo>
                    <a:cubicBezTo>
                      <a:pt x="9" y="5"/>
                      <a:pt x="5" y="7"/>
                      <a:pt x="2" y="9"/>
                    </a:cubicBezTo>
                    <a:cubicBezTo>
                      <a:pt x="0" y="11"/>
                      <a:pt x="0" y="14"/>
                      <a:pt x="2" y="16"/>
                    </a:cubicBezTo>
                    <a:cubicBezTo>
                      <a:pt x="3" y="18"/>
                      <a:pt x="6" y="18"/>
                      <a:pt x="8" y="17"/>
                    </a:cubicBezTo>
                    <a:cubicBezTo>
                      <a:pt x="10" y="15"/>
                      <a:pt x="13" y="14"/>
                      <a:pt x="16" y="13"/>
                    </a:cubicBezTo>
                    <a:cubicBezTo>
                      <a:pt x="24" y="10"/>
                      <a:pt x="31" y="9"/>
                      <a:pt x="40" y="12"/>
                    </a:cubicBezTo>
                    <a:cubicBezTo>
                      <a:pt x="44" y="14"/>
                      <a:pt x="48" y="16"/>
                      <a:pt x="50" y="19"/>
                    </a:cubicBezTo>
                    <a:cubicBezTo>
                      <a:pt x="50" y="19"/>
                      <a:pt x="50" y="19"/>
                      <a:pt x="51" y="19"/>
                    </a:cubicBezTo>
                    <a:cubicBezTo>
                      <a:pt x="58" y="26"/>
                      <a:pt x="62" y="36"/>
                      <a:pt x="62" y="47"/>
                    </a:cubicBezTo>
                    <a:cubicBezTo>
                      <a:pt x="63" y="55"/>
                      <a:pt x="66" y="80"/>
                      <a:pt x="73" y="91"/>
                    </a:cubicBezTo>
                    <a:cubicBezTo>
                      <a:pt x="68" y="93"/>
                      <a:pt x="60" y="96"/>
                      <a:pt x="47" y="96"/>
                    </a:cubicBezTo>
                    <a:cubicBezTo>
                      <a:pt x="44" y="96"/>
                      <a:pt x="42" y="98"/>
                      <a:pt x="42" y="101"/>
                    </a:cubicBezTo>
                    <a:cubicBezTo>
                      <a:pt x="42" y="112"/>
                      <a:pt x="42" y="112"/>
                      <a:pt x="42" y="112"/>
                    </a:cubicBezTo>
                    <a:cubicBezTo>
                      <a:pt x="42" y="112"/>
                      <a:pt x="42" y="113"/>
                      <a:pt x="42" y="113"/>
                    </a:cubicBezTo>
                    <a:cubicBezTo>
                      <a:pt x="44" y="120"/>
                      <a:pt x="53" y="122"/>
                      <a:pt x="67" y="124"/>
                    </a:cubicBezTo>
                    <a:cubicBezTo>
                      <a:pt x="76" y="126"/>
                      <a:pt x="88" y="128"/>
                      <a:pt x="99" y="132"/>
                    </a:cubicBezTo>
                    <a:cubicBezTo>
                      <a:pt x="99" y="132"/>
                      <a:pt x="99" y="133"/>
                      <a:pt x="99" y="133"/>
                    </a:cubicBezTo>
                    <a:cubicBezTo>
                      <a:pt x="99" y="152"/>
                      <a:pt x="99" y="152"/>
                      <a:pt x="99" y="152"/>
                    </a:cubicBezTo>
                    <a:cubicBezTo>
                      <a:pt x="99" y="152"/>
                      <a:pt x="99" y="153"/>
                      <a:pt x="98" y="153"/>
                    </a:cubicBezTo>
                    <a:cubicBezTo>
                      <a:pt x="57" y="153"/>
                      <a:pt x="57" y="153"/>
                      <a:pt x="57" y="153"/>
                    </a:cubicBezTo>
                    <a:cubicBezTo>
                      <a:pt x="55" y="153"/>
                      <a:pt x="53" y="155"/>
                      <a:pt x="53" y="158"/>
                    </a:cubicBezTo>
                    <a:cubicBezTo>
                      <a:pt x="53" y="160"/>
                      <a:pt x="55" y="162"/>
                      <a:pt x="57" y="162"/>
                    </a:cubicBezTo>
                    <a:cubicBezTo>
                      <a:pt x="98" y="162"/>
                      <a:pt x="98" y="162"/>
                      <a:pt x="98" y="162"/>
                    </a:cubicBezTo>
                    <a:cubicBezTo>
                      <a:pt x="104" y="162"/>
                      <a:pt x="109" y="158"/>
                      <a:pt x="109" y="152"/>
                    </a:cubicBezTo>
                    <a:cubicBezTo>
                      <a:pt x="109" y="133"/>
                      <a:pt x="109" y="133"/>
                      <a:pt x="109" y="133"/>
                    </a:cubicBezTo>
                    <a:cubicBezTo>
                      <a:pt x="109" y="129"/>
                      <a:pt x="106" y="125"/>
                      <a:pt x="102" y="1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6" name="Content Placeholder 15"/>
          <p:cNvSpPr txBox="1">
            <a:spLocks/>
          </p:cNvSpPr>
          <p:nvPr/>
        </p:nvSpPr>
        <p:spPr>
          <a:xfrm>
            <a:off x="1106710" y="2966788"/>
            <a:ext cx="842345" cy="2769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tabLst>
                <a:tab pos="6729413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tabLst>
                <a:tab pos="6729413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29413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29413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5029200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tabLst>
                <a:tab pos="6729413" algn="r"/>
              </a:tabLst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tabLst>
                <a:tab pos="6729413" algn="r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tabLst>
                <a:tab pos="6729413" algn="r"/>
              </a:tabLst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tabLst>
                <a:tab pos="6729413" algn="r"/>
              </a:tabLst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fontAlgn="auto">
              <a:spcAft>
                <a:spcPts val="200"/>
              </a:spcAft>
            </a:pPr>
            <a:r>
              <a:rPr kumimoji="0" lang="it-IT" sz="1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Mittente</a:t>
            </a:r>
            <a:endParaRPr kumimoji="0" lang="en-US" sz="18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4627509" y="1869105"/>
            <a:ext cx="1440000" cy="1440000"/>
            <a:chOff x="4307840" y="3068320"/>
            <a:chExt cx="1440000" cy="1440000"/>
          </a:xfrm>
        </p:grpSpPr>
        <p:sp>
          <p:nvSpPr>
            <p:cNvPr id="12" name="Oval 11"/>
            <p:cNvSpPr/>
            <p:nvPr/>
          </p:nvSpPr>
          <p:spPr bwMode="auto">
            <a:xfrm>
              <a:off x="4307840" y="3068320"/>
              <a:ext cx="1440000" cy="1440000"/>
            </a:xfrm>
            <a:prstGeom prst="ellipse">
              <a:avLst/>
            </a:prstGeom>
            <a:solidFill>
              <a:srgbClr val="0066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0000"/>
                </a:buClr>
                <a:buSzPct val="70000"/>
                <a:buFont typeface="Wingdings" pitchFamily="2" charset="2"/>
                <a:buNone/>
                <a:tabLst/>
              </a:pPr>
              <a:endParaRPr kumimoji="0" 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13" name="Group 12"/>
            <p:cNvGrpSpPr/>
            <p:nvPr/>
          </p:nvGrpSpPr>
          <p:grpSpPr>
            <a:xfrm>
              <a:off x="4701291" y="3204573"/>
              <a:ext cx="653098" cy="1167496"/>
              <a:chOff x="4701291" y="3180322"/>
              <a:chExt cx="653098" cy="1167496"/>
            </a:xfrm>
          </p:grpSpPr>
          <p:grpSp>
            <p:nvGrpSpPr>
              <p:cNvPr id="14" name="Group 13"/>
              <p:cNvGrpSpPr>
                <a:grpSpLocks noChangeAspect="1"/>
              </p:cNvGrpSpPr>
              <p:nvPr/>
            </p:nvGrpSpPr>
            <p:grpSpPr>
              <a:xfrm>
                <a:off x="4701291" y="3692118"/>
                <a:ext cx="653098" cy="655700"/>
                <a:chOff x="7186613" y="4868863"/>
                <a:chExt cx="796925" cy="800101"/>
              </a:xfrm>
              <a:solidFill>
                <a:schemeClr val="bg1"/>
              </a:solidFill>
            </p:grpSpPr>
            <p:sp>
              <p:nvSpPr>
                <p:cNvPr id="16" name="Freeform 57"/>
                <p:cNvSpPr>
                  <a:spLocks noEditPoints="1"/>
                </p:cNvSpPr>
                <p:nvPr/>
              </p:nvSpPr>
              <p:spPr bwMode="auto">
                <a:xfrm>
                  <a:off x="7343775" y="5300663"/>
                  <a:ext cx="214313" cy="214313"/>
                </a:xfrm>
                <a:custGeom>
                  <a:avLst/>
                  <a:gdLst>
                    <a:gd name="T0" fmla="*/ 32 w 64"/>
                    <a:gd name="T1" fmla="*/ 0 h 64"/>
                    <a:gd name="T2" fmla="*/ 0 w 64"/>
                    <a:gd name="T3" fmla="*/ 32 h 64"/>
                    <a:gd name="T4" fmla="*/ 32 w 64"/>
                    <a:gd name="T5" fmla="*/ 64 h 64"/>
                    <a:gd name="T6" fmla="*/ 64 w 64"/>
                    <a:gd name="T7" fmla="*/ 32 h 64"/>
                    <a:gd name="T8" fmla="*/ 32 w 64"/>
                    <a:gd name="T9" fmla="*/ 0 h 64"/>
                    <a:gd name="T10" fmla="*/ 32 w 64"/>
                    <a:gd name="T11" fmla="*/ 54 h 64"/>
                    <a:gd name="T12" fmla="*/ 9 w 64"/>
                    <a:gd name="T13" fmla="*/ 32 h 64"/>
                    <a:gd name="T14" fmla="*/ 32 w 64"/>
                    <a:gd name="T15" fmla="*/ 9 h 64"/>
                    <a:gd name="T16" fmla="*/ 54 w 64"/>
                    <a:gd name="T17" fmla="*/ 32 h 64"/>
                    <a:gd name="T18" fmla="*/ 32 w 64"/>
                    <a:gd name="T19" fmla="*/ 5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4" h="64">
                      <a:moveTo>
                        <a:pt x="32" y="0"/>
                      </a:moveTo>
                      <a:cubicBezTo>
                        <a:pt x="14" y="0"/>
                        <a:pt x="0" y="14"/>
                        <a:pt x="0" y="32"/>
                      </a:cubicBezTo>
                      <a:cubicBezTo>
                        <a:pt x="0" y="49"/>
                        <a:pt x="14" y="64"/>
                        <a:pt x="32" y="64"/>
                      </a:cubicBezTo>
                      <a:cubicBezTo>
                        <a:pt x="50" y="64"/>
                        <a:pt x="64" y="49"/>
                        <a:pt x="64" y="32"/>
                      </a:cubicBezTo>
                      <a:cubicBezTo>
                        <a:pt x="64" y="14"/>
                        <a:pt x="50" y="0"/>
                        <a:pt x="32" y="0"/>
                      </a:cubicBezTo>
                      <a:close/>
                      <a:moveTo>
                        <a:pt x="32" y="54"/>
                      </a:moveTo>
                      <a:cubicBezTo>
                        <a:pt x="19" y="54"/>
                        <a:pt x="9" y="44"/>
                        <a:pt x="9" y="32"/>
                      </a:cubicBezTo>
                      <a:cubicBezTo>
                        <a:pt x="9" y="19"/>
                        <a:pt x="19" y="9"/>
                        <a:pt x="32" y="9"/>
                      </a:cubicBezTo>
                      <a:cubicBezTo>
                        <a:pt x="44" y="9"/>
                        <a:pt x="54" y="19"/>
                        <a:pt x="54" y="32"/>
                      </a:cubicBezTo>
                      <a:cubicBezTo>
                        <a:pt x="54" y="44"/>
                        <a:pt x="44" y="54"/>
                        <a:pt x="32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" name="Freeform 58"/>
                <p:cNvSpPr>
                  <a:spLocks noEditPoints="1"/>
                </p:cNvSpPr>
                <p:nvPr/>
              </p:nvSpPr>
              <p:spPr bwMode="auto">
                <a:xfrm>
                  <a:off x="7186613" y="5143501"/>
                  <a:ext cx="525463" cy="525463"/>
                </a:xfrm>
                <a:custGeom>
                  <a:avLst/>
                  <a:gdLst>
                    <a:gd name="T0" fmla="*/ 136 w 157"/>
                    <a:gd name="T1" fmla="*/ 61 h 157"/>
                    <a:gd name="T2" fmla="*/ 141 w 157"/>
                    <a:gd name="T3" fmla="*/ 37 h 157"/>
                    <a:gd name="T4" fmla="*/ 126 w 157"/>
                    <a:gd name="T5" fmla="*/ 16 h 157"/>
                    <a:gd name="T6" fmla="*/ 107 w 157"/>
                    <a:gd name="T7" fmla="*/ 26 h 157"/>
                    <a:gd name="T8" fmla="*/ 94 w 157"/>
                    <a:gd name="T9" fmla="*/ 5 h 157"/>
                    <a:gd name="T10" fmla="*/ 68 w 157"/>
                    <a:gd name="T11" fmla="*/ 1 h 157"/>
                    <a:gd name="T12" fmla="*/ 62 w 157"/>
                    <a:gd name="T13" fmla="*/ 22 h 157"/>
                    <a:gd name="T14" fmla="*/ 37 w 157"/>
                    <a:gd name="T15" fmla="*/ 16 h 157"/>
                    <a:gd name="T16" fmla="*/ 24 w 157"/>
                    <a:gd name="T17" fmla="*/ 23 h 157"/>
                    <a:gd name="T18" fmla="*/ 16 w 157"/>
                    <a:gd name="T19" fmla="*/ 31 h 157"/>
                    <a:gd name="T20" fmla="*/ 27 w 157"/>
                    <a:gd name="T21" fmla="*/ 51 h 157"/>
                    <a:gd name="T22" fmla="*/ 5 w 157"/>
                    <a:gd name="T23" fmla="*/ 64 h 157"/>
                    <a:gd name="T24" fmla="*/ 0 w 157"/>
                    <a:gd name="T25" fmla="*/ 78 h 157"/>
                    <a:gd name="T26" fmla="*/ 1 w 157"/>
                    <a:gd name="T27" fmla="*/ 89 h 157"/>
                    <a:gd name="T28" fmla="*/ 22 w 157"/>
                    <a:gd name="T29" fmla="*/ 96 h 157"/>
                    <a:gd name="T30" fmla="*/ 16 w 157"/>
                    <a:gd name="T31" fmla="*/ 120 h 157"/>
                    <a:gd name="T32" fmla="*/ 23 w 157"/>
                    <a:gd name="T33" fmla="*/ 133 h 157"/>
                    <a:gd name="T34" fmla="*/ 32 w 157"/>
                    <a:gd name="T35" fmla="*/ 141 h 157"/>
                    <a:gd name="T36" fmla="*/ 51 w 157"/>
                    <a:gd name="T37" fmla="*/ 131 h 157"/>
                    <a:gd name="T38" fmla="*/ 64 w 157"/>
                    <a:gd name="T39" fmla="*/ 152 h 157"/>
                    <a:gd name="T40" fmla="*/ 79 w 157"/>
                    <a:gd name="T41" fmla="*/ 157 h 157"/>
                    <a:gd name="T42" fmla="*/ 94 w 157"/>
                    <a:gd name="T43" fmla="*/ 152 h 157"/>
                    <a:gd name="T44" fmla="*/ 107 w 157"/>
                    <a:gd name="T45" fmla="*/ 131 h 157"/>
                    <a:gd name="T46" fmla="*/ 126 w 157"/>
                    <a:gd name="T47" fmla="*/ 141 h 157"/>
                    <a:gd name="T48" fmla="*/ 141 w 157"/>
                    <a:gd name="T49" fmla="*/ 120 h 157"/>
                    <a:gd name="T50" fmla="*/ 136 w 157"/>
                    <a:gd name="T51" fmla="*/ 96 h 157"/>
                    <a:gd name="T52" fmla="*/ 156 w 157"/>
                    <a:gd name="T53" fmla="*/ 89 h 157"/>
                    <a:gd name="T54" fmla="*/ 156 w 157"/>
                    <a:gd name="T55" fmla="*/ 68 h 157"/>
                    <a:gd name="T56" fmla="*/ 147 w 157"/>
                    <a:gd name="T57" fmla="*/ 85 h 157"/>
                    <a:gd name="T58" fmla="*/ 127 w 157"/>
                    <a:gd name="T59" fmla="*/ 90 h 157"/>
                    <a:gd name="T60" fmla="*/ 122 w 157"/>
                    <a:gd name="T61" fmla="*/ 110 h 157"/>
                    <a:gd name="T62" fmla="*/ 123 w 157"/>
                    <a:gd name="T63" fmla="*/ 131 h 157"/>
                    <a:gd name="T64" fmla="*/ 105 w 157"/>
                    <a:gd name="T65" fmla="*/ 121 h 157"/>
                    <a:gd name="T66" fmla="*/ 87 w 157"/>
                    <a:gd name="T67" fmla="*/ 131 h 157"/>
                    <a:gd name="T68" fmla="*/ 73 w 157"/>
                    <a:gd name="T69" fmla="*/ 147 h 157"/>
                    <a:gd name="T70" fmla="*/ 67 w 157"/>
                    <a:gd name="T71" fmla="*/ 127 h 157"/>
                    <a:gd name="T72" fmla="*/ 48 w 157"/>
                    <a:gd name="T73" fmla="*/ 121 h 157"/>
                    <a:gd name="T74" fmla="*/ 31 w 157"/>
                    <a:gd name="T75" fmla="*/ 128 h 157"/>
                    <a:gd name="T76" fmla="*/ 26 w 157"/>
                    <a:gd name="T77" fmla="*/ 123 h 157"/>
                    <a:gd name="T78" fmla="*/ 36 w 157"/>
                    <a:gd name="T79" fmla="*/ 105 h 157"/>
                    <a:gd name="T80" fmla="*/ 27 w 157"/>
                    <a:gd name="T81" fmla="*/ 87 h 157"/>
                    <a:gd name="T82" fmla="*/ 10 w 157"/>
                    <a:gd name="T83" fmla="*/ 80 h 157"/>
                    <a:gd name="T84" fmla="*/ 10 w 157"/>
                    <a:gd name="T85" fmla="*/ 73 h 157"/>
                    <a:gd name="T86" fmla="*/ 31 w 157"/>
                    <a:gd name="T87" fmla="*/ 67 h 157"/>
                    <a:gd name="T88" fmla="*/ 36 w 157"/>
                    <a:gd name="T89" fmla="*/ 47 h 157"/>
                    <a:gd name="T90" fmla="*/ 30 w 157"/>
                    <a:gd name="T91" fmla="*/ 31 h 157"/>
                    <a:gd name="T92" fmla="*/ 35 w 157"/>
                    <a:gd name="T93" fmla="*/ 26 h 157"/>
                    <a:gd name="T94" fmla="*/ 53 w 157"/>
                    <a:gd name="T95" fmla="*/ 36 h 157"/>
                    <a:gd name="T96" fmla="*/ 71 w 157"/>
                    <a:gd name="T97" fmla="*/ 26 h 157"/>
                    <a:gd name="T98" fmla="*/ 85 w 157"/>
                    <a:gd name="T99" fmla="*/ 10 h 157"/>
                    <a:gd name="T100" fmla="*/ 91 w 157"/>
                    <a:gd name="T101" fmla="*/ 30 h 157"/>
                    <a:gd name="T102" fmla="*/ 110 w 157"/>
                    <a:gd name="T103" fmla="*/ 36 h 157"/>
                    <a:gd name="T104" fmla="*/ 131 w 157"/>
                    <a:gd name="T105" fmla="*/ 34 h 157"/>
                    <a:gd name="T106" fmla="*/ 121 w 157"/>
                    <a:gd name="T107" fmla="*/ 53 h 157"/>
                    <a:gd name="T108" fmla="*/ 131 w 157"/>
                    <a:gd name="T109" fmla="*/ 71 h 157"/>
                    <a:gd name="T110" fmla="*/ 148 w 157"/>
                    <a:gd name="T111" fmla="*/ 79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57" h="157">
                      <a:moveTo>
                        <a:pt x="152" y="64"/>
                      </a:moveTo>
                      <a:cubicBezTo>
                        <a:pt x="136" y="61"/>
                        <a:pt x="136" y="61"/>
                        <a:pt x="136" y="61"/>
                      </a:cubicBezTo>
                      <a:cubicBezTo>
                        <a:pt x="134" y="58"/>
                        <a:pt x="133" y="54"/>
                        <a:pt x="131" y="51"/>
                      </a:cubicBezTo>
                      <a:cubicBezTo>
                        <a:pt x="141" y="37"/>
                        <a:pt x="141" y="37"/>
                        <a:pt x="141" y="37"/>
                      </a:cubicBezTo>
                      <a:cubicBezTo>
                        <a:pt x="143" y="35"/>
                        <a:pt x="143" y="33"/>
                        <a:pt x="141" y="31"/>
                      </a:cubicBezTo>
                      <a:cubicBezTo>
                        <a:pt x="137" y="26"/>
                        <a:pt x="132" y="20"/>
                        <a:pt x="126" y="16"/>
                      </a:cubicBezTo>
                      <a:cubicBezTo>
                        <a:pt x="124" y="15"/>
                        <a:pt x="122" y="15"/>
                        <a:pt x="120" y="16"/>
                      </a:cubicBezTo>
                      <a:cubicBezTo>
                        <a:pt x="107" y="26"/>
                        <a:pt x="107" y="26"/>
                        <a:pt x="107" y="26"/>
                      </a:cubicBezTo>
                      <a:cubicBezTo>
                        <a:pt x="103" y="25"/>
                        <a:pt x="100" y="23"/>
                        <a:pt x="96" y="22"/>
                      </a:cubicBezTo>
                      <a:cubicBezTo>
                        <a:pt x="94" y="5"/>
                        <a:pt x="94" y="5"/>
                        <a:pt x="94" y="5"/>
                      </a:cubicBezTo>
                      <a:cubicBezTo>
                        <a:pt x="94" y="3"/>
                        <a:pt x="92" y="1"/>
                        <a:pt x="90" y="1"/>
                      </a:cubicBezTo>
                      <a:cubicBezTo>
                        <a:pt x="82" y="0"/>
                        <a:pt x="75" y="0"/>
                        <a:pt x="68" y="1"/>
                      </a:cubicBezTo>
                      <a:cubicBezTo>
                        <a:pt x="66" y="1"/>
                        <a:pt x="64" y="3"/>
                        <a:pt x="64" y="5"/>
                      </a:cubicBezTo>
                      <a:cubicBezTo>
                        <a:pt x="62" y="22"/>
                        <a:pt x="62" y="22"/>
                        <a:pt x="62" y="22"/>
                      </a:cubicBezTo>
                      <a:cubicBezTo>
                        <a:pt x="58" y="23"/>
                        <a:pt x="54" y="25"/>
                        <a:pt x="51" y="26"/>
                      </a:cubicBezTo>
                      <a:cubicBezTo>
                        <a:pt x="37" y="16"/>
                        <a:pt x="37" y="16"/>
                        <a:pt x="37" y="16"/>
                      </a:cubicBezTo>
                      <a:cubicBezTo>
                        <a:pt x="36" y="15"/>
                        <a:pt x="33" y="15"/>
                        <a:pt x="32" y="16"/>
                      </a:cubicBezTo>
                      <a:cubicBezTo>
                        <a:pt x="29" y="18"/>
                        <a:pt x="26" y="20"/>
                        <a:pt x="24" y="23"/>
                      </a:cubicBez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0" y="26"/>
                        <a:pt x="18" y="29"/>
                        <a:pt x="16" y="31"/>
                      </a:cubicBezTo>
                      <a:cubicBezTo>
                        <a:pt x="15" y="33"/>
                        <a:pt x="15" y="35"/>
                        <a:pt x="16" y="37"/>
                      </a:cubicBezTo>
                      <a:cubicBezTo>
                        <a:pt x="27" y="51"/>
                        <a:pt x="27" y="51"/>
                        <a:pt x="27" y="51"/>
                      </a:cubicBezTo>
                      <a:cubicBezTo>
                        <a:pt x="25" y="54"/>
                        <a:pt x="23" y="58"/>
                        <a:pt x="22" y="61"/>
                      </a:cubicBezTo>
                      <a:cubicBezTo>
                        <a:pt x="5" y="64"/>
                        <a:pt x="5" y="64"/>
                        <a:pt x="5" y="64"/>
                      </a:cubicBezTo>
                      <a:cubicBezTo>
                        <a:pt x="3" y="64"/>
                        <a:pt x="2" y="66"/>
                        <a:pt x="1" y="68"/>
                      </a:cubicBezTo>
                      <a:cubicBezTo>
                        <a:pt x="1" y="71"/>
                        <a:pt x="1" y="74"/>
                        <a:pt x="0" y="78"/>
                      </a:cubicBezTo>
                      <a:cubicBezTo>
                        <a:pt x="0" y="80"/>
                        <a:pt x="0" y="80"/>
                        <a:pt x="0" y="80"/>
                      </a:cubicBezTo>
                      <a:cubicBezTo>
                        <a:pt x="1" y="83"/>
                        <a:pt x="1" y="86"/>
                        <a:pt x="1" y="89"/>
                      </a:cubicBezTo>
                      <a:cubicBezTo>
                        <a:pt x="2" y="92"/>
                        <a:pt x="3" y="93"/>
                        <a:pt x="5" y="94"/>
                      </a:cubicBezTo>
                      <a:cubicBezTo>
                        <a:pt x="22" y="96"/>
                        <a:pt x="22" y="96"/>
                        <a:pt x="22" y="96"/>
                      </a:cubicBezTo>
                      <a:cubicBezTo>
                        <a:pt x="23" y="100"/>
                        <a:pt x="25" y="103"/>
                        <a:pt x="27" y="107"/>
                      </a:cubicBezTo>
                      <a:cubicBezTo>
                        <a:pt x="16" y="120"/>
                        <a:pt x="16" y="120"/>
                        <a:pt x="16" y="120"/>
                      </a:cubicBezTo>
                      <a:cubicBezTo>
                        <a:pt x="15" y="122"/>
                        <a:pt x="15" y="124"/>
                        <a:pt x="16" y="126"/>
                      </a:cubicBezTo>
                      <a:cubicBezTo>
                        <a:pt x="18" y="128"/>
                        <a:pt x="20" y="131"/>
                        <a:pt x="23" y="133"/>
                      </a:cubicBezTo>
                      <a:cubicBezTo>
                        <a:pt x="24" y="135"/>
                        <a:pt x="24" y="135"/>
                        <a:pt x="24" y="135"/>
                      </a:cubicBezTo>
                      <a:cubicBezTo>
                        <a:pt x="26" y="137"/>
                        <a:pt x="29" y="139"/>
                        <a:pt x="32" y="141"/>
                      </a:cubicBezTo>
                      <a:cubicBezTo>
                        <a:pt x="33" y="142"/>
                        <a:pt x="36" y="142"/>
                        <a:pt x="37" y="141"/>
                      </a:cubicBezTo>
                      <a:cubicBezTo>
                        <a:pt x="51" y="131"/>
                        <a:pt x="51" y="131"/>
                        <a:pt x="51" y="131"/>
                      </a:cubicBezTo>
                      <a:cubicBezTo>
                        <a:pt x="54" y="133"/>
                        <a:pt x="58" y="134"/>
                        <a:pt x="62" y="135"/>
                      </a:cubicBezTo>
                      <a:cubicBezTo>
                        <a:pt x="64" y="152"/>
                        <a:pt x="64" y="152"/>
                        <a:pt x="64" y="152"/>
                      </a:cubicBezTo>
                      <a:cubicBezTo>
                        <a:pt x="64" y="154"/>
                        <a:pt x="66" y="156"/>
                        <a:pt x="68" y="156"/>
                      </a:cubicBezTo>
                      <a:cubicBezTo>
                        <a:pt x="72" y="157"/>
                        <a:pt x="75" y="157"/>
                        <a:pt x="79" y="157"/>
                      </a:cubicBezTo>
                      <a:cubicBezTo>
                        <a:pt x="82" y="157"/>
                        <a:pt x="86" y="157"/>
                        <a:pt x="90" y="156"/>
                      </a:cubicBezTo>
                      <a:cubicBezTo>
                        <a:pt x="92" y="156"/>
                        <a:pt x="94" y="154"/>
                        <a:pt x="94" y="152"/>
                      </a:cubicBezTo>
                      <a:cubicBezTo>
                        <a:pt x="96" y="135"/>
                        <a:pt x="96" y="135"/>
                        <a:pt x="96" y="135"/>
                      </a:cubicBezTo>
                      <a:cubicBezTo>
                        <a:pt x="100" y="134"/>
                        <a:pt x="103" y="133"/>
                        <a:pt x="107" y="131"/>
                      </a:cubicBezTo>
                      <a:cubicBezTo>
                        <a:pt x="120" y="141"/>
                        <a:pt x="120" y="141"/>
                        <a:pt x="120" y="141"/>
                      </a:cubicBezTo>
                      <a:cubicBezTo>
                        <a:pt x="122" y="142"/>
                        <a:pt x="124" y="142"/>
                        <a:pt x="126" y="141"/>
                      </a:cubicBezTo>
                      <a:cubicBezTo>
                        <a:pt x="132" y="137"/>
                        <a:pt x="137" y="132"/>
                        <a:pt x="141" y="126"/>
                      </a:cubicBezTo>
                      <a:cubicBezTo>
                        <a:pt x="143" y="124"/>
                        <a:pt x="143" y="122"/>
                        <a:pt x="141" y="120"/>
                      </a:cubicBezTo>
                      <a:cubicBezTo>
                        <a:pt x="131" y="107"/>
                        <a:pt x="131" y="107"/>
                        <a:pt x="131" y="107"/>
                      </a:cubicBezTo>
                      <a:cubicBezTo>
                        <a:pt x="133" y="103"/>
                        <a:pt x="134" y="99"/>
                        <a:pt x="136" y="96"/>
                      </a:cubicBezTo>
                      <a:cubicBezTo>
                        <a:pt x="152" y="94"/>
                        <a:pt x="152" y="94"/>
                        <a:pt x="152" y="94"/>
                      </a:cubicBezTo>
                      <a:cubicBezTo>
                        <a:pt x="154" y="93"/>
                        <a:pt x="156" y="92"/>
                        <a:pt x="156" y="89"/>
                      </a:cubicBezTo>
                      <a:cubicBezTo>
                        <a:pt x="157" y="86"/>
                        <a:pt x="157" y="82"/>
                        <a:pt x="157" y="79"/>
                      </a:cubicBezTo>
                      <a:cubicBezTo>
                        <a:pt x="157" y="75"/>
                        <a:pt x="157" y="71"/>
                        <a:pt x="156" y="68"/>
                      </a:cubicBezTo>
                      <a:cubicBezTo>
                        <a:pt x="156" y="66"/>
                        <a:pt x="154" y="64"/>
                        <a:pt x="152" y="64"/>
                      </a:cubicBezTo>
                      <a:close/>
                      <a:moveTo>
                        <a:pt x="147" y="85"/>
                      </a:moveTo>
                      <a:cubicBezTo>
                        <a:pt x="131" y="87"/>
                        <a:pt x="131" y="87"/>
                        <a:pt x="131" y="87"/>
                      </a:cubicBezTo>
                      <a:cubicBezTo>
                        <a:pt x="129" y="87"/>
                        <a:pt x="128" y="88"/>
                        <a:pt x="127" y="90"/>
                      </a:cubicBezTo>
                      <a:cubicBezTo>
                        <a:pt x="126" y="95"/>
                        <a:pt x="124" y="100"/>
                        <a:pt x="121" y="104"/>
                      </a:cubicBezTo>
                      <a:cubicBezTo>
                        <a:pt x="120" y="106"/>
                        <a:pt x="120" y="108"/>
                        <a:pt x="122" y="110"/>
                      </a:cubicBezTo>
                      <a:cubicBezTo>
                        <a:pt x="131" y="123"/>
                        <a:pt x="131" y="123"/>
                        <a:pt x="131" y="123"/>
                      </a:cubicBezTo>
                      <a:cubicBezTo>
                        <a:pt x="129" y="126"/>
                        <a:pt x="126" y="129"/>
                        <a:pt x="123" y="131"/>
                      </a:cubicBezTo>
                      <a:cubicBezTo>
                        <a:pt x="110" y="121"/>
                        <a:pt x="110" y="121"/>
                        <a:pt x="110" y="121"/>
                      </a:cubicBezTo>
                      <a:cubicBezTo>
                        <a:pt x="109" y="120"/>
                        <a:pt x="106" y="120"/>
                        <a:pt x="105" y="121"/>
                      </a:cubicBezTo>
                      <a:cubicBezTo>
                        <a:pt x="100" y="124"/>
                        <a:pt x="96" y="126"/>
                        <a:pt x="91" y="127"/>
                      </a:cubicBezTo>
                      <a:cubicBezTo>
                        <a:pt x="89" y="127"/>
                        <a:pt x="87" y="129"/>
                        <a:pt x="87" y="131"/>
                      </a:cubicBezTo>
                      <a:cubicBezTo>
                        <a:pt x="85" y="147"/>
                        <a:pt x="85" y="147"/>
                        <a:pt x="85" y="147"/>
                      </a:cubicBezTo>
                      <a:cubicBezTo>
                        <a:pt x="81" y="147"/>
                        <a:pt x="77" y="147"/>
                        <a:pt x="73" y="147"/>
                      </a:cubicBezTo>
                      <a:cubicBezTo>
                        <a:pt x="71" y="131"/>
                        <a:pt x="71" y="131"/>
                        <a:pt x="71" y="131"/>
                      </a:cubicBezTo>
                      <a:cubicBezTo>
                        <a:pt x="71" y="129"/>
                        <a:pt x="69" y="127"/>
                        <a:pt x="67" y="127"/>
                      </a:cubicBezTo>
                      <a:cubicBezTo>
                        <a:pt x="62" y="126"/>
                        <a:pt x="57" y="124"/>
                        <a:pt x="53" y="121"/>
                      </a:cubicBezTo>
                      <a:cubicBezTo>
                        <a:pt x="51" y="120"/>
                        <a:pt x="49" y="120"/>
                        <a:pt x="48" y="121"/>
                      </a:cubicBezTo>
                      <a:cubicBezTo>
                        <a:pt x="35" y="131"/>
                        <a:pt x="35" y="131"/>
                        <a:pt x="35" y="131"/>
                      </a:cubicBezTo>
                      <a:cubicBezTo>
                        <a:pt x="33" y="130"/>
                        <a:pt x="32" y="129"/>
                        <a:pt x="31" y="128"/>
                      </a:cubicBezTo>
                      <a:cubicBezTo>
                        <a:pt x="30" y="127"/>
                        <a:pt x="30" y="127"/>
                        <a:pt x="30" y="127"/>
                      </a:cubicBezTo>
                      <a:cubicBezTo>
                        <a:pt x="28" y="125"/>
                        <a:pt x="27" y="124"/>
                        <a:pt x="26" y="123"/>
                      </a:cubicBezTo>
                      <a:cubicBezTo>
                        <a:pt x="36" y="110"/>
                        <a:pt x="36" y="110"/>
                        <a:pt x="36" y="110"/>
                      </a:cubicBezTo>
                      <a:cubicBezTo>
                        <a:pt x="37" y="108"/>
                        <a:pt x="38" y="106"/>
                        <a:pt x="36" y="105"/>
                      </a:cubicBezTo>
                      <a:cubicBezTo>
                        <a:pt x="34" y="100"/>
                        <a:pt x="32" y="95"/>
                        <a:pt x="31" y="90"/>
                      </a:cubicBezTo>
                      <a:cubicBezTo>
                        <a:pt x="30" y="88"/>
                        <a:pt x="28" y="87"/>
                        <a:pt x="27" y="87"/>
                      </a:cubicBezTo>
                      <a:cubicBezTo>
                        <a:pt x="10" y="84"/>
                        <a:pt x="10" y="84"/>
                        <a:pt x="10" y="84"/>
                      </a:cubicBezTo>
                      <a:cubicBezTo>
                        <a:pt x="10" y="83"/>
                        <a:pt x="10" y="81"/>
                        <a:pt x="10" y="80"/>
                      </a:cubicBezTo>
                      <a:cubicBezTo>
                        <a:pt x="10" y="78"/>
                        <a:pt x="10" y="78"/>
                        <a:pt x="10" y="78"/>
                      </a:cubicBezTo>
                      <a:cubicBezTo>
                        <a:pt x="10" y="76"/>
                        <a:pt x="10" y="74"/>
                        <a:pt x="10" y="73"/>
                      </a:cubicBezTo>
                      <a:cubicBezTo>
                        <a:pt x="27" y="71"/>
                        <a:pt x="27" y="71"/>
                        <a:pt x="27" y="71"/>
                      </a:cubicBezTo>
                      <a:cubicBezTo>
                        <a:pt x="28" y="70"/>
                        <a:pt x="30" y="69"/>
                        <a:pt x="31" y="67"/>
                      </a:cubicBezTo>
                      <a:cubicBezTo>
                        <a:pt x="32" y="62"/>
                        <a:pt x="34" y="57"/>
                        <a:pt x="36" y="53"/>
                      </a:cubicBezTo>
                      <a:cubicBezTo>
                        <a:pt x="38" y="51"/>
                        <a:pt x="37" y="49"/>
                        <a:pt x="36" y="47"/>
                      </a:cubicBezTo>
                      <a:cubicBezTo>
                        <a:pt x="26" y="34"/>
                        <a:pt x="26" y="34"/>
                        <a:pt x="26" y="34"/>
                      </a:cubicBezTo>
                      <a:cubicBezTo>
                        <a:pt x="27" y="33"/>
                        <a:pt x="28" y="32"/>
                        <a:pt x="30" y="31"/>
                      </a:cubicBezTo>
                      <a:cubicBezTo>
                        <a:pt x="31" y="29"/>
                        <a:pt x="31" y="29"/>
                        <a:pt x="31" y="29"/>
                      </a:cubicBezTo>
                      <a:cubicBezTo>
                        <a:pt x="32" y="28"/>
                        <a:pt x="33" y="27"/>
                        <a:pt x="35" y="26"/>
                      </a:cubicBezTo>
                      <a:cubicBezTo>
                        <a:pt x="48" y="36"/>
                        <a:pt x="48" y="36"/>
                        <a:pt x="48" y="36"/>
                      </a:cubicBezTo>
                      <a:cubicBezTo>
                        <a:pt x="49" y="37"/>
                        <a:pt x="51" y="37"/>
                        <a:pt x="53" y="36"/>
                      </a:cubicBezTo>
                      <a:cubicBezTo>
                        <a:pt x="57" y="34"/>
                        <a:pt x="62" y="32"/>
                        <a:pt x="67" y="30"/>
                      </a:cubicBezTo>
                      <a:cubicBezTo>
                        <a:pt x="69" y="30"/>
                        <a:pt x="71" y="28"/>
                        <a:pt x="71" y="26"/>
                      </a:cubicBezTo>
                      <a:cubicBezTo>
                        <a:pt x="73" y="10"/>
                        <a:pt x="73" y="10"/>
                        <a:pt x="73" y="10"/>
                      </a:cubicBezTo>
                      <a:cubicBezTo>
                        <a:pt x="77" y="10"/>
                        <a:pt x="81" y="10"/>
                        <a:pt x="85" y="10"/>
                      </a:cubicBezTo>
                      <a:cubicBezTo>
                        <a:pt x="87" y="26"/>
                        <a:pt x="87" y="26"/>
                        <a:pt x="87" y="26"/>
                      </a:cubicBezTo>
                      <a:cubicBezTo>
                        <a:pt x="87" y="28"/>
                        <a:pt x="89" y="30"/>
                        <a:pt x="91" y="30"/>
                      </a:cubicBezTo>
                      <a:cubicBezTo>
                        <a:pt x="96" y="32"/>
                        <a:pt x="100" y="34"/>
                        <a:pt x="105" y="36"/>
                      </a:cubicBezTo>
                      <a:cubicBezTo>
                        <a:pt x="106" y="37"/>
                        <a:pt x="109" y="37"/>
                        <a:pt x="110" y="36"/>
                      </a:cubicBezTo>
                      <a:cubicBezTo>
                        <a:pt x="123" y="26"/>
                        <a:pt x="123" y="26"/>
                        <a:pt x="123" y="26"/>
                      </a:cubicBezTo>
                      <a:cubicBezTo>
                        <a:pt x="126" y="29"/>
                        <a:pt x="129" y="31"/>
                        <a:pt x="131" y="34"/>
                      </a:cubicBezTo>
                      <a:cubicBezTo>
                        <a:pt x="122" y="47"/>
                        <a:pt x="122" y="47"/>
                        <a:pt x="122" y="47"/>
                      </a:cubicBezTo>
                      <a:cubicBezTo>
                        <a:pt x="120" y="49"/>
                        <a:pt x="120" y="51"/>
                        <a:pt x="121" y="53"/>
                      </a:cubicBezTo>
                      <a:cubicBezTo>
                        <a:pt x="124" y="57"/>
                        <a:pt x="126" y="62"/>
                        <a:pt x="127" y="67"/>
                      </a:cubicBezTo>
                      <a:cubicBezTo>
                        <a:pt x="128" y="69"/>
                        <a:pt x="129" y="70"/>
                        <a:pt x="131" y="71"/>
                      </a:cubicBezTo>
                      <a:cubicBezTo>
                        <a:pt x="147" y="73"/>
                        <a:pt x="147" y="73"/>
                        <a:pt x="147" y="73"/>
                      </a:cubicBezTo>
                      <a:cubicBezTo>
                        <a:pt x="148" y="75"/>
                        <a:pt x="148" y="77"/>
                        <a:pt x="148" y="79"/>
                      </a:cubicBezTo>
                      <a:cubicBezTo>
                        <a:pt x="148" y="81"/>
                        <a:pt x="148" y="83"/>
                        <a:pt x="147" y="8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" name="Freeform 59"/>
                <p:cNvSpPr>
                  <a:spLocks noEditPoints="1"/>
                </p:cNvSpPr>
                <p:nvPr/>
              </p:nvSpPr>
              <p:spPr bwMode="auto">
                <a:xfrm>
                  <a:off x="7718425" y="4983163"/>
                  <a:ext cx="153988" cy="153988"/>
                </a:xfrm>
                <a:custGeom>
                  <a:avLst/>
                  <a:gdLst>
                    <a:gd name="T0" fmla="*/ 31 w 46"/>
                    <a:gd name="T1" fmla="*/ 2 h 46"/>
                    <a:gd name="T2" fmla="*/ 23 w 46"/>
                    <a:gd name="T3" fmla="*/ 0 h 46"/>
                    <a:gd name="T4" fmla="*/ 2 w 46"/>
                    <a:gd name="T5" fmla="*/ 14 h 46"/>
                    <a:gd name="T6" fmla="*/ 2 w 46"/>
                    <a:gd name="T7" fmla="*/ 32 h 46"/>
                    <a:gd name="T8" fmla="*/ 14 w 46"/>
                    <a:gd name="T9" fmla="*/ 44 h 46"/>
                    <a:gd name="T10" fmla="*/ 23 w 46"/>
                    <a:gd name="T11" fmla="*/ 46 h 46"/>
                    <a:gd name="T12" fmla="*/ 43 w 46"/>
                    <a:gd name="T13" fmla="*/ 32 h 46"/>
                    <a:gd name="T14" fmla="*/ 43 w 46"/>
                    <a:gd name="T15" fmla="*/ 14 h 46"/>
                    <a:gd name="T16" fmla="*/ 31 w 46"/>
                    <a:gd name="T17" fmla="*/ 2 h 46"/>
                    <a:gd name="T18" fmla="*/ 35 w 46"/>
                    <a:gd name="T19" fmla="*/ 28 h 46"/>
                    <a:gd name="T20" fmla="*/ 23 w 46"/>
                    <a:gd name="T21" fmla="*/ 36 h 46"/>
                    <a:gd name="T22" fmla="*/ 18 w 46"/>
                    <a:gd name="T23" fmla="*/ 35 h 46"/>
                    <a:gd name="T24" fmla="*/ 11 w 46"/>
                    <a:gd name="T25" fmla="*/ 28 h 46"/>
                    <a:gd name="T26" fmla="*/ 11 w 46"/>
                    <a:gd name="T27" fmla="*/ 18 h 46"/>
                    <a:gd name="T28" fmla="*/ 23 w 46"/>
                    <a:gd name="T29" fmla="*/ 10 h 46"/>
                    <a:gd name="T30" fmla="*/ 28 w 46"/>
                    <a:gd name="T31" fmla="*/ 11 h 46"/>
                    <a:gd name="T32" fmla="*/ 35 w 46"/>
                    <a:gd name="T33" fmla="*/ 18 h 46"/>
                    <a:gd name="T34" fmla="*/ 35 w 46"/>
                    <a:gd name="T35" fmla="*/ 28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6" h="46">
                      <a:moveTo>
                        <a:pt x="31" y="2"/>
                      </a:moveTo>
                      <a:cubicBezTo>
                        <a:pt x="28" y="1"/>
                        <a:pt x="26" y="0"/>
                        <a:pt x="23" y="0"/>
                      </a:cubicBezTo>
                      <a:cubicBezTo>
                        <a:pt x="13" y="0"/>
                        <a:pt x="5" y="6"/>
                        <a:pt x="2" y="14"/>
                      </a:cubicBezTo>
                      <a:cubicBezTo>
                        <a:pt x="0" y="20"/>
                        <a:pt x="0" y="26"/>
                        <a:pt x="2" y="32"/>
                      </a:cubicBezTo>
                      <a:cubicBezTo>
                        <a:pt x="4" y="37"/>
                        <a:pt x="9" y="42"/>
                        <a:pt x="14" y="44"/>
                      </a:cubicBezTo>
                      <a:cubicBezTo>
                        <a:pt x="17" y="45"/>
                        <a:pt x="20" y="46"/>
                        <a:pt x="23" y="46"/>
                      </a:cubicBezTo>
                      <a:cubicBezTo>
                        <a:pt x="32" y="46"/>
                        <a:pt x="40" y="40"/>
                        <a:pt x="43" y="32"/>
                      </a:cubicBezTo>
                      <a:cubicBezTo>
                        <a:pt x="46" y="26"/>
                        <a:pt x="46" y="20"/>
                        <a:pt x="43" y="14"/>
                      </a:cubicBezTo>
                      <a:cubicBezTo>
                        <a:pt x="41" y="9"/>
                        <a:pt x="37" y="4"/>
                        <a:pt x="31" y="2"/>
                      </a:cubicBezTo>
                      <a:close/>
                      <a:moveTo>
                        <a:pt x="35" y="28"/>
                      </a:moveTo>
                      <a:cubicBezTo>
                        <a:pt x="33" y="33"/>
                        <a:pt x="28" y="36"/>
                        <a:pt x="23" y="36"/>
                      </a:cubicBezTo>
                      <a:cubicBezTo>
                        <a:pt x="21" y="36"/>
                        <a:pt x="19" y="36"/>
                        <a:pt x="18" y="35"/>
                      </a:cubicBezTo>
                      <a:cubicBezTo>
                        <a:pt x="15" y="34"/>
                        <a:pt x="12" y="31"/>
                        <a:pt x="11" y="28"/>
                      </a:cubicBezTo>
                      <a:cubicBezTo>
                        <a:pt x="9" y="25"/>
                        <a:pt x="9" y="21"/>
                        <a:pt x="11" y="18"/>
                      </a:cubicBezTo>
                      <a:cubicBezTo>
                        <a:pt x="13" y="13"/>
                        <a:pt x="17" y="10"/>
                        <a:pt x="23" y="10"/>
                      </a:cubicBezTo>
                      <a:cubicBezTo>
                        <a:pt x="24" y="10"/>
                        <a:pt x="26" y="10"/>
                        <a:pt x="28" y="11"/>
                      </a:cubicBezTo>
                      <a:cubicBezTo>
                        <a:pt x="31" y="12"/>
                        <a:pt x="33" y="15"/>
                        <a:pt x="35" y="18"/>
                      </a:cubicBezTo>
                      <a:cubicBezTo>
                        <a:pt x="36" y="21"/>
                        <a:pt x="36" y="25"/>
                        <a:pt x="35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" name="Freeform 60"/>
                <p:cNvSpPr>
                  <a:spLocks noEditPoints="1"/>
                </p:cNvSpPr>
                <p:nvPr/>
              </p:nvSpPr>
              <p:spPr bwMode="auto">
                <a:xfrm>
                  <a:off x="7605713" y="4868863"/>
                  <a:ext cx="377825" cy="381000"/>
                </a:xfrm>
                <a:custGeom>
                  <a:avLst/>
                  <a:gdLst>
                    <a:gd name="T0" fmla="*/ 101 w 113"/>
                    <a:gd name="T1" fmla="*/ 60 h 114"/>
                    <a:gd name="T2" fmla="*/ 110 w 113"/>
                    <a:gd name="T3" fmla="*/ 48 h 114"/>
                    <a:gd name="T4" fmla="*/ 106 w 113"/>
                    <a:gd name="T5" fmla="*/ 27 h 114"/>
                    <a:gd name="T6" fmla="*/ 90 w 113"/>
                    <a:gd name="T7" fmla="*/ 28 h 114"/>
                    <a:gd name="T8" fmla="*/ 88 w 113"/>
                    <a:gd name="T9" fmla="*/ 12 h 114"/>
                    <a:gd name="T10" fmla="*/ 79 w 113"/>
                    <a:gd name="T11" fmla="*/ 3 h 114"/>
                    <a:gd name="T12" fmla="*/ 66 w 113"/>
                    <a:gd name="T13" fmla="*/ 3 h 114"/>
                    <a:gd name="T14" fmla="*/ 53 w 113"/>
                    <a:gd name="T15" fmla="*/ 13 h 114"/>
                    <a:gd name="T16" fmla="*/ 42 w 113"/>
                    <a:gd name="T17" fmla="*/ 1 h 114"/>
                    <a:gd name="T18" fmla="*/ 34 w 113"/>
                    <a:gd name="T19" fmla="*/ 4 h 114"/>
                    <a:gd name="T20" fmla="*/ 25 w 113"/>
                    <a:gd name="T21" fmla="*/ 13 h 114"/>
                    <a:gd name="T22" fmla="*/ 23 w 113"/>
                    <a:gd name="T23" fmla="*/ 29 h 114"/>
                    <a:gd name="T24" fmla="*/ 7 w 113"/>
                    <a:gd name="T25" fmla="*/ 28 h 114"/>
                    <a:gd name="T26" fmla="*/ 3 w 113"/>
                    <a:gd name="T27" fmla="*/ 36 h 114"/>
                    <a:gd name="T28" fmla="*/ 3 w 113"/>
                    <a:gd name="T29" fmla="*/ 48 h 114"/>
                    <a:gd name="T30" fmla="*/ 13 w 113"/>
                    <a:gd name="T31" fmla="*/ 61 h 114"/>
                    <a:gd name="T32" fmla="*/ 1 w 113"/>
                    <a:gd name="T33" fmla="*/ 72 h 114"/>
                    <a:gd name="T34" fmla="*/ 3 w 113"/>
                    <a:gd name="T35" fmla="*/ 80 h 114"/>
                    <a:gd name="T36" fmla="*/ 12 w 113"/>
                    <a:gd name="T37" fmla="*/ 89 h 114"/>
                    <a:gd name="T38" fmla="*/ 28 w 113"/>
                    <a:gd name="T39" fmla="*/ 91 h 114"/>
                    <a:gd name="T40" fmla="*/ 28 w 113"/>
                    <a:gd name="T41" fmla="*/ 107 h 114"/>
                    <a:gd name="T42" fmla="*/ 42 w 113"/>
                    <a:gd name="T43" fmla="*/ 113 h 114"/>
                    <a:gd name="T44" fmla="*/ 48 w 113"/>
                    <a:gd name="T45" fmla="*/ 111 h 114"/>
                    <a:gd name="T46" fmla="*/ 60 w 113"/>
                    <a:gd name="T47" fmla="*/ 101 h 114"/>
                    <a:gd name="T48" fmla="*/ 71 w 113"/>
                    <a:gd name="T49" fmla="*/ 113 h 114"/>
                    <a:gd name="T50" fmla="*/ 88 w 113"/>
                    <a:gd name="T51" fmla="*/ 101 h 114"/>
                    <a:gd name="T52" fmla="*/ 90 w 113"/>
                    <a:gd name="T53" fmla="*/ 85 h 114"/>
                    <a:gd name="T54" fmla="*/ 107 w 113"/>
                    <a:gd name="T55" fmla="*/ 86 h 114"/>
                    <a:gd name="T56" fmla="*/ 113 w 113"/>
                    <a:gd name="T57" fmla="*/ 71 h 114"/>
                    <a:gd name="T58" fmla="*/ 101 w 113"/>
                    <a:gd name="T59" fmla="*/ 75 h 114"/>
                    <a:gd name="T60" fmla="*/ 90 w 113"/>
                    <a:gd name="T61" fmla="*/ 75 h 114"/>
                    <a:gd name="T62" fmla="*/ 77 w 113"/>
                    <a:gd name="T63" fmla="*/ 85 h 114"/>
                    <a:gd name="T64" fmla="*/ 78 w 113"/>
                    <a:gd name="T65" fmla="*/ 100 h 114"/>
                    <a:gd name="T66" fmla="*/ 67 w 113"/>
                    <a:gd name="T67" fmla="*/ 93 h 114"/>
                    <a:gd name="T68" fmla="*/ 51 w 113"/>
                    <a:gd name="T69" fmla="*/ 91 h 114"/>
                    <a:gd name="T70" fmla="*/ 41 w 113"/>
                    <a:gd name="T71" fmla="*/ 103 h 114"/>
                    <a:gd name="T72" fmla="*/ 36 w 113"/>
                    <a:gd name="T73" fmla="*/ 100 h 114"/>
                    <a:gd name="T74" fmla="*/ 36 w 113"/>
                    <a:gd name="T75" fmla="*/ 85 h 114"/>
                    <a:gd name="T76" fmla="*/ 24 w 113"/>
                    <a:gd name="T77" fmla="*/ 76 h 114"/>
                    <a:gd name="T78" fmla="*/ 12 w 113"/>
                    <a:gd name="T79" fmla="*/ 76 h 114"/>
                    <a:gd name="T80" fmla="*/ 11 w 113"/>
                    <a:gd name="T81" fmla="*/ 73 h 114"/>
                    <a:gd name="T82" fmla="*/ 23 w 113"/>
                    <a:gd name="T83" fmla="*/ 63 h 114"/>
                    <a:gd name="T84" fmla="*/ 20 w 113"/>
                    <a:gd name="T85" fmla="*/ 47 h 114"/>
                    <a:gd name="T86" fmla="*/ 12 w 113"/>
                    <a:gd name="T87" fmla="*/ 39 h 114"/>
                    <a:gd name="T88" fmla="*/ 13 w 113"/>
                    <a:gd name="T89" fmla="*/ 36 h 114"/>
                    <a:gd name="T90" fmla="*/ 29 w 113"/>
                    <a:gd name="T91" fmla="*/ 37 h 114"/>
                    <a:gd name="T92" fmla="*/ 38 w 113"/>
                    <a:gd name="T93" fmla="*/ 24 h 114"/>
                    <a:gd name="T94" fmla="*/ 37 w 113"/>
                    <a:gd name="T95" fmla="*/ 13 h 114"/>
                    <a:gd name="T96" fmla="*/ 41 w 113"/>
                    <a:gd name="T97" fmla="*/ 11 h 114"/>
                    <a:gd name="T98" fmla="*/ 51 w 113"/>
                    <a:gd name="T99" fmla="*/ 23 h 114"/>
                    <a:gd name="T100" fmla="*/ 67 w 113"/>
                    <a:gd name="T101" fmla="*/ 21 h 114"/>
                    <a:gd name="T102" fmla="*/ 75 w 113"/>
                    <a:gd name="T103" fmla="*/ 12 h 114"/>
                    <a:gd name="T104" fmla="*/ 75 w 113"/>
                    <a:gd name="T105" fmla="*/ 24 h 114"/>
                    <a:gd name="T106" fmla="*/ 84 w 113"/>
                    <a:gd name="T107" fmla="*/ 37 h 114"/>
                    <a:gd name="T108" fmla="*/ 100 w 113"/>
                    <a:gd name="T109" fmla="*/ 36 h 114"/>
                    <a:gd name="T110" fmla="*/ 93 w 113"/>
                    <a:gd name="T111" fmla="*/ 47 h 114"/>
                    <a:gd name="T112" fmla="*/ 91 w 113"/>
                    <a:gd name="T113" fmla="*/ 62 h 114"/>
                    <a:gd name="T114" fmla="*/ 102 w 113"/>
                    <a:gd name="T115" fmla="*/ 72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13" h="114">
                      <a:moveTo>
                        <a:pt x="110" y="66"/>
                      </a:moveTo>
                      <a:cubicBezTo>
                        <a:pt x="101" y="60"/>
                        <a:pt x="101" y="60"/>
                        <a:pt x="101" y="60"/>
                      </a:cubicBezTo>
                      <a:cubicBezTo>
                        <a:pt x="101" y="58"/>
                        <a:pt x="101" y="56"/>
                        <a:pt x="101" y="53"/>
                      </a:cubicBezTo>
                      <a:cubicBezTo>
                        <a:pt x="110" y="48"/>
                        <a:pt x="110" y="48"/>
                        <a:pt x="110" y="48"/>
                      </a:cubicBezTo>
                      <a:cubicBezTo>
                        <a:pt x="112" y="47"/>
                        <a:pt x="113" y="44"/>
                        <a:pt x="113" y="42"/>
                      </a:cubicBezTo>
                      <a:cubicBezTo>
                        <a:pt x="111" y="37"/>
                        <a:pt x="109" y="32"/>
                        <a:pt x="106" y="27"/>
                      </a:cubicBezTo>
                      <a:cubicBezTo>
                        <a:pt x="105" y="26"/>
                        <a:pt x="103" y="25"/>
                        <a:pt x="101" y="25"/>
                      </a:cubicBezTo>
                      <a:cubicBezTo>
                        <a:pt x="90" y="28"/>
                        <a:pt x="90" y="28"/>
                        <a:pt x="90" y="28"/>
                      </a:cubicBezTo>
                      <a:cubicBezTo>
                        <a:pt x="89" y="26"/>
                        <a:pt x="87" y="25"/>
                        <a:pt x="85" y="23"/>
                      </a:cubicBezTo>
                      <a:cubicBezTo>
                        <a:pt x="88" y="12"/>
                        <a:pt x="88" y="12"/>
                        <a:pt x="88" y="12"/>
                      </a:cubicBezTo>
                      <a:cubicBezTo>
                        <a:pt x="89" y="10"/>
                        <a:pt x="88" y="8"/>
                        <a:pt x="86" y="7"/>
                      </a:cubicBezTo>
                      <a:cubicBezTo>
                        <a:pt x="83" y="6"/>
                        <a:pt x="81" y="4"/>
                        <a:pt x="79" y="3"/>
                      </a:cubicBezTo>
                      <a:cubicBezTo>
                        <a:pt x="76" y="2"/>
                        <a:pt x="74" y="2"/>
                        <a:pt x="71" y="1"/>
                      </a:cubicBezTo>
                      <a:cubicBezTo>
                        <a:pt x="69" y="0"/>
                        <a:pt x="67" y="1"/>
                        <a:pt x="66" y="3"/>
                      </a:cubicBezTo>
                      <a:cubicBezTo>
                        <a:pt x="60" y="13"/>
                        <a:pt x="60" y="13"/>
                        <a:pt x="60" y="13"/>
                      </a:cubicBezTo>
                      <a:cubicBezTo>
                        <a:pt x="58" y="13"/>
                        <a:pt x="55" y="13"/>
                        <a:pt x="53" y="13"/>
                      </a:cubicBezTo>
                      <a:cubicBezTo>
                        <a:pt x="47" y="3"/>
                        <a:pt x="47" y="3"/>
                        <a:pt x="47" y="3"/>
                      </a:cubicBezTo>
                      <a:cubicBezTo>
                        <a:pt x="46" y="1"/>
                        <a:pt x="44" y="0"/>
                        <a:pt x="42" y="1"/>
                      </a:cubicBezTo>
                      <a:cubicBezTo>
                        <a:pt x="39" y="2"/>
                        <a:pt x="37" y="2"/>
                        <a:pt x="35" y="3"/>
                      </a:cubicBezTo>
                      <a:cubicBezTo>
                        <a:pt x="34" y="4"/>
                        <a:pt x="34" y="4"/>
                        <a:pt x="34" y="4"/>
                      </a:cubicBezTo>
                      <a:cubicBezTo>
                        <a:pt x="31" y="5"/>
                        <a:pt x="29" y="6"/>
                        <a:pt x="27" y="7"/>
                      </a:cubicBezTo>
                      <a:cubicBezTo>
                        <a:pt x="25" y="8"/>
                        <a:pt x="24" y="10"/>
                        <a:pt x="25" y="13"/>
                      </a:cubicBezTo>
                      <a:cubicBezTo>
                        <a:pt x="28" y="24"/>
                        <a:pt x="28" y="24"/>
                        <a:pt x="28" y="24"/>
                      </a:cubicBezTo>
                      <a:cubicBezTo>
                        <a:pt x="26" y="25"/>
                        <a:pt x="24" y="27"/>
                        <a:pt x="23" y="29"/>
                      </a:cubicBezTo>
                      <a:cubicBezTo>
                        <a:pt x="12" y="26"/>
                        <a:pt x="12" y="26"/>
                        <a:pt x="12" y="26"/>
                      </a:cubicBezTo>
                      <a:cubicBezTo>
                        <a:pt x="10" y="25"/>
                        <a:pt x="8" y="26"/>
                        <a:pt x="7" y="28"/>
                      </a:cubicBezTo>
                      <a:cubicBezTo>
                        <a:pt x="5" y="30"/>
                        <a:pt x="4" y="32"/>
                        <a:pt x="3" y="34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2" y="38"/>
                        <a:pt x="1" y="40"/>
                        <a:pt x="1" y="43"/>
                      </a:cubicBezTo>
                      <a:cubicBezTo>
                        <a:pt x="0" y="45"/>
                        <a:pt x="1" y="47"/>
                        <a:pt x="3" y="48"/>
                      </a:cubicBezTo>
                      <a:cubicBezTo>
                        <a:pt x="13" y="54"/>
                        <a:pt x="13" y="54"/>
                        <a:pt x="13" y="54"/>
                      </a:cubicBezTo>
                      <a:cubicBezTo>
                        <a:pt x="12" y="56"/>
                        <a:pt x="12" y="58"/>
                        <a:pt x="13" y="61"/>
                      </a:cubicBezTo>
                      <a:cubicBezTo>
                        <a:pt x="3" y="66"/>
                        <a:pt x="3" y="66"/>
                        <a:pt x="3" y="66"/>
                      </a:cubicBezTo>
                      <a:cubicBezTo>
                        <a:pt x="1" y="68"/>
                        <a:pt x="0" y="70"/>
                        <a:pt x="1" y="72"/>
                      </a:cubicBezTo>
                      <a:cubicBezTo>
                        <a:pt x="1" y="74"/>
                        <a:pt x="2" y="77"/>
                        <a:pt x="3" y="79"/>
                      </a:cubicBezTo>
                      <a:cubicBezTo>
                        <a:pt x="3" y="80"/>
                        <a:pt x="3" y="80"/>
                        <a:pt x="3" y="80"/>
                      </a:cubicBezTo>
                      <a:cubicBezTo>
                        <a:pt x="4" y="82"/>
                        <a:pt x="6" y="84"/>
                        <a:pt x="7" y="87"/>
                      </a:cubicBezTo>
                      <a:cubicBezTo>
                        <a:pt x="8" y="88"/>
                        <a:pt x="10" y="89"/>
                        <a:pt x="12" y="89"/>
                      </a:cubicBezTo>
                      <a:cubicBezTo>
                        <a:pt x="23" y="86"/>
                        <a:pt x="23" y="86"/>
                        <a:pt x="23" y="86"/>
                      </a:cubicBezTo>
                      <a:cubicBezTo>
                        <a:pt x="25" y="88"/>
                        <a:pt x="26" y="89"/>
                        <a:pt x="28" y="91"/>
                      </a:cubicBezTo>
                      <a:cubicBezTo>
                        <a:pt x="25" y="102"/>
                        <a:pt x="25" y="102"/>
                        <a:pt x="25" y="102"/>
                      </a:cubicBezTo>
                      <a:cubicBezTo>
                        <a:pt x="25" y="104"/>
                        <a:pt x="26" y="106"/>
                        <a:pt x="28" y="107"/>
                      </a:cubicBezTo>
                      <a:cubicBezTo>
                        <a:pt x="30" y="108"/>
                        <a:pt x="32" y="110"/>
                        <a:pt x="35" y="111"/>
                      </a:cubicBezTo>
                      <a:cubicBezTo>
                        <a:pt x="37" y="112"/>
                        <a:pt x="40" y="112"/>
                        <a:pt x="42" y="113"/>
                      </a:cubicBezTo>
                      <a:cubicBezTo>
                        <a:pt x="43" y="113"/>
                        <a:pt x="43" y="113"/>
                        <a:pt x="44" y="113"/>
                      </a:cubicBezTo>
                      <a:cubicBezTo>
                        <a:pt x="45" y="113"/>
                        <a:pt x="47" y="112"/>
                        <a:pt x="48" y="111"/>
                      </a:cubicBezTo>
                      <a:cubicBezTo>
                        <a:pt x="53" y="101"/>
                        <a:pt x="53" y="101"/>
                        <a:pt x="53" y="101"/>
                      </a:cubicBezTo>
                      <a:cubicBezTo>
                        <a:pt x="56" y="101"/>
                        <a:pt x="58" y="101"/>
                        <a:pt x="60" y="101"/>
                      </a:cubicBezTo>
                      <a:cubicBezTo>
                        <a:pt x="66" y="111"/>
                        <a:pt x="66" y="111"/>
                        <a:pt x="66" y="111"/>
                      </a:cubicBezTo>
                      <a:cubicBezTo>
                        <a:pt x="67" y="113"/>
                        <a:pt x="69" y="114"/>
                        <a:pt x="71" y="113"/>
                      </a:cubicBezTo>
                      <a:cubicBezTo>
                        <a:pt x="77" y="112"/>
                        <a:pt x="82" y="110"/>
                        <a:pt x="86" y="107"/>
                      </a:cubicBezTo>
                      <a:cubicBezTo>
                        <a:pt x="88" y="106"/>
                        <a:pt x="89" y="104"/>
                        <a:pt x="88" y="101"/>
                      </a:cubicBezTo>
                      <a:cubicBezTo>
                        <a:pt x="85" y="90"/>
                        <a:pt x="85" y="90"/>
                        <a:pt x="85" y="90"/>
                      </a:cubicBezTo>
                      <a:cubicBezTo>
                        <a:pt x="87" y="89"/>
                        <a:pt x="89" y="87"/>
                        <a:pt x="90" y="85"/>
                      </a:cubicBezTo>
                      <a:cubicBezTo>
                        <a:pt x="101" y="88"/>
                        <a:pt x="101" y="88"/>
                        <a:pt x="101" y="88"/>
                      </a:cubicBezTo>
                      <a:cubicBezTo>
                        <a:pt x="103" y="89"/>
                        <a:pt x="106" y="88"/>
                        <a:pt x="107" y="86"/>
                      </a:cubicBezTo>
                      <a:cubicBezTo>
                        <a:pt x="108" y="84"/>
                        <a:pt x="109" y="81"/>
                        <a:pt x="110" y="79"/>
                      </a:cubicBezTo>
                      <a:cubicBezTo>
                        <a:pt x="111" y="77"/>
                        <a:pt x="112" y="74"/>
                        <a:pt x="113" y="71"/>
                      </a:cubicBezTo>
                      <a:cubicBezTo>
                        <a:pt x="113" y="69"/>
                        <a:pt x="112" y="67"/>
                        <a:pt x="110" y="66"/>
                      </a:cubicBezTo>
                      <a:close/>
                      <a:moveTo>
                        <a:pt x="101" y="75"/>
                      </a:moveTo>
                      <a:cubicBezTo>
                        <a:pt x="101" y="76"/>
                        <a:pt x="101" y="77"/>
                        <a:pt x="100" y="78"/>
                      </a:cubicBezTo>
                      <a:cubicBezTo>
                        <a:pt x="90" y="75"/>
                        <a:pt x="90" y="75"/>
                        <a:pt x="90" y="75"/>
                      </a:cubicBezTo>
                      <a:cubicBezTo>
                        <a:pt x="88" y="75"/>
                        <a:pt x="86" y="76"/>
                        <a:pt x="85" y="77"/>
                      </a:cubicBezTo>
                      <a:cubicBezTo>
                        <a:pt x="83" y="80"/>
                        <a:pt x="80" y="83"/>
                        <a:pt x="77" y="85"/>
                      </a:cubicBezTo>
                      <a:cubicBezTo>
                        <a:pt x="75" y="86"/>
                        <a:pt x="75" y="88"/>
                        <a:pt x="75" y="90"/>
                      </a:cubicBezTo>
                      <a:cubicBezTo>
                        <a:pt x="78" y="100"/>
                        <a:pt x="78" y="100"/>
                        <a:pt x="78" y="100"/>
                      </a:cubicBezTo>
                      <a:cubicBezTo>
                        <a:pt x="76" y="101"/>
                        <a:pt x="74" y="102"/>
                        <a:pt x="72" y="103"/>
                      </a:cubicBezTo>
                      <a:cubicBezTo>
                        <a:pt x="67" y="93"/>
                        <a:pt x="67" y="93"/>
                        <a:pt x="67" y="93"/>
                      </a:cubicBezTo>
                      <a:cubicBezTo>
                        <a:pt x="66" y="92"/>
                        <a:pt x="64" y="91"/>
                        <a:pt x="62" y="91"/>
                      </a:cubicBezTo>
                      <a:cubicBezTo>
                        <a:pt x="59" y="92"/>
                        <a:pt x="55" y="92"/>
                        <a:pt x="51" y="91"/>
                      </a:cubicBezTo>
                      <a:cubicBezTo>
                        <a:pt x="49" y="91"/>
                        <a:pt x="48" y="92"/>
                        <a:pt x="47" y="93"/>
                      </a:cubicBezTo>
                      <a:cubicBezTo>
                        <a:pt x="41" y="103"/>
                        <a:pt x="41" y="103"/>
                        <a:pt x="41" y="103"/>
                      </a:cubicBezTo>
                      <a:cubicBezTo>
                        <a:pt x="40" y="102"/>
                        <a:pt x="39" y="102"/>
                        <a:pt x="38" y="102"/>
                      </a:cubicBezTo>
                      <a:cubicBezTo>
                        <a:pt x="37" y="101"/>
                        <a:pt x="36" y="101"/>
                        <a:pt x="36" y="100"/>
                      </a:cubicBezTo>
                      <a:cubicBezTo>
                        <a:pt x="38" y="90"/>
                        <a:pt x="38" y="90"/>
                        <a:pt x="38" y="90"/>
                      </a:cubicBezTo>
                      <a:cubicBezTo>
                        <a:pt x="39" y="88"/>
                        <a:pt x="38" y="86"/>
                        <a:pt x="36" y="85"/>
                      </a:cubicBezTo>
                      <a:cubicBezTo>
                        <a:pt x="34" y="83"/>
                        <a:pt x="31" y="80"/>
                        <a:pt x="29" y="77"/>
                      </a:cubicBezTo>
                      <a:cubicBezTo>
                        <a:pt x="28" y="76"/>
                        <a:pt x="26" y="75"/>
                        <a:pt x="24" y="76"/>
                      </a:cubicBezTo>
                      <a:cubicBezTo>
                        <a:pt x="13" y="78"/>
                        <a:pt x="13" y="78"/>
                        <a:pt x="13" y="78"/>
                      </a:cubicBezTo>
                      <a:cubicBezTo>
                        <a:pt x="13" y="78"/>
                        <a:pt x="13" y="77"/>
                        <a:pt x="12" y="76"/>
                      </a:cubicBezTo>
                      <a:cubicBezTo>
                        <a:pt x="12" y="75"/>
                        <a:pt x="12" y="75"/>
                        <a:pt x="12" y="75"/>
                      </a:cubicBezTo>
                      <a:cubicBezTo>
                        <a:pt x="12" y="74"/>
                        <a:pt x="11" y="74"/>
                        <a:pt x="11" y="73"/>
                      </a:cubicBezTo>
                      <a:cubicBezTo>
                        <a:pt x="20" y="67"/>
                        <a:pt x="20" y="67"/>
                        <a:pt x="20" y="67"/>
                      </a:cubicBezTo>
                      <a:cubicBezTo>
                        <a:pt x="22" y="66"/>
                        <a:pt x="23" y="64"/>
                        <a:pt x="23" y="63"/>
                      </a:cubicBezTo>
                      <a:cubicBezTo>
                        <a:pt x="22" y="59"/>
                        <a:pt x="22" y="55"/>
                        <a:pt x="23" y="52"/>
                      </a:cubicBezTo>
                      <a:cubicBezTo>
                        <a:pt x="23" y="50"/>
                        <a:pt x="22" y="48"/>
                        <a:pt x="20" y="47"/>
                      </a:cubicBezTo>
                      <a:cubicBezTo>
                        <a:pt x="11" y="42"/>
                        <a:pt x="11" y="42"/>
                        <a:pt x="11" y="42"/>
                      </a:cubicBezTo>
                      <a:cubicBezTo>
                        <a:pt x="11" y="41"/>
                        <a:pt x="11" y="40"/>
                        <a:pt x="12" y="39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3" y="37"/>
                        <a:pt x="13" y="37"/>
                        <a:pt x="13" y="36"/>
                      </a:cubicBezTo>
                      <a:cubicBezTo>
                        <a:pt x="24" y="39"/>
                        <a:pt x="24" y="39"/>
                        <a:pt x="24" y="39"/>
                      </a:cubicBezTo>
                      <a:cubicBezTo>
                        <a:pt x="25" y="39"/>
                        <a:pt x="27" y="38"/>
                        <a:pt x="29" y="37"/>
                      </a:cubicBezTo>
                      <a:cubicBezTo>
                        <a:pt x="31" y="34"/>
                        <a:pt x="33" y="31"/>
                        <a:pt x="36" y="29"/>
                      </a:cubicBezTo>
                      <a:cubicBezTo>
                        <a:pt x="38" y="28"/>
                        <a:pt x="39" y="26"/>
                        <a:pt x="38" y="24"/>
                      </a:cubicBezTo>
                      <a:cubicBezTo>
                        <a:pt x="35" y="14"/>
                        <a:pt x="35" y="14"/>
                        <a:pt x="35" y="14"/>
                      </a:cubicBezTo>
                      <a:cubicBezTo>
                        <a:pt x="36" y="13"/>
                        <a:pt x="37" y="13"/>
                        <a:pt x="37" y="13"/>
                      </a:cubicBezTo>
                      <a:cubicBezTo>
                        <a:pt x="38" y="12"/>
                        <a:pt x="38" y="12"/>
                        <a:pt x="38" y="12"/>
                      </a:cubicBezTo>
                      <a:cubicBezTo>
                        <a:pt x="39" y="12"/>
                        <a:pt x="40" y="12"/>
                        <a:pt x="41" y="11"/>
                      </a:cubicBezTo>
                      <a:cubicBezTo>
                        <a:pt x="46" y="21"/>
                        <a:pt x="46" y="21"/>
                        <a:pt x="46" y="21"/>
                      </a:cubicBezTo>
                      <a:cubicBezTo>
                        <a:pt x="47" y="22"/>
                        <a:pt x="49" y="23"/>
                        <a:pt x="51" y="23"/>
                      </a:cubicBezTo>
                      <a:cubicBezTo>
                        <a:pt x="55" y="22"/>
                        <a:pt x="58" y="22"/>
                        <a:pt x="62" y="23"/>
                      </a:cubicBezTo>
                      <a:cubicBezTo>
                        <a:pt x="64" y="23"/>
                        <a:pt x="66" y="22"/>
                        <a:pt x="67" y="21"/>
                      </a:cubicBezTo>
                      <a:cubicBezTo>
                        <a:pt x="72" y="11"/>
                        <a:pt x="72" y="11"/>
                        <a:pt x="72" y="11"/>
                      </a:cubicBezTo>
                      <a:cubicBezTo>
                        <a:pt x="73" y="12"/>
                        <a:pt x="74" y="12"/>
                        <a:pt x="75" y="12"/>
                      </a:cubicBezTo>
                      <a:cubicBezTo>
                        <a:pt x="76" y="13"/>
                        <a:pt x="77" y="13"/>
                        <a:pt x="78" y="14"/>
                      </a:cubicBezTo>
                      <a:cubicBezTo>
                        <a:pt x="75" y="24"/>
                        <a:pt x="75" y="24"/>
                        <a:pt x="75" y="24"/>
                      </a:cubicBezTo>
                      <a:cubicBezTo>
                        <a:pt x="75" y="26"/>
                        <a:pt x="75" y="28"/>
                        <a:pt x="77" y="29"/>
                      </a:cubicBezTo>
                      <a:cubicBezTo>
                        <a:pt x="80" y="31"/>
                        <a:pt x="82" y="34"/>
                        <a:pt x="84" y="37"/>
                      </a:cubicBezTo>
                      <a:cubicBezTo>
                        <a:pt x="86" y="38"/>
                        <a:pt x="88" y="39"/>
                        <a:pt x="90" y="38"/>
                      </a:cubicBezTo>
                      <a:cubicBezTo>
                        <a:pt x="100" y="36"/>
                        <a:pt x="100" y="36"/>
                        <a:pt x="100" y="36"/>
                      </a:cubicBezTo>
                      <a:cubicBezTo>
                        <a:pt x="101" y="37"/>
                        <a:pt x="102" y="39"/>
                        <a:pt x="102" y="41"/>
                      </a:cubicBezTo>
                      <a:cubicBezTo>
                        <a:pt x="93" y="47"/>
                        <a:pt x="93" y="47"/>
                        <a:pt x="93" y="47"/>
                      </a:cubicBezTo>
                      <a:cubicBezTo>
                        <a:pt x="91" y="48"/>
                        <a:pt x="90" y="50"/>
                        <a:pt x="91" y="52"/>
                      </a:cubicBezTo>
                      <a:cubicBezTo>
                        <a:pt x="91" y="55"/>
                        <a:pt x="91" y="59"/>
                        <a:pt x="91" y="62"/>
                      </a:cubicBezTo>
                      <a:cubicBezTo>
                        <a:pt x="90" y="64"/>
                        <a:pt x="91" y="66"/>
                        <a:pt x="93" y="67"/>
                      </a:cubicBezTo>
                      <a:cubicBezTo>
                        <a:pt x="102" y="72"/>
                        <a:pt x="102" y="72"/>
                        <a:pt x="102" y="72"/>
                      </a:cubicBezTo>
                      <a:cubicBezTo>
                        <a:pt x="102" y="73"/>
                        <a:pt x="102" y="74"/>
                        <a:pt x="101" y="7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5" name="Content Placeholder 15"/>
              <p:cNvSpPr txBox="1">
                <a:spLocks/>
              </p:cNvSpPr>
              <p:nvPr/>
            </p:nvSpPr>
            <p:spPr>
              <a:xfrm>
                <a:off x="4805023" y="3180322"/>
                <a:ext cx="458459" cy="43088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lvl1pPr marL="0" indent="0" algn="l" defTabSz="914400" rtl="0" eaLnBrk="1" latinLnBrk="0" hangingPunct="1">
                  <a:spcBef>
                    <a:spcPts val="0"/>
                  </a:spcBef>
                  <a:spcAft>
                    <a:spcPts val="1000"/>
                  </a:spcAft>
                  <a:buSzPct val="100000"/>
                  <a:buFont typeface="Arial" panose="020B0604020202020204" pitchFamily="34" charset="0"/>
                  <a:buNone/>
                  <a:tabLst>
                    <a:tab pos="6729413" algn="r"/>
                  </a:tabLst>
                  <a:defRPr sz="1200" b="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914400" rtl="0" eaLnBrk="1" latinLnBrk="0" hangingPunct="1">
                  <a:spcBef>
                    <a:spcPts val="0"/>
                  </a:spcBef>
                  <a:spcAft>
                    <a:spcPts val="1000"/>
                  </a:spcAft>
                  <a:buClrTx/>
                  <a:buSzPct val="100000"/>
                  <a:buFont typeface="Arial"/>
                  <a:buNone/>
                  <a:tabLst>
                    <a:tab pos="6729413" algn="r"/>
                  </a:tabLst>
                  <a:defRPr lang="en-US" sz="1200" b="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76400" indent="-176400" algn="l" defTabSz="914400" rtl="0" eaLnBrk="1" latinLnBrk="0" hangingPunct="1">
                  <a:spcBef>
                    <a:spcPts val="0"/>
                  </a:spcBef>
                  <a:spcAft>
                    <a:spcPts val="1000"/>
                  </a:spcAft>
                  <a:buClrTx/>
                  <a:buSzPct val="100000"/>
                  <a:buFont typeface="Arial" panose="020B0604020202020204" pitchFamily="34" charset="0"/>
                  <a:buChar char="•"/>
                  <a:tabLst>
                    <a:tab pos="6729413" algn="r"/>
                  </a:tabLst>
                  <a:defRPr lang="en-US"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356400" indent="-176400" algn="l" defTabSz="914400" rtl="0" eaLnBrk="1" latinLnBrk="0" hangingPunct="1">
                  <a:spcBef>
                    <a:spcPts val="0"/>
                  </a:spcBef>
                  <a:spcAft>
                    <a:spcPts val="1000"/>
                  </a:spcAft>
                  <a:buClrTx/>
                  <a:buSzPct val="100000"/>
                  <a:buFont typeface="Verdana" panose="020B0604030504040204" pitchFamily="34" charset="0"/>
                  <a:buChar char="−"/>
                  <a:tabLst>
                    <a:tab pos="6729413" algn="r"/>
                  </a:tabLst>
                  <a:defRPr lang="en-US" sz="12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532800" indent="-176400" algn="l" defTabSz="798513" rtl="0" eaLnBrk="1" latinLnBrk="0" hangingPunct="1">
                  <a:spcBef>
                    <a:spcPts val="0"/>
                  </a:spcBef>
                  <a:spcAft>
                    <a:spcPts val="1000"/>
                  </a:spcAft>
                  <a:buClrTx/>
                  <a:buSzPct val="100000"/>
                  <a:buFont typeface="Verdana" panose="020B0604030504040204" pitchFamily="34" charset="0"/>
                  <a:buChar char="−"/>
                  <a:tabLst>
                    <a:tab pos="5029200" algn="r"/>
                  </a:tabLst>
                  <a:defRPr lang="en-US" sz="12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532800" indent="-176400" algn="l" defTabSz="914400" rtl="0" eaLnBrk="1" latinLnBrk="0" hangingPunct="1">
                  <a:spcBef>
                    <a:spcPts val="0"/>
                  </a:spcBef>
                  <a:spcAft>
                    <a:spcPts val="1000"/>
                  </a:spcAft>
                  <a:buFont typeface="Verdana" panose="020B0604030504040204" pitchFamily="34" charset="0"/>
                  <a:buChar char="−"/>
                  <a:tabLst>
                    <a:tab pos="6729413" algn="r"/>
                  </a:tabLst>
                  <a:defRPr sz="12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32800" indent="-176400" algn="l" defTabSz="914400" rtl="0" eaLnBrk="1" latinLnBrk="0" hangingPunct="1">
                  <a:spcBef>
                    <a:spcPts val="0"/>
                  </a:spcBef>
                  <a:spcAft>
                    <a:spcPts val="1000"/>
                  </a:spcAft>
                  <a:buFont typeface="Verdana" panose="020B0604030504040204" pitchFamily="34" charset="0"/>
                  <a:buChar char="−"/>
                  <a:tabLst>
                    <a:tab pos="6729413" algn="r"/>
                  </a:tabLst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532800" indent="-176400" algn="l" defTabSz="914400" rtl="0" eaLnBrk="1" latinLnBrk="0" hangingPunct="1">
                  <a:spcBef>
                    <a:spcPts val="0"/>
                  </a:spcBef>
                  <a:spcAft>
                    <a:spcPts val="1000"/>
                  </a:spcAft>
                  <a:buFont typeface="Verdana" panose="020B0604030504040204" pitchFamily="34" charset="0"/>
                  <a:buChar char="−"/>
                  <a:tabLst>
                    <a:tab pos="6729413" algn="r"/>
                  </a:tabLst>
                  <a:defRPr sz="12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532800" indent="-176400" algn="l" defTabSz="914400" rtl="0" eaLnBrk="1" latinLnBrk="0" hangingPunct="1">
                  <a:spcBef>
                    <a:spcPts val="0"/>
                  </a:spcBef>
                  <a:spcAft>
                    <a:spcPts val="1000"/>
                  </a:spcAft>
                  <a:buFont typeface="Verdana" panose="020B0604030504040204" pitchFamily="34" charset="0"/>
                  <a:buChar char="−"/>
                  <a:tabLst>
                    <a:tab pos="6729413" algn="r"/>
                  </a:tabLst>
                  <a:defRPr sz="12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 fontAlgn="auto">
                  <a:spcAft>
                    <a:spcPts val="200"/>
                  </a:spcAft>
                </a:pPr>
                <a:r>
                  <a:rPr kumimoji="0" lang="it-IT" sz="2800" b="1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SdI</a:t>
                </a:r>
                <a:endParaRPr kumimoji="0" lang="en-US" sz="3200" b="1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  <p:sp>
        <p:nvSpPr>
          <p:cNvPr id="20" name="Content Placeholder 15"/>
          <p:cNvSpPr txBox="1">
            <a:spLocks/>
          </p:cNvSpPr>
          <p:nvPr/>
        </p:nvSpPr>
        <p:spPr>
          <a:xfrm>
            <a:off x="4208608" y="3435077"/>
            <a:ext cx="2277803" cy="2769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tabLst>
                <a:tab pos="6729413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tabLst>
                <a:tab pos="6729413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29413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29413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5029200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tabLst>
                <a:tab pos="6729413" algn="r"/>
              </a:tabLst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tabLst>
                <a:tab pos="6729413" algn="r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tabLst>
                <a:tab pos="6729413" algn="r"/>
              </a:tabLst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tabLst>
                <a:tab pos="6729413" algn="r"/>
              </a:tabLst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fontAlgn="auto">
              <a:spcAft>
                <a:spcPts val="200"/>
              </a:spcAft>
            </a:pPr>
            <a:r>
              <a:rPr kumimoji="0" lang="it-IT" sz="18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istem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a di Interscambio</a:t>
            </a:r>
            <a:endParaRPr kumimoji="0" lang="en-US" sz="1800" b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8745963" y="2259910"/>
            <a:ext cx="932756" cy="954158"/>
            <a:chOff x="1122467" y="1856813"/>
            <a:chExt cx="932756" cy="954158"/>
          </a:xfrm>
        </p:grpSpPr>
        <p:grpSp>
          <p:nvGrpSpPr>
            <p:cNvPr id="22" name="Group 21"/>
            <p:cNvGrpSpPr/>
            <p:nvPr/>
          </p:nvGrpSpPr>
          <p:grpSpPr>
            <a:xfrm>
              <a:off x="1228841" y="1856813"/>
              <a:ext cx="720000" cy="543672"/>
              <a:chOff x="1178655" y="1116034"/>
              <a:chExt cx="720000" cy="543672"/>
            </a:xfrm>
          </p:grpSpPr>
          <p:sp>
            <p:nvSpPr>
              <p:cNvPr id="24" name="Rounded Rectangle 23"/>
              <p:cNvSpPr/>
              <p:nvPr/>
            </p:nvSpPr>
            <p:spPr bwMode="auto">
              <a:xfrm>
                <a:off x="1178655" y="1116034"/>
                <a:ext cx="720000" cy="543672"/>
              </a:xfrm>
              <a:prstGeom prst="roundRect">
                <a:avLst>
                  <a:gd name="adj" fmla="val 7658"/>
                </a:avLst>
              </a:prstGeom>
              <a:solidFill>
                <a:srgbClr val="FFC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0000"/>
                  </a:buClr>
                  <a:buSzPct val="70000"/>
                  <a:buFont typeface="Wingdings" pitchFamily="2" charset="2"/>
                  <a:buNone/>
                  <a:tabLst/>
                </a:pPr>
                <a:endParaRPr kumimoji="0" lang="en-US" sz="10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grpSp>
            <p:nvGrpSpPr>
              <p:cNvPr id="25" name="Group 24"/>
              <p:cNvGrpSpPr/>
              <p:nvPr/>
            </p:nvGrpSpPr>
            <p:grpSpPr>
              <a:xfrm>
                <a:off x="1295459" y="1212346"/>
                <a:ext cx="486392" cy="351048"/>
                <a:chOff x="7635876" y="1039813"/>
                <a:chExt cx="547687" cy="395288"/>
              </a:xfrm>
              <a:solidFill>
                <a:schemeClr val="bg1"/>
              </a:solidFill>
            </p:grpSpPr>
            <p:sp>
              <p:nvSpPr>
                <p:cNvPr id="26" name="Freeform 371"/>
                <p:cNvSpPr>
                  <a:spLocks noEditPoints="1"/>
                </p:cNvSpPr>
                <p:nvPr/>
              </p:nvSpPr>
              <p:spPr bwMode="auto">
                <a:xfrm>
                  <a:off x="7635876" y="1039813"/>
                  <a:ext cx="398463" cy="395288"/>
                </a:xfrm>
                <a:custGeom>
                  <a:avLst/>
                  <a:gdLst>
                    <a:gd name="T0" fmla="*/ 166 w 173"/>
                    <a:gd name="T1" fmla="*/ 131 h 172"/>
                    <a:gd name="T2" fmla="*/ 111 w 173"/>
                    <a:gd name="T3" fmla="*/ 104 h 172"/>
                    <a:gd name="T4" fmla="*/ 111 w 173"/>
                    <a:gd name="T5" fmla="*/ 99 h 172"/>
                    <a:gd name="T6" fmla="*/ 123 w 173"/>
                    <a:gd name="T7" fmla="*/ 77 h 172"/>
                    <a:gd name="T8" fmla="*/ 129 w 173"/>
                    <a:gd name="T9" fmla="*/ 63 h 172"/>
                    <a:gd name="T10" fmla="*/ 126 w 173"/>
                    <a:gd name="T11" fmla="*/ 53 h 172"/>
                    <a:gd name="T12" fmla="*/ 126 w 173"/>
                    <a:gd name="T13" fmla="*/ 37 h 172"/>
                    <a:gd name="T14" fmla="*/ 86 w 173"/>
                    <a:gd name="T15" fmla="*/ 0 h 172"/>
                    <a:gd name="T16" fmla="*/ 47 w 173"/>
                    <a:gd name="T17" fmla="*/ 37 h 172"/>
                    <a:gd name="T18" fmla="*/ 47 w 173"/>
                    <a:gd name="T19" fmla="*/ 53 h 172"/>
                    <a:gd name="T20" fmla="*/ 44 w 173"/>
                    <a:gd name="T21" fmla="*/ 63 h 172"/>
                    <a:gd name="T22" fmla="*/ 50 w 173"/>
                    <a:gd name="T23" fmla="*/ 77 h 172"/>
                    <a:gd name="T24" fmla="*/ 62 w 173"/>
                    <a:gd name="T25" fmla="*/ 99 h 172"/>
                    <a:gd name="T26" fmla="*/ 62 w 173"/>
                    <a:gd name="T27" fmla="*/ 104 h 172"/>
                    <a:gd name="T28" fmla="*/ 7 w 173"/>
                    <a:gd name="T29" fmla="*/ 131 h 172"/>
                    <a:gd name="T30" fmla="*/ 0 w 173"/>
                    <a:gd name="T31" fmla="*/ 141 h 172"/>
                    <a:gd name="T32" fmla="*/ 0 w 173"/>
                    <a:gd name="T33" fmla="*/ 162 h 172"/>
                    <a:gd name="T34" fmla="*/ 11 w 173"/>
                    <a:gd name="T35" fmla="*/ 172 h 172"/>
                    <a:gd name="T36" fmla="*/ 162 w 173"/>
                    <a:gd name="T37" fmla="*/ 172 h 172"/>
                    <a:gd name="T38" fmla="*/ 173 w 173"/>
                    <a:gd name="T39" fmla="*/ 162 h 172"/>
                    <a:gd name="T40" fmla="*/ 173 w 173"/>
                    <a:gd name="T41" fmla="*/ 141 h 172"/>
                    <a:gd name="T42" fmla="*/ 166 w 173"/>
                    <a:gd name="T43" fmla="*/ 131 h 172"/>
                    <a:gd name="T44" fmla="*/ 163 w 173"/>
                    <a:gd name="T45" fmla="*/ 162 h 172"/>
                    <a:gd name="T46" fmla="*/ 162 w 173"/>
                    <a:gd name="T47" fmla="*/ 163 h 172"/>
                    <a:gd name="T48" fmla="*/ 11 w 173"/>
                    <a:gd name="T49" fmla="*/ 163 h 172"/>
                    <a:gd name="T50" fmla="*/ 10 w 173"/>
                    <a:gd name="T51" fmla="*/ 162 h 172"/>
                    <a:gd name="T52" fmla="*/ 10 w 173"/>
                    <a:gd name="T53" fmla="*/ 141 h 172"/>
                    <a:gd name="T54" fmla="*/ 10 w 173"/>
                    <a:gd name="T55" fmla="*/ 140 h 172"/>
                    <a:gd name="T56" fmla="*/ 71 w 173"/>
                    <a:gd name="T57" fmla="*/ 106 h 172"/>
                    <a:gd name="T58" fmla="*/ 71 w 173"/>
                    <a:gd name="T59" fmla="*/ 105 h 172"/>
                    <a:gd name="T60" fmla="*/ 71 w 173"/>
                    <a:gd name="T61" fmla="*/ 97 h 172"/>
                    <a:gd name="T62" fmla="*/ 70 w 173"/>
                    <a:gd name="T63" fmla="*/ 93 h 172"/>
                    <a:gd name="T64" fmla="*/ 59 w 173"/>
                    <a:gd name="T65" fmla="*/ 73 h 172"/>
                    <a:gd name="T66" fmla="*/ 57 w 173"/>
                    <a:gd name="T67" fmla="*/ 70 h 172"/>
                    <a:gd name="T68" fmla="*/ 53 w 173"/>
                    <a:gd name="T69" fmla="*/ 63 h 172"/>
                    <a:gd name="T70" fmla="*/ 55 w 173"/>
                    <a:gd name="T71" fmla="*/ 58 h 172"/>
                    <a:gd name="T72" fmla="*/ 56 w 173"/>
                    <a:gd name="T73" fmla="*/ 55 h 172"/>
                    <a:gd name="T74" fmla="*/ 56 w 173"/>
                    <a:gd name="T75" fmla="*/ 37 h 172"/>
                    <a:gd name="T76" fmla="*/ 86 w 173"/>
                    <a:gd name="T77" fmla="*/ 9 h 172"/>
                    <a:gd name="T78" fmla="*/ 116 w 173"/>
                    <a:gd name="T79" fmla="*/ 37 h 172"/>
                    <a:gd name="T80" fmla="*/ 116 w 173"/>
                    <a:gd name="T81" fmla="*/ 55 h 172"/>
                    <a:gd name="T82" fmla="*/ 118 w 173"/>
                    <a:gd name="T83" fmla="*/ 58 h 172"/>
                    <a:gd name="T84" fmla="*/ 119 w 173"/>
                    <a:gd name="T85" fmla="*/ 63 h 172"/>
                    <a:gd name="T86" fmla="*/ 116 w 173"/>
                    <a:gd name="T87" fmla="*/ 70 h 172"/>
                    <a:gd name="T88" fmla="*/ 114 w 173"/>
                    <a:gd name="T89" fmla="*/ 73 h 172"/>
                    <a:gd name="T90" fmla="*/ 103 w 173"/>
                    <a:gd name="T91" fmla="*/ 93 h 172"/>
                    <a:gd name="T92" fmla="*/ 102 w 173"/>
                    <a:gd name="T93" fmla="*/ 97 h 172"/>
                    <a:gd name="T94" fmla="*/ 102 w 173"/>
                    <a:gd name="T95" fmla="*/ 105 h 172"/>
                    <a:gd name="T96" fmla="*/ 102 w 173"/>
                    <a:gd name="T97" fmla="*/ 106 h 172"/>
                    <a:gd name="T98" fmla="*/ 162 w 173"/>
                    <a:gd name="T99" fmla="*/ 140 h 172"/>
                    <a:gd name="T100" fmla="*/ 163 w 173"/>
                    <a:gd name="T101" fmla="*/ 141 h 172"/>
                    <a:gd name="T102" fmla="*/ 163 w 173"/>
                    <a:gd name="T103" fmla="*/ 162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73" h="172">
                      <a:moveTo>
                        <a:pt x="166" y="131"/>
                      </a:moveTo>
                      <a:cubicBezTo>
                        <a:pt x="121" y="114"/>
                        <a:pt x="113" y="106"/>
                        <a:pt x="111" y="104"/>
                      </a:cubicBezTo>
                      <a:cubicBezTo>
                        <a:pt x="111" y="99"/>
                        <a:pt x="111" y="99"/>
                        <a:pt x="111" y="99"/>
                      </a:cubicBezTo>
                      <a:cubicBezTo>
                        <a:pt x="116" y="93"/>
                        <a:pt x="120" y="86"/>
                        <a:pt x="123" y="77"/>
                      </a:cubicBezTo>
                      <a:cubicBezTo>
                        <a:pt x="127" y="74"/>
                        <a:pt x="129" y="69"/>
                        <a:pt x="129" y="63"/>
                      </a:cubicBezTo>
                      <a:cubicBezTo>
                        <a:pt x="129" y="60"/>
                        <a:pt x="128" y="56"/>
                        <a:pt x="126" y="53"/>
                      </a:cubicBezTo>
                      <a:cubicBezTo>
                        <a:pt x="126" y="37"/>
                        <a:pt x="126" y="37"/>
                        <a:pt x="126" y="37"/>
                      </a:cubicBezTo>
                      <a:cubicBezTo>
                        <a:pt x="126" y="13"/>
                        <a:pt x="112" y="0"/>
                        <a:pt x="86" y="0"/>
                      </a:cubicBezTo>
                      <a:cubicBezTo>
                        <a:pt x="62" y="0"/>
                        <a:pt x="47" y="14"/>
                        <a:pt x="47" y="37"/>
                      </a:cubicBezTo>
                      <a:cubicBezTo>
                        <a:pt x="47" y="53"/>
                        <a:pt x="47" y="53"/>
                        <a:pt x="47" y="53"/>
                      </a:cubicBezTo>
                      <a:cubicBezTo>
                        <a:pt x="45" y="56"/>
                        <a:pt x="44" y="60"/>
                        <a:pt x="44" y="63"/>
                      </a:cubicBezTo>
                      <a:cubicBezTo>
                        <a:pt x="44" y="69"/>
                        <a:pt x="46" y="74"/>
                        <a:pt x="50" y="77"/>
                      </a:cubicBezTo>
                      <a:cubicBezTo>
                        <a:pt x="53" y="86"/>
                        <a:pt x="57" y="93"/>
                        <a:pt x="62" y="99"/>
                      </a:cubicBezTo>
                      <a:cubicBezTo>
                        <a:pt x="62" y="104"/>
                        <a:pt x="62" y="104"/>
                        <a:pt x="62" y="104"/>
                      </a:cubicBezTo>
                      <a:cubicBezTo>
                        <a:pt x="60" y="106"/>
                        <a:pt x="52" y="114"/>
                        <a:pt x="7" y="131"/>
                      </a:cubicBezTo>
                      <a:cubicBezTo>
                        <a:pt x="3" y="133"/>
                        <a:pt x="0" y="137"/>
                        <a:pt x="0" y="141"/>
                      </a:cubicBezTo>
                      <a:cubicBezTo>
                        <a:pt x="0" y="162"/>
                        <a:pt x="0" y="162"/>
                        <a:pt x="0" y="162"/>
                      </a:cubicBezTo>
                      <a:cubicBezTo>
                        <a:pt x="0" y="168"/>
                        <a:pt x="5" y="172"/>
                        <a:pt x="11" y="172"/>
                      </a:cubicBezTo>
                      <a:cubicBezTo>
                        <a:pt x="162" y="172"/>
                        <a:pt x="162" y="172"/>
                        <a:pt x="162" y="172"/>
                      </a:cubicBezTo>
                      <a:cubicBezTo>
                        <a:pt x="168" y="172"/>
                        <a:pt x="173" y="168"/>
                        <a:pt x="173" y="162"/>
                      </a:cubicBezTo>
                      <a:cubicBezTo>
                        <a:pt x="173" y="141"/>
                        <a:pt x="173" y="141"/>
                        <a:pt x="173" y="141"/>
                      </a:cubicBezTo>
                      <a:cubicBezTo>
                        <a:pt x="173" y="137"/>
                        <a:pt x="170" y="133"/>
                        <a:pt x="166" y="131"/>
                      </a:cubicBezTo>
                      <a:close/>
                      <a:moveTo>
                        <a:pt x="163" y="162"/>
                      </a:moveTo>
                      <a:cubicBezTo>
                        <a:pt x="163" y="162"/>
                        <a:pt x="163" y="163"/>
                        <a:pt x="162" y="163"/>
                      </a:cubicBezTo>
                      <a:cubicBezTo>
                        <a:pt x="11" y="163"/>
                        <a:pt x="11" y="163"/>
                        <a:pt x="11" y="163"/>
                      </a:cubicBezTo>
                      <a:cubicBezTo>
                        <a:pt x="10" y="163"/>
                        <a:pt x="10" y="162"/>
                        <a:pt x="10" y="162"/>
                      </a:cubicBezTo>
                      <a:cubicBezTo>
                        <a:pt x="10" y="141"/>
                        <a:pt x="10" y="141"/>
                        <a:pt x="10" y="141"/>
                      </a:cubicBezTo>
                      <a:cubicBezTo>
                        <a:pt x="10" y="141"/>
                        <a:pt x="10" y="140"/>
                        <a:pt x="10" y="140"/>
                      </a:cubicBezTo>
                      <a:cubicBezTo>
                        <a:pt x="61" y="121"/>
                        <a:pt x="69" y="112"/>
                        <a:pt x="71" y="106"/>
                      </a:cubicBezTo>
                      <a:cubicBezTo>
                        <a:pt x="71" y="106"/>
                        <a:pt x="71" y="106"/>
                        <a:pt x="71" y="105"/>
                      </a:cubicBezTo>
                      <a:cubicBezTo>
                        <a:pt x="71" y="97"/>
                        <a:pt x="71" y="97"/>
                        <a:pt x="71" y="97"/>
                      </a:cubicBezTo>
                      <a:cubicBezTo>
                        <a:pt x="71" y="96"/>
                        <a:pt x="71" y="94"/>
                        <a:pt x="70" y="93"/>
                      </a:cubicBezTo>
                      <a:cubicBezTo>
                        <a:pt x="65" y="88"/>
                        <a:pt x="61" y="81"/>
                        <a:pt x="59" y="73"/>
                      </a:cubicBezTo>
                      <a:cubicBezTo>
                        <a:pt x="59" y="72"/>
                        <a:pt x="58" y="71"/>
                        <a:pt x="57" y="70"/>
                      </a:cubicBezTo>
                      <a:cubicBezTo>
                        <a:pt x="55" y="69"/>
                        <a:pt x="53" y="66"/>
                        <a:pt x="53" y="63"/>
                      </a:cubicBezTo>
                      <a:cubicBezTo>
                        <a:pt x="53" y="61"/>
                        <a:pt x="54" y="59"/>
                        <a:pt x="55" y="58"/>
                      </a:cubicBezTo>
                      <a:cubicBezTo>
                        <a:pt x="56" y="57"/>
                        <a:pt x="56" y="56"/>
                        <a:pt x="56" y="55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19"/>
                        <a:pt x="67" y="9"/>
                        <a:pt x="86" y="9"/>
                      </a:cubicBezTo>
                      <a:cubicBezTo>
                        <a:pt x="106" y="9"/>
                        <a:pt x="116" y="19"/>
                        <a:pt x="116" y="37"/>
                      </a:cubicBezTo>
                      <a:cubicBezTo>
                        <a:pt x="116" y="55"/>
                        <a:pt x="116" y="55"/>
                        <a:pt x="116" y="55"/>
                      </a:cubicBezTo>
                      <a:cubicBezTo>
                        <a:pt x="116" y="56"/>
                        <a:pt x="117" y="57"/>
                        <a:pt x="118" y="58"/>
                      </a:cubicBezTo>
                      <a:cubicBezTo>
                        <a:pt x="118" y="59"/>
                        <a:pt x="119" y="61"/>
                        <a:pt x="119" y="63"/>
                      </a:cubicBezTo>
                      <a:cubicBezTo>
                        <a:pt x="119" y="66"/>
                        <a:pt x="118" y="69"/>
                        <a:pt x="116" y="70"/>
                      </a:cubicBezTo>
                      <a:cubicBezTo>
                        <a:pt x="115" y="71"/>
                        <a:pt x="114" y="72"/>
                        <a:pt x="114" y="73"/>
                      </a:cubicBezTo>
                      <a:cubicBezTo>
                        <a:pt x="112" y="81"/>
                        <a:pt x="108" y="88"/>
                        <a:pt x="103" y="93"/>
                      </a:cubicBezTo>
                      <a:cubicBezTo>
                        <a:pt x="102" y="94"/>
                        <a:pt x="102" y="96"/>
                        <a:pt x="102" y="97"/>
                      </a:cubicBezTo>
                      <a:cubicBezTo>
                        <a:pt x="102" y="105"/>
                        <a:pt x="102" y="105"/>
                        <a:pt x="102" y="105"/>
                      </a:cubicBezTo>
                      <a:cubicBezTo>
                        <a:pt x="102" y="106"/>
                        <a:pt x="102" y="106"/>
                        <a:pt x="102" y="106"/>
                      </a:cubicBezTo>
                      <a:cubicBezTo>
                        <a:pt x="104" y="112"/>
                        <a:pt x="112" y="121"/>
                        <a:pt x="162" y="140"/>
                      </a:cubicBezTo>
                      <a:cubicBezTo>
                        <a:pt x="163" y="140"/>
                        <a:pt x="163" y="141"/>
                        <a:pt x="163" y="141"/>
                      </a:cubicBezTo>
                      <a:lnTo>
                        <a:pt x="163" y="16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" name="Freeform 372"/>
                <p:cNvSpPr>
                  <a:spLocks/>
                </p:cNvSpPr>
                <p:nvPr/>
              </p:nvSpPr>
              <p:spPr bwMode="auto">
                <a:xfrm>
                  <a:off x="7932738" y="1062038"/>
                  <a:ext cx="250825" cy="373063"/>
                </a:xfrm>
                <a:custGeom>
                  <a:avLst/>
                  <a:gdLst>
                    <a:gd name="T0" fmla="*/ 102 w 109"/>
                    <a:gd name="T1" fmla="*/ 123 h 162"/>
                    <a:gd name="T2" fmla="*/ 69 w 109"/>
                    <a:gd name="T3" fmla="*/ 115 h 162"/>
                    <a:gd name="T4" fmla="*/ 51 w 109"/>
                    <a:gd name="T5" fmla="*/ 110 h 162"/>
                    <a:gd name="T6" fmla="*/ 51 w 109"/>
                    <a:gd name="T7" fmla="*/ 105 h 162"/>
                    <a:gd name="T8" fmla="*/ 84 w 109"/>
                    <a:gd name="T9" fmla="*/ 96 h 162"/>
                    <a:gd name="T10" fmla="*/ 85 w 109"/>
                    <a:gd name="T11" fmla="*/ 92 h 162"/>
                    <a:gd name="T12" fmla="*/ 83 w 109"/>
                    <a:gd name="T13" fmla="*/ 89 h 162"/>
                    <a:gd name="T14" fmla="*/ 72 w 109"/>
                    <a:gd name="T15" fmla="*/ 47 h 162"/>
                    <a:gd name="T16" fmla="*/ 57 w 109"/>
                    <a:gd name="T17" fmla="*/ 12 h 162"/>
                    <a:gd name="T18" fmla="*/ 43 w 109"/>
                    <a:gd name="T19" fmla="*/ 3 h 162"/>
                    <a:gd name="T20" fmla="*/ 13 w 109"/>
                    <a:gd name="T21" fmla="*/ 4 h 162"/>
                    <a:gd name="T22" fmla="*/ 2 w 109"/>
                    <a:gd name="T23" fmla="*/ 9 h 162"/>
                    <a:gd name="T24" fmla="*/ 2 w 109"/>
                    <a:gd name="T25" fmla="*/ 16 h 162"/>
                    <a:gd name="T26" fmla="*/ 8 w 109"/>
                    <a:gd name="T27" fmla="*/ 17 h 162"/>
                    <a:gd name="T28" fmla="*/ 16 w 109"/>
                    <a:gd name="T29" fmla="*/ 13 h 162"/>
                    <a:gd name="T30" fmla="*/ 40 w 109"/>
                    <a:gd name="T31" fmla="*/ 12 h 162"/>
                    <a:gd name="T32" fmla="*/ 50 w 109"/>
                    <a:gd name="T33" fmla="*/ 19 h 162"/>
                    <a:gd name="T34" fmla="*/ 51 w 109"/>
                    <a:gd name="T35" fmla="*/ 19 h 162"/>
                    <a:gd name="T36" fmla="*/ 62 w 109"/>
                    <a:gd name="T37" fmla="*/ 47 h 162"/>
                    <a:gd name="T38" fmla="*/ 73 w 109"/>
                    <a:gd name="T39" fmla="*/ 91 h 162"/>
                    <a:gd name="T40" fmla="*/ 47 w 109"/>
                    <a:gd name="T41" fmla="*/ 96 h 162"/>
                    <a:gd name="T42" fmla="*/ 42 w 109"/>
                    <a:gd name="T43" fmla="*/ 101 h 162"/>
                    <a:gd name="T44" fmla="*/ 42 w 109"/>
                    <a:gd name="T45" fmla="*/ 112 h 162"/>
                    <a:gd name="T46" fmla="*/ 42 w 109"/>
                    <a:gd name="T47" fmla="*/ 113 h 162"/>
                    <a:gd name="T48" fmla="*/ 67 w 109"/>
                    <a:gd name="T49" fmla="*/ 124 h 162"/>
                    <a:gd name="T50" fmla="*/ 99 w 109"/>
                    <a:gd name="T51" fmla="*/ 132 h 162"/>
                    <a:gd name="T52" fmla="*/ 99 w 109"/>
                    <a:gd name="T53" fmla="*/ 133 h 162"/>
                    <a:gd name="T54" fmla="*/ 99 w 109"/>
                    <a:gd name="T55" fmla="*/ 152 h 162"/>
                    <a:gd name="T56" fmla="*/ 98 w 109"/>
                    <a:gd name="T57" fmla="*/ 153 h 162"/>
                    <a:gd name="T58" fmla="*/ 57 w 109"/>
                    <a:gd name="T59" fmla="*/ 153 h 162"/>
                    <a:gd name="T60" fmla="*/ 53 w 109"/>
                    <a:gd name="T61" fmla="*/ 158 h 162"/>
                    <a:gd name="T62" fmla="*/ 57 w 109"/>
                    <a:gd name="T63" fmla="*/ 162 h 162"/>
                    <a:gd name="T64" fmla="*/ 98 w 109"/>
                    <a:gd name="T65" fmla="*/ 162 h 162"/>
                    <a:gd name="T66" fmla="*/ 109 w 109"/>
                    <a:gd name="T67" fmla="*/ 152 h 162"/>
                    <a:gd name="T68" fmla="*/ 109 w 109"/>
                    <a:gd name="T69" fmla="*/ 133 h 162"/>
                    <a:gd name="T70" fmla="*/ 102 w 109"/>
                    <a:gd name="T71" fmla="*/ 123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09" h="162">
                      <a:moveTo>
                        <a:pt x="102" y="123"/>
                      </a:moveTo>
                      <a:cubicBezTo>
                        <a:pt x="91" y="119"/>
                        <a:pt x="79" y="117"/>
                        <a:pt x="69" y="115"/>
                      </a:cubicBezTo>
                      <a:cubicBezTo>
                        <a:pt x="62" y="114"/>
                        <a:pt x="53" y="112"/>
                        <a:pt x="51" y="110"/>
                      </a:cubicBezTo>
                      <a:cubicBezTo>
                        <a:pt x="51" y="105"/>
                        <a:pt x="51" y="105"/>
                        <a:pt x="51" y="105"/>
                      </a:cubicBezTo>
                      <a:cubicBezTo>
                        <a:pt x="74" y="104"/>
                        <a:pt x="83" y="97"/>
                        <a:pt x="84" y="96"/>
                      </a:cubicBezTo>
                      <a:cubicBezTo>
                        <a:pt x="85" y="95"/>
                        <a:pt x="86" y="94"/>
                        <a:pt x="85" y="92"/>
                      </a:cubicBezTo>
                      <a:cubicBezTo>
                        <a:pt x="85" y="91"/>
                        <a:pt x="84" y="89"/>
                        <a:pt x="83" y="89"/>
                      </a:cubicBezTo>
                      <a:cubicBezTo>
                        <a:pt x="78" y="86"/>
                        <a:pt x="73" y="65"/>
                        <a:pt x="72" y="47"/>
                      </a:cubicBezTo>
                      <a:cubicBezTo>
                        <a:pt x="72" y="34"/>
                        <a:pt x="67" y="21"/>
                        <a:pt x="57" y="12"/>
                      </a:cubicBezTo>
                      <a:cubicBezTo>
                        <a:pt x="54" y="8"/>
                        <a:pt x="49" y="5"/>
                        <a:pt x="43" y="3"/>
                      </a:cubicBezTo>
                      <a:cubicBezTo>
                        <a:pt x="33" y="0"/>
                        <a:pt x="22" y="0"/>
                        <a:pt x="13" y="4"/>
                      </a:cubicBezTo>
                      <a:cubicBezTo>
                        <a:pt x="9" y="5"/>
                        <a:pt x="5" y="7"/>
                        <a:pt x="2" y="9"/>
                      </a:cubicBezTo>
                      <a:cubicBezTo>
                        <a:pt x="0" y="11"/>
                        <a:pt x="0" y="14"/>
                        <a:pt x="2" y="16"/>
                      </a:cubicBezTo>
                      <a:cubicBezTo>
                        <a:pt x="3" y="18"/>
                        <a:pt x="6" y="18"/>
                        <a:pt x="8" y="17"/>
                      </a:cubicBezTo>
                      <a:cubicBezTo>
                        <a:pt x="10" y="15"/>
                        <a:pt x="13" y="14"/>
                        <a:pt x="16" y="13"/>
                      </a:cubicBezTo>
                      <a:cubicBezTo>
                        <a:pt x="24" y="10"/>
                        <a:pt x="31" y="9"/>
                        <a:pt x="40" y="12"/>
                      </a:cubicBezTo>
                      <a:cubicBezTo>
                        <a:pt x="44" y="14"/>
                        <a:pt x="48" y="16"/>
                        <a:pt x="50" y="19"/>
                      </a:cubicBezTo>
                      <a:cubicBezTo>
                        <a:pt x="50" y="19"/>
                        <a:pt x="50" y="19"/>
                        <a:pt x="51" y="19"/>
                      </a:cubicBezTo>
                      <a:cubicBezTo>
                        <a:pt x="58" y="26"/>
                        <a:pt x="62" y="36"/>
                        <a:pt x="62" y="47"/>
                      </a:cubicBezTo>
                      <a:cubicBezTo>
                        <a:pt x="63" y="55"/>
                        <a:pt x="66" y="80"/>
                        <a:pt x="73" y="91"/>
                      </a:cubicBezTo>
                      <a:cubicBezTo>
                        <a:pt x="68" y="93"/>
                        <a:pt x="60" y="96"/>
                        <a:pt x="47" y="96"/>
                      </a:cubicBezTo>
                      <a:cubicBezTo>
                        <a:pt x="44" y="96"/>
                        <a:pt x="42" y="98"/>
                        <a:pt x="42" y="101"/>
                      </a:cubicBezTo>
                      <a:cubicBezTo>
                        <a:pt x="42" y="112"/>
                        <a:pt x="42" y="112"/>
                        <a:pt x="42" y="112"/>
                      </a:cubicBezTo>
                      <a:cubicBezTo>
                        <a:pt x="42" y="112"/>
                        <a:pt x="42" y="113"/>
                        <a:pt x="42" y="113"/>
                      </a:cubicBezTo>
                      <a:cubicBezTo>
                        <a:pt x="44" y="120"/>
                        <a:pt x="53" y="122"/>
                        <a:pt x="67" y="124"/>
                      </a:cubicBezTo>
                      <a:cubicBezTo>
                        <a:pt x="76" y="126"/>
                        <a:pt x="88" y="128"/>
                        <a:pt x="99" y="132"/>
                      </a:cubicBezTo>
                      <a:cubicBezTo>
                        <a:pt x="99" y="132"/>
                        <a:pt x="99" y="133"/>
                        <a:pt x="99" y="133"/>
                      </a:cubicBezTo>
                      <a:cubicBezTo>
                        <a:pt x="99" y="152"/>
                        <a:pt x="99" y="152"/>
                        <a:pt x="99" y="152"/>
                      </a:cubicBezTo>
                      <a:cubicBezTo>
                        <a:pt x="99" y="152"/>
                        <a:pt x="99" y="153"/>
                        <a:pt x="98" y="153"/>
                      </a:cubicBezTo>
                      <a:cubicBezTo>
                        <a:pt x="57" y="153"/>
                        <a:pt x="57" y="153"/>
                        <a:pt x="57" y="153"/>
                      </a:cubicBezTo>
                      <a:cubicBezTo>
                        <a:pt x="55" y="153"/>
                        <a:pt x="53" y="155"/>
                        <a:pt x="53" y="158"/>
                      </a:cubicBezTo>
                      <a:cubicBezTo>
                        <a:pt x="53" y="160"/>
                        <a:pt x="55" y="162"/>
                        <a:pt x="57" y="162"/>
                      </a:cubicBezTo>
                      <a:cubicBezTo>
                        <a:pt x="98" y="162"/>
                        <a:pt x="98" y="162"/>
                        <a:pt x="98" y="162"/>
                      </a:cubicBezTo>
                      <a:cubicBezTo>
                        <a:pt x="104" y="162"/>
                        <a:pt x="109" y="158"/>
                        <a:pt x="109" y="152"/>
                      </a:cubicBezTo>
                      <a:cubicBezTo>
                        <a:pt x="109" y="133"/>
                        <a:pt x="109" y="133"/>
                        <a:pt x="109" y="133"/>
                      </a:cubicBezTo>
                      <a:cubicBezTo>
                        <a:pt x="109" y="129"/>
                        <a:pt x="106" y="125"/>
                        <a:pt x="102" y="1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sp>
          <p:nvSpPr>
            <p:cNvPr id="23" name="Content Placeholder 15"/>
            <p:cNvSpPr txBox="1">
              <a:spLocks/>
            </p:cNvSpPr>
            <p:nvPr/>
          </p:nvSpPr>
          <p:spPr>
            <a:xfrm>
              <a:off x="1122467" y="2533972"/>
              <a:ext cx="932756" cy="276999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SzPct val="100000"/>
                <a:buFont typeface="Arial" panose="020B0604020202020204" pitchFamily="34" charset="0"/>
                <a:buNone/>
                <a:tabLst>
                  <a:tab pos="6729413" algn="r"/>
                </a:tabLst>
                <a:defRPr sz="12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ClrTx/>
                <a:buSzPct val="100000"/>
                <a:buFont typeface="Arial"/>
                <a:buNone/>
                <a:tabLst>
                  <a:tab pos="6729413" algn="r"/>
                </a:tabLst>
                <a:defRPr lang="en-US" sz="12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64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6729413" algn="r"/>
                </a:tabLst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564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ClrTx/>
                <a:buSzPct val="100000"/>
                <a:buFont typeface="Verdana" panose="020B0604030504040204" pitchFamily="34" charset="0"/>
                <a:buChar char="−"/>
                <a:tabLst>
                  <a:tab pos="6729413" algn="r"/>
                </a:tabLst>
                <a:defRPr lang="en-US"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32800" indent="-176400" algn="l" defTabSz="798513" rtl="0" eaLnBrk="1" latinLnBrk="0" hangingPunct="1">
                <a:spcBef>
                  <a:spcPts val="0"/>
                </a:spcBef>
                <a:spcAft>
                  <a:spcPts val="1000"/>
                </a:spcAft>
                <a:buClrTx/>
                <a:buSzPct val="100000"/>
                <a:buFont typeface="Verdana" panose="020B0604030504040204" pitchFamily="34" charset="0"/>
                <a:buChar char="−"/>
                <a:tabLst>
                  <a:tab pos="5029200" algn="r"/>
                </a:tabLst>
                <a:defRPr lang="en-US"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tabLst>
                  <a:tab pos="6729413" algn="r"/>
                </a:tabLst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tabLst>
                  <a:tab pos="6729413" algn="r"/>
                </a:tabLst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tabLst>
                  <a:tab pos="6729413" algn="r"/>
                </a:tabLst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tabLst>
                  <a:tab pos="6729413" algn="r"/>
                </a:tabLst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 fontAlgn="auto">
                <a:spcAft>
                  <a:spcPts val="200"/>
                </a:spcAft>
              </a:pPr>
              <a:r>
                <a:rPr kumimoji="0" lang="it-IT" sz="180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Ricevente</a:t>
              </a:r>
              <a:endParaRPr kumimoji="0" lang="en-US" sz="1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2344401" y="1953026"/>
            <a:ext cx="1887763" cy="859255"/>
            <a:chOff x="2344401" y="1724426"/>
            <a:chExt cx="1887763" cy="859255"/>
          </a:xfrm>
        </p:grpSpPr>
        <p:grpSp>
          <p:nvGrpSpPr>
            <p:cNvPr id="29" name="Group 28"/>
            <p:cNvGrpSpPr/>
            <p:nvPr/>
          </p:nvGrpSpPr>
          <p:grpSpPr>
            <a:xfrm>
              <a:off x="2344401" y="2079681"/>
              <a:ext cx="1887763" cy="504000"/>
              <a:chOff x="2344401" y="2171121"/>
              <a:chExt cx="1887763" cy="504000"/>
            </a:xfrm>
          </p:grpSpPr>
          <p:sp>
            <p:nvSpPr>
              <p:cNvPr id="31" name="Right Arrow 30"/>
              <p:cNvSpPr/>
              <p:nvPr/>
            </p:nvSpPr>
            <p:spPr bwMode="auto">
              <a:xfrm>
                <a:off x="2344401" y="2217383"/>
                <a:ext cx="1887763" cy="434147"/>
              </a:xfrm>
              <a:prstGeom prst="rightArrow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0000"/>
                  </a:buClr>
                  <a:buSzPct val="70000"/>
                  <a:buFont typeface="Wingdings" pitchFamily="2" charset="2"/>
                  <a:buNone/>
                  <a:tabLst/>
                </a:pPr>
                <a:endParaRPr kumimoji="0" lang="en-US" sz="10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grpSp>
            <p:nvGrpSpPr>
              <p:cNvPr id="32" name="Group 31"/>
              <p:cNvGrpSpPr>
                <a:grpSpLocks noChangeAspect="1"/>
              </p:cNvGrpSpPr>
              <p:nvPr/>
            </p:nvGrpSpPr>
            <p:grpSpPr>
              <a:xfrm>
                <a:off x="2955002" y="2171121"/>
                <a:ext cx="504000" cy="504000"/>
                <a:chOff x="2952871" y="1200841"/>
                <a:chExt cx="504000" cy="504000"/>
              </a:xfrm>
            </p:grpSpPr>
            <p:sp>
              <p:nvSpPr>
                <p:cNvPr id="33" name="Oval 32"/>
                <p:cNvSpPr/>
                <p:nvPr/>
              </p:nvSpPr>
              <p:spPr bwMode="auto">
                <a:xfrm>
                  <a:off x="2952871" y="1200841"/>
                  <a:ext cx="504000" cy="504000"/>
                </a:xfrm>
                <a:prstGeom prst="ellips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CC0000"/>
                    </a:buClr>
                    <a:buSzPct val="70000"/>
                    <a:buFont typeface="Wingdings" pitchFamily="2" charset="2"/>
                    <a:buNone/>
                    <a:tabLst/>
                  </a:pPr>
                  <a:endParaRPr kumimoji="0" lang="en-US" sz="10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34" name="Freeform 168"/>
                <p:cNvSpPr>
                  <a:spLocks noEditPoints="1"/>
                </p:cNvSpPr>
                <p:nvPr/>
              </p:nvSpPr>
              <p:spPr bwMode="auto">
                <a:xfrm>
                  <a:off x="2961190" y="1208366"/>
                  <a:ext cx="487363" cy="488950"/>
                </a:xfrm>
                <a:custGeom>
                  <a:avLst/>
                  <a:gdLst>
                    <a:gd name="T0" fmla="*/ 122 w 243"/>
                    <a:gd name="T1" fmla="*/ 0 h 243"/>
                    <a:gd name="T2" fmla="*/ 0 w 243"/>
                    <a:gd name="T3" fmla="*/ 122 h 243"/>
                    <a:gd name="T4" fmla="*/ 122 w 243"/>
                    <a:gd name="T5" fmla="*/ 243 h 243"/>
                    <a:gd name="T6" fmla="*/ 243 w 243"/>
                    <a:gd name="T7" fmla="*/ 122 h 243"/>
                    <a:gd name="T8" fmla="*/ 122 w 243"/>
                    <a:gd name="T9" fmla="*/ 0 h 243"/>
                    <a:gd name="T10" fmla="*/ 54 w 243"/>
                    <a:gd name="T11" fmla="*/ 211 h 243"/>
                    <a:gd name="T12" fmla="*/ 102 w 243"/>
                    <a:gd name="T13" fmla="*/ 180 h 243"/>
                    <a:gd name="T14" fmla="*/ 102 w 243"/>
                    <a:gd name="T15" fmla="*/ 179 h 243"/>
                    <a:gd name="T16" fmla="*/ 102 w 243"/>
                    <a:gd name="T17" fmla="*/ 168 h 243"/>
                    <a:gd name="T18" fmla="*/ 101 w 243"/>
                    <a:gd name="T19" fmla="*/ 165 h 243"/>
                    <a:gd name="T20" fmla="*/ 87 w 243"/>
                    <a:gd name="T21" fmla="*/ 139 h 243"/>
                    <a:gd name="T22" fmla="*/ 85 w 243"/>
                    <a:gd name="T23" fmla="*/ 136 h 243"/>
                    <a:gd name="T24" fmla="*/ 80 w 243"/>
                    <a:gd name="T25" fmla="*/ 127 h 243"/>
                    <a:gd name="T26" fmla="*/ 83 w 243"/>
                    <a:gd name="T27" fmla="*/ 120 h 243"/>
                    <a:gd name="T28" fmla="*/ 84 w 243"/>
                    <a:gd name="T29" fmla="*/ 117 h 243"/>
                    <a:gd name="T30" fmla="*/ 84 w 243"/>
                    <a:gd name="T31" fmla="*/ 94 h 243"/>
                    <a:gd name="T32" fmla="*/ 122 w 243"/>
                    <a:gd name="T33" fmla="*/ 59 h 243"/>
                    <a:gd name="T34" fmla="*/ 160 w 243"/>
                    <a:gd name="T35" fmla="*/ 94 h 243"/>
                    <a:gd name="T36" fmla="*/ 160 w 243"/>
                    <a:gd name="T37" fmla="*/ 117 h 243"/>
                    <a:gd name="T38" fmla="*/ 162 w 243"/>
                    <a:gd name="T39" fmla="*/ 120 h 243"/>
                    <a:gd name="T40" fmla="*/ 164 w 243"/>
                    <a:gd name="T41" fmla="*/ 127 h 243"/>
                    <a:gd name="T42" fmla="*/ 159 w 243"/>
                    <a:gd name="T43" fmla="*/ 136 h 243"/>
                    <a:gd name="T44" fmla="*/ 157 w 243"/>
                    <a:gd name="T45" fmla="*/ 139 h 243"/>
                    <a:gd name="T46" fmla="*/ 143 w 243"/>
                    <a:gd name="T47" fmla="*/ 165 h 243"/>
                    <a:gd name="T48" fmla="*/ 142 w 243"/>
                    <a:gd name="T49" fmla="*/ 168 h 243"/>
                    <a:gd name="T50" fmla="*/ 142 w 243"/>
                    <a:gd name="T51" fmla="*/ 179 h 243"/>
                    <a:gd name="T52" fmla="*/ 142 w 243"/>
                    <a:gd name="T53" fmla="*/ 180 h 243"/>
                    <a:gd name="T54" fmla="*/ 190 w 243"/>
                    <a:gd name="T55" fmla="*/ 210 h 243"/>
                    <a:gd name="T56" fmla="*/ 122 w 243"/>
                    <a:gd name="T57" fmla="*/ 234 h 243"/>
                    <a:gd name="T58" fmla="*/ 54 w 243"/>
                    <a:gd name="T59" fmla="*/ 211 h 243"/>
                    <a:gd name="T60" fmla="*/ 198 w 243"/>
                    <a:gd name="T61" fmla="*/ 203 h 243"/>
                    <a:gd name="T62" fmla="*/ 152 w 243"/>
                    <a:gd name="T63" fmla="*/ 178 h 243"/>
                    <a:gd name="T64" fmla="*/ 152 w 243"/>
                    <a:gd name="T65" fmla="*/ 170 h 243"/>
                    <a:gd name="T66" fmla="*/ 167 w 243"/>
                    <a:gd name="T67" fmla="*/ 143 h 243"/>
                    <a:gd name="T68" fmla="*/ 174 w 243"/>
                    <a:gd name="T69" fmla="*/ 127 h 243"/>
                    <a:gd name="T70" fmla="*/ 170 w 243"/>
                    <a:gd name="T71" fmla="*/ 115 h 243"/>
                    <a:gd name="T72" fmla="*/ 170 w 243"/>
                    <a:gd name="T73" fmla="*/ 94 h 243"/>
                    <a:gd name="T74" fmla="*/ 122 w 243"/>
                    <a:gd name="T75" fmla="*/ 49 h 243"/>
                    <a:gd name="T76" fmla="*/ 74 w 243"/>
                    <a:gd name="T77" fmla="*/ 94 h 243"/>
                    <a:gd name="T78" fmla="*/ 74 w 243"/>
                    <a:gd name="T79" fmla="*/ 115 h 243"/>
                    <a:gd name="T80" fmla="*/ 70 w 243"/>
                    <a:gd name="T81" fmla="*/ 127 h 243"/>
                    <a:gd name="T82" fmla="*/ 78 w 243"/>
                    <a:gd name="T83" fmla="*/ 143 h 243"/>
                    <a:gd name="T84" fmla="*/ 92 w 243"/>
                    <a:gd name="T85" fmla="*/ 170 h 243"/>
                    <a:gd name="T86" fmla="*/ 92 w 243"/>
                    <a:gd name="T87" fmla="*/ 178 h 243"/>
                    <a:gd name="T88" fmla="*/ 45 w 243"/>
                    <a:gd name="T89" fmla="*/ 203 h 243"/>
                    <a:gd name="T90" fmla="*/ 10 w 243"/>
                    <a:gd name="T91" fmla="*/ 122 h 243"/>
                    <a:gd name="T92" fmla="*/ 122 w 243"/>
                    <a:gd name="T93" fmla="*/ 10 h 243"/>
                    <a:gd name="T94" fmla="*/ 233 w 243"/>
                    <a:gd name="T95" fmla="*/ 122 h 243"/>
                    <a:gd name="T96" fmla="*/ 198 w 243"/>
                    <a:gd name="T97" fmla="*/ 203 h 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243" h="243">
                      <a:moveTo>
                        <a:pt x="122" y="0"/>
                      </a:moveTo>
                      <a:cubicBezTo>
                        <a:pt x="55" y="0"/>
                        <a:pt x="0" y="55"/>
                        <a:pt x="0" y="122"/>
                      </a:cubicBezTo>
                      <a:cubicBezTo>
                        <a:pt x="0" y="189"/>
                        <a:pt x="55" y="243"/>
                        <a:pt x="122" y="243"/>
                      </a:cubicBezTo>
                      <a:cubicBezTo>
                        <a:pt x="189" y="243"/>
                        <a:pt x="243" y="189"/>
                        <a:pt x="243" y="122"/>
                      </a:cubicBezTo>
                      <a:cubicBezTo>
                        <a:pt x="243" y="55"/>
                        <a:pt x="189" y="0"/>
                        <a:pt x="122" y="0"/>
                      </a:cubicBezTo>
                      <a:close/>
                      <a:moveTo>
                        <a:pt x="54" y="211"/>
                      </a:moveTo>
                      <a:cubicBezTo>
                        <a:pt x="93" y="194"/>
                        <a:pt x="100" y="186"/>
                        <a:pt x="102" y="180"/>
                      </a:cubicBezTo>
                      <a:cubicBezTo>
                        <a:pt x="102" y="180"/>
                        <a:pt x="102" y="179"/>
                        <a:pt x="102" y="179"/>
                      </a:cubicBezTo>
                      <a:cubicBezTo>
                        <a:pt x="102" y="168"/>
                        <a:pt x="102" y="168"/>
                        <a:pt x="102" y="168"/>
                      </a:cubicBezTo>
                      <a:cubicBezTo>
                        <a:pt x="102" y="167"/>
                        <a:pt x="102" y="166"/>
                        <a:pt x="101" y="165"/>
                      </a:cubicBezTo>
                      <a:cubicBezTo>
                        <a:pt x="95" y="159"/>
                        <a:pt x="90" y="150"/>
                        <a:pt x="87" y="139"/>
                      </a:cubicBezTo>
                      <a:cubicBezTo>
                        <a:pt x="87" y="138"/>
                        <a:pt x="86" y="137"/>
                        <a:pt x="85" y="136"/>
                      </a:cubicBezTo>
                      <a:cubicBezTo>
                        <a:pt x="82" y="134"/>
                        <a:pt x="80" y="131"/>
                        <a:pt x="80" y="127"/>
                      </a:cubicBezTo>
                      <a:cubicBezTo>
                        <a:pt x="80" y="124"/>
                        <a:pt x="82" y="121"/>
                        <a:pt x="83" y="120"/>
                      </a:cubicBezTo>
                      <a:cubicBezTo>
                        <a:pt x="83" y="119"/>
                        <a:pt x="84" y="118"/>
                        <a:pt x="84" y="117"/>
                      </a:cubicBezTo>
                      <a:cubicBezTo>
                        <a:pt x="84" y="94"/>
                        <a:pt x="84" y="94"/>
                        <a:pt x="84" y="94"/>
                      </a:cubicBezTo>
                      <a:cubicBezTo>
                        <a:pt x="84" y="71"/>
                        <a:pt x="97" y="59"/>
                        <a:pt x="122" y="59"/>
                      </a:cubicBezTo>
                      <a:cubicBezTo>
                        <a:pt x="147" y="59"/>
                        <a:pt x="160" y="71"/>
                        <a:pt x="160" y="94"/>
                      </a:cubicBezTo>
                      <a:cubicBezTo>
                        <a:pt x="160" y="117"/>
                        <a:pt x="160" y="117"/>
                        <a:pt x="160" y="117"/>
                      </a:cubicBezTo>
                      <a:cubicBezTo>
                        <a:pt x="160" y="118"/>
                        <a:pt x="161" y="119"/>
                        <a:pt x="162" y="120"/>
                      </a:cubicBezTo>
                      <a:cubicBezTo>
                        <a:pt x="163" y="121"/>
                        <a:pt x="164" y="124"/>
                        <a:pt x="164" y="127"/>
                      </a:cubicBezTo>
                      <a:cubicBezTo>
                        <a:pt x="164" y="131"/>
                        <a:pt x="162" y="134"/>
                        <a:pt x="159" y="136"/>
                      </a:cubicBezTo>
                      <a:cubicBezTo>
                        <a:pt x="158" y="137"/>
                        <a:pt x="158" y="138"/>
                        <a:pt x="157" y="139"/>
                      </a:cubicBezTo>
                      <a:cubicBezTo>
                        <a:pt x="155" y="150"/>
                        <a:pt x="150" y="159"/>
                        <a:pt x="143" y="165"/>
                      </a:cubicBezTo>
                      <a:cubicBezTo>
                        <a:pt x="143" y="166"/>
                        <a:pt x="142" y="167"/>
                        <a:pt x="142" y="168"/>
                      </a:cubicBezTo>
                      <a:cubicBezTo>
                        <a:pt x="142" y="179"/>
                        <a:pt x="142" y="179"/>
                        <a:pt x="142" y="179"/>
                      </a:cubicBezTo>
                      <a:cubicBezTo>
                        <a:pt x="142" y="179"/>
                        <a:pt x="142" y="180"/>
                        <a:pt x="142" y="180"/>
                      </a:cubicBezTo>
                      <a:cubicBezTo>
                        <a:pt x="144" y="186"/>
                        <a:pt x="151" y="194"/>
                        <a:pt x="190" y="210"/>
                      </a:cubicBezTo>
                      <a:cubicBezTo>
                        <a:pt x="171" y="225"/>
                        <a:pt x="147" y="234"/>
                        <a:pt x="122" y="234"/>
                      </a:cubicBezTo>
                      <a:cubicBezTo>
                        <a:pt x="96" y="234"/>
                        <a:pt x="73" y="225"/>
                        <a:pt x="54" y="211"/>
                      </a:cubicBezTo>
                      <a:close/>
                      <a:moveTo>
                        <a:pt x="198" y="203"/>
                      </a:moveTo>
                      <a:cubicBezTo>
                        <a:pt x="160" y="187"/>
                        <a:pt x="153" y="180"/>
                        <a:pt x="152" y="178"/>
                      </a:cubicBezTo>
                      <a:cubicBezTo>
                        <a:pt x="152" y="170"/>
                        <a:pt x="152" y="170"/>
                        <a:pt x="152" y="170"/>
                      </a:cubicBezTo>
                      <a:cubicBezTo>
                        <a:pt x="158" y="163"/>
                        <a:pt x="163" y="154"/>
                        <a:pt x="167" y="143"/>
                      </a:cubicBezTo>
                      <a:cubicBezTo>
                        <a:pt x="171" y="139"/>
                        <a:pt x="174" y="133"/>
                        <a:pt x="174" y="127"/>
                      </a:cubicBezTo>
                      <a:cubicBezTo>
                        <a:pt x="174" y="123"/>
                        <a:pt x="173" y="118"/>
                        <a:pt x="170" y="115"/>
                      </a:cubicBezTo>
                      <a:cubicBezTo>
                        <a:pt x="170" y="94"/>
                        <a:pt x="170" y="94"/>
                        <a:pt x="170" y="94"/>
                      </a:cubicBezTo>
                      <a:cubicBezTo>
                        <a:pt x="170" y="65"/>
                        <a:pt x="153" y="49"/>
                        <a:pt x="122" y="49"/>
                      </a:cubicBezTo>
                      <a:cubicBezTo>
                        <a:pt x="92" y="49"/>
                        <a:pt x="74" y="66"/>
                        <a:pt x="74" y="94"/>
                      </a:cubicBezTo>
                      <a:cubicBezTo>
                        <a:pt x="74" y="115"/>
                        <a:pt x="74" y="115"/>
                        <a:pt x="74" y="115"/>
                      </a:cubicBezTo>
                      <a:cubicBezTo>
                        <a:pt x="72" y="118"/>
                        <a:pt x="70" y="123"/>
                        <a:pt x="70" y="127"/>
                      </a:cubicBezTo>
                      <a:cubicBezTo>
                        <a:pt x="70" y="133"/>
                        <a:pt x="73" y="139"/>
                        <a:pt x="78" y="143"/>
                      </a:cubicBezTo>
                      <a:cubicBezTo>
                        <a:pt x="81" y="154"/>
                        <a:pt x="86" y="163"/>
                        <a:pt x="92" y="170"/>
                      </a:cubicBezTo>
                      <a:cubicBezTo>
                        <a:pt x="92" y="178"/>
                        <a:pt x="92" y="178"/>
                        <a:pt x="92" y="178"/>
                      </a:cubicBezTo>
                      <a:cubicBezTo>
                        <a:pt x="91" y="180"/>
                        <a:pt x="84" y="187"/>
                        <a:pt x="45" y="203"/>
                      </a:cubicBezTo>
                      <a:cubicBezTo>
                        <a:pt x="24" y="183"/>
                        <a:pt x="10" y="154"/>
                        <a:pt x="10" y="122"/>
                      </a:cubicBezTo>
                      <a:cubicBezTo>
                        <a:pt x="10" y="60"/>
                        <a:pt x="60" y="10"/>
                        <a:pt x="122" y="10"/>
                      </a:cubicBezTo>
                      <a:cubicBezTo>
                        <a:pt x="183" y="10"/>
                        <a:pt x="233" y="60"/>
                        <a:pt x="233" y="122"/>
                      </a:cubicBezTo>
                      <a:cubicBezTo>
                        <a:pt x="233" y="154"/>
                        <a:pt x="220" y="183"/>
                        <a:pt x="198" y="203"/>
                      </a:cubicBezTo>
                      <a:close/>
                    </a:path>
                  </a:pathLst>
                </a:custGeom>
                <a:solidFill>
                  <a:srgbClr val="231F20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sp>
          <p:nvSpPr>
            <p:cNvPr id="30" name="Content Placeholder 15"/>
            <p:cNvSpPr txBox="1">
              <a:spLocks/>
            </p:cNvSpPr>
            <p:nvPr/>
          </p:nvSpPr>
          <p:spPr>
            <a:xfrm>
              <a:off x="2535462" y="1724426"/>
              <a:ext cx="1314334" cy="276999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SzPct val="100000"/>
                <a:buFont typeface="Arial" panose="020B0604020202020204" pitchFamily="34" charset="0"/>
                <a:buNone/>
                <a:tabLst>
                  <a:tab pos="6729413" algn="r"/>
                </a:tabLst>
                <a:defRPr sz="12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ClrTx/>
                <a:buSzPct val="100000"/>
                <a:buFont typeface="Arial"/>
                <a:buNone/>
                <a:tabLst>
                  <a:tab pos="6729413" algn="r"/>
                </a:tabLst>
                <a:defRPr lang="en-US" sz="12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64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6729413" algn="r"/>
                </a:tabLst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564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ClrTx/>
                <a:buSzPct val="100000"/>
                <a:buFont typeface="Verdana" panose="020B0604030504040204" pitchFamily="34" charset="0"/>
                <a:buChar char="−"/>
                <a:tabLst>
                  <a:tab pos="6729413" algn="r"/>
                </a:tabLst>
                <a:defRPr lang="en-US"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32800" indent="-176400" algn="l" defTabSz="798513" rtl="0" eaLnBrk="1" latinLnBrk="0" hangingPunct="1">
                <a:spcBef>
                  <a:spcPts val="0"/>
                </a:spcBef>
                <a:spcAft>
                  <a:spcPts val="1000"/>
                </a:spcAft>
                <a:buClrTx/>
                <a:buSzPct val="100000"/>
                <a:buFont typeface="Verdana" panose="020B0604030504040204" pitchFamily="34" charset="0"/>
                <a:buChar char="−"/>
                <a:tabLst>
                  <a:tab pos="5029200" algn="r"/>
                </a:tabLst>
                <a:defRPr lang="en-US"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tabLst>
                  <a:tab pos="6729413" algn="r"/>
                </a:tabLst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tabLst>
                  <a:tab pos="6729413" algn="r"/>
                </a:tabLst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tabLst>
                  <a:tab pos="6729413" algn="r"/>
                </a:tabLst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tabLst>
                  <a:tab pos="6729413" algn="r"/>
                </a:tabLst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 fontAlgn="auto">
                <a:spcAft>
                  <a:spcPts val="200"/>
                </a:spcAft>
              </a:pPr>
              <a:r>
                <a:rPr kumimoji="0" lang="it-IT" sz="1800" b="1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Intermediario</a:t>
              </a:r>
              <a:endParaRPr kumimoji="0" lang="en-US" sz="18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6515097" y="1953026"/>
            <a:ext cx="1887763" cy="859255"/>
            <a:chOff x="2344401" y="1724426"/>
            <a:chExt cx="1887763" cy="859255"/>
          </a:xfrm>
        </p:grpSpPr>
        <p:grpSp>
          <p:nvGrpSpPr>
            <p:cNvPr id="36" name="Group 35"/>
            <p:cNvGrpSpPr/>
            <p:nvPr/>
          </p:nvGrpSpPr>
          <p:grpSpPr>
            <a:xfrm>
              <a:off x="2344401" y="2079681"/>
              <a:ext cx="1887763" cy="504000"/>
              <a:chOff x="2344401" y="2171121"/>
              <a:chExt cx="1887763" cy="504000"/>
            </a:xfrm>
          </p:grpSpPr>
          <p:sp>
            <p:nvSpPr>
              <p:cNvPr id="38" name="Right Arrow 37"/>
              <p:cNvSpPr/>
              <p:nvPr/>
            </p:nvSpPr>
            <p:spPr bwMode="auto">
              <a:xfrm>
                <a:off x="2344401" y="2217383"/>
                <a:ext cx="1887763" cy="434147"/>
              </a:xfrm>
              <a:prstGeom prst="rightArrow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0000"/>
                  </a:buClr>
                  <a:buSzPct val="70000"/>
                  <a:buFont typeface="Wingdings" pitchFamily="2" charset="2"/>
                  <a:buNone/>
                  <a:tabLst/>
                </a:pPr>
                <a:endParaRPr kumimoji="0" lang="en-US" sz="10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grpSp>
            <p:nvGrpSpPr>
              <p:cNvPr id="39" name="Group 38"/>
              <p:cNvGrpSpPr>
                <a:grpSpLocks noChangeAspect="1"/>
              </p:cNvGrpSpPr>
              <p:nvPr/>
            </p:nvGrpSpPr>
            <p:grpSpPr>
              <a:xfrm>
                <a:off x="2955002" y="2171121"/>
                <a:ext cx="504000" cy="504000"/>
                <a:chOff x="2952871" y="1200841"/>
                <a:chExt cx="504000" cy="504000"/>
              </a:xfrm>
            </p:grpSpPr>
            <p:sp>
              <p:nvSpPr>
                <p:cNvPr id="40" name="Oval 39"/>
                <p:cNvSpPr/>
                <p:nvPr/>
              </p:nvSpPr>
              <p:spPr bwMode="auto">
                <a:xfrm>
                  <a:off x="2952871" y="1200841"/>
                  <a:ext cx="504000" cy="504000"/>
                </a:xfrm>
                <a:prstGeom prst="ellips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CC0000"/>
                    </a:buClr>
                    <a:buSzPct val="70000"/>
                    <a:buFont typeface="Wingdings" pitchFamily="2" charset="2"/>
                    <a:buNone/>
                    <a:tabLst/>
                  </a:pPr>
                  <a:endParaRPr kumimoji="0" lang="en-US" sz="10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41" name="Freeform 168"/>
                <p:cNvSpPr>
                  <a:spLocks noEditPoints="1"/>
                </p:cNvSpPr>
                <p:nvPr/>
              </p:nvSpPr>
              <p:spPr bwMode="auto">
                <a:xfrm>
                  <a:off x="2961190" y="1208366"/>
                  <a:ext cx="487363" cy="488950"/>
                </a:xfrm>
                <a:custGeom>
                  <a:avLst/>
                  <a:gdLst>
                    <a:gd name="T0" fmla="*/ 122 w 243"/>
                    <a:gd name="T1" fmla="*/ 0 h 243"/>
                    <a:gd name="T2" fmla="*/ 0 w 243"/>
                    <a:gd name="T3" fmla="*/ 122 h 243"/>
                    <a:gd name="T4" fmla="*/ 122 w 243"/>
                    <a:gd name="T5" fmla="*/ 243 h 243"/>
                    <a:gd name="T6" fmla="*/ 243 w 243"/>
                    <a:gd name="T7" fmla="*/ 122 h 243"/>
                    <a:gd name="T8" fmla="*/ 122 w 243"/>
                    <a:gd name="T9" fmla="*/ 0 h 243"/>
                    <a:gd name="T10" fmla="*/ 54 w 243"/>
                    <a:gd name="T11" fmla="*/ 211 h 243"/>
                    <a:gd name="T12" fmla="*/ 102 w 243"/>
                    <a:gd name="T13" fmla="*/ 180 h 243"/>
                    <a:gd name="T14" fmla="*/ 102 w 243"/>
                    <a:gd name="T15" fmla="*/ 179 h 243"/>
                    <a:gd name="T16" fmla="*/ 102 w 243"/>
                    <a:gd name="T17" fmla="*/ 168 h 243"/>
                    <a:gd name="T18" fmla="*/ 101 w 243"/>
                    <a:gd name="T19" fmla="*/ 165 h 243"/>
                    <a:gd name="T20" fmla="*/ 87 w 243"/>
                    <a:gd name="T21" fmla="*/ 139 h 243"/>
                    <a:gd name="T22" fmla="*/ 85 w 243"/>
                    <a:gd name="T23" fmla="*/ 136 h 243"/>
                    <a:gd name="T24" fmla="*/ 80 w 243"/>
                    <a:gd name="T25" fmla="*/ 127 h 243"/>
                    <a:gd name="T26" fmla="*/ 83 w 243"/>
                    <a:gd name="T27" fmla="*/ 120 h 243"/>
                    <a:gd name="T28" fmla="*/ 84 w 243"/>
                    <a:gd name="T29" fmla="*/ 117 h 243"/>
                    <a:gd name="T30" fmla="*/ 84 w 243"/>
                    <a:gd name="T31" fmla="*/ 94 h 243"/>
                    <a:gd name="T32" fmla="*/ 122 w 243"/>
                    <a:gd name="T33" fmla="*/ 59 h 243"/>
                    <a:gd name="T34" fmla="*/ 160 w 243"/>
                    <a:gd name="T35" fmla="*/ 94 h 243"/>
                    <a:gd name="T36" fmla="*/ 160 w 243"/>
                    <a:gd name="T37" fmla="*/ 117 h 243"/>
                    <a:gd name="T38" fmla="*/ 162 w 243"/>
                    <a:gd name="T39" fmla="*/ 120 h 243"/>
                    <a:gd name="T40" fmla="*/ 164 w 243"/>
                    <a:gd name="T41" fmla="*/ 127 h 243"/>
                    <a:gd name="T42" fmla="*/ 159 w 243"/>
                    <a:gd name="T43" fmla="*/ 136 h 243"/>
                    <a:gd name="T44" fmla="*/ 157 w 243"/>
                    <a:gd name="T45" fmla="*/ 139 h 243"/>
                    <a:gd name="T46" fmla="*/ 143 w 243"/>
                    <a:gd name="T47" fmla="*/ 165 h 243"/>
                    <a:gd name="T48" fmla="*/ 142 w 243"/>
                    <a:gd name="T49" fmla="*/ 168 h 243"/>
                    <a:gd name="T50" fmla="*/ 142 w 243"/>
                    <a:gd name="T51" fmla="*/ 179 h 243"/>
                    <a:gd name="T52" fmla="*/ 142 w 243"/>
                    <a:gd name="T53" fmla="*/ 180 h 243"/>
                    <a:gd name="T54" fmla="*/ 190 w 243"/>
                    <a:gd name="T55" fmla="*/ 210 h 243"/>
                    <a:gd name="T56" fmla="*/ 122 w 243"/>
                    <a:gd name="T57" fmla="*/ 234 h 243"/>
                    <a:gd name="T58" fmla="*/ 54 w 243"/>
                    <a:gd name="T59" fmla="*/ 211 h 243"/>
                    <a:gd name="T60" fmla="*/ 198 w 243"/>
                    <a:gd name="T61" fmla="*/ 203 h 243"/>
                    <a:gd name="T62" fmla="*/ 152 w 243"/>
                    <a:gd name="T63" fmla="*/ 178 h 243"/>
                    <a:gd name="T64" fmla="*/ 152 w 243"/>
                    <a:gd name="T65" fmla="*/ 170 h 243"/>
                    <a:gd name="T66" fmla="*/ 167 w 243"/>
                    <a:gd name="T67" fmla="*/ 143 h 243"/>
                    <a:gd name="T68" fmla="*/ 174 w 243"/>
                    <a:gd name="T69" fmla="*/ 127 h 243"/>
                    <a:gd name="T70" fmla="*/ 170 w 243"/>
                    <a:gd name="T71" fmla="*/ 115 h 243"/>
                    <a:gd name="T72" fmla="*/ 170 w 243"/>
                    <a:gd name="T73" fmla="*/ 94 h 243"/>
                    <a:gd name="T74" fmla="*/ 122 w 243"/>
                    <a:gd name="T75" fmla="*/ 49 h 243"/>
                    <a:gd name="T76" fmla="*/ 74 w 243"/>
                    <a:gd name="T77" fmla="*/ 94 h 243"/>
                    <a:gd name="T78" fmla="*/ 74 w 243"/>
                    <a:gd name="T79" fmla="*/ 115 h 243"/>
                    <a:gd name="T80" fmla="*/ 70 w 243"/>
                    <a:gd name="T81" fmla="*/ 127 h 243"/>
                    <a:gd name="T82" fmla="*/ 78 w 243"/>
                    <a:gd name="T83" fmla="*/ 143 h 243"/>
                    <a:gd name="T84" fmla="*/ 92 w 243"/>
                    <a:gd name="T85" fmla="*/ 170 h 243"/>
                    <a:gd name="T86" fmla="*/ 92 w 243"/>
                    <a:gd name="T87" fmla="*/ 178 h 243"/>
                    <a:gd name="T88" fmla="*/ 45 w 243"/>
                    <a:gd name="T89" fmla="*/ 203 h 243"/>
                    <a:gd name="T90" fmla="*/ 10 w 243"/>
                    <a:gd name="T91" fmla="*/ 122 h 243"/>
                    <a:gd name="T92" fmla="*/ 122 w 243"/>
                    <a:gd name="T93" fmla="*/ 10 h 243"/>
                    <a:gd name="T94" fmla="*/ 233 w 243"/>
                    <a:gd name="T95" fmla="*/ 122 h 243"/>
                    <a:gd name="T96" fmla="*/ 198 w 243"/>
                    <a:gd name="T97" fmla="*/ 203 h 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243" h="243">
                      <a:moveTo>
                        <a:pt x="122" y="0"/>
                      </a:moveTo>
                      <a:cubicBezTo>
                        <a:pt x="55" y="0"/>
                        <a:pt x="0" y="55"/>
                        <a:pt x="0" y="122"/>
                      </a:cubicBezTo>
                      <a:cubicBezTo>
                        <a:pt x="0" y="189"/>
                        <a:pt x="55" y="243"/>
                        <a:pt x="122" y="243"/>
                      </a:cubicBezTo>
                      <a:cubicBezTo>
                        <a:pt x="189" y="243"/>
                        <a:pt x="243" y="189"/>
                        <a:pt x="243" y="122"/>
                      </a:cubicBezTo>
                      <a:cubicBezTo>
                        <a:pt x="243" y="55"/>
                        <a:pt x="189" y="0"/>
                        <a:pt x="122" y="0"/>
                      </a:cubicBezTo>
                      <a:close/>
                      <a:moveTo>
                        <a:pt x="54" y="211"/>
                      </a:moveTo>
                      <a:cubicBezTo>
                        <a:pt x="93" y="194"/>
                        <a:pt x="100" y="186"/>
                        <a:pt x="102" y="180"/>
                      </a:cubicBezTo>
                      <a:cubicBezTo>
                        <a:pt x="102" y="180"/>
                        <a:pt x="102" y="179"/>
                        <a:pt x="102" y="179"/>
                      </a:cubicBezTo>
                      <a:cubicBezTo>
                        <a:pt x="102" y="168"/>
                        <a:pt x="102" y="168"/>
                        <a:pt x="102" y="168"/>
                      </a:cubicBezTo>
                      <a:cubicBezTo>
                        <a:pt x="102" y="167"/>
                        <a:pt x="102" y="166"/>
                        <a:pt x="101" y="165"/>
                      </a:cubicBezTo>
                      <a:cubicBezTo>
                        <a:pt x="95" y="159"/>
                        <a:pt x="90" y="150"/>
                        <a:pt x="87" y="139"/>
                      </a:cubicBezTo>
                      <a:cubicBezTo>
                        <a:pt x="87" y="138"/>
                        <a:pt x="86" y="137"/>
                        <a:pt x="85" y="136"/>
                      </a:cubicBezTo>
                      <a:cubicBezTo>
                        <a:pt x="82" y="134"/>
                        <a:pt x="80" y="131"/>
                        <a:pt x="80" y="127"/>
                      </a:cubicBezTo>
                      <a:cubicBezTo>
                        <a:pt x="80" y="124"/>
                        <a:pt x="82" y="121"/>
                        <a:pt x="83" y="120"/>
                      </a:cubicBezTo>
                      <a:cubicBezTo>
                        <a:pt x="83" y="119"/>
                        <a:pt x="84" y="118"/>
                        <a:pt x="84" y="117"/>
                      </a:cubicBezTo>
                      <a:cubicBezTo>
                        <a:pt x="84" y="94"/>
                        <a:pt x="84" y="94"/>
                        <a:pt x="84" y="94"/>
                      </a:cubicBezTo>
                      <a:cubicBezTo>
                        <a:pt x="84" y="71"/>
                        <a:pt x="97" y="59"/>
                        <a:pt x="122" y="59"/>
                      </a:cubicBezTo>
                      <a:cubicBezTo>
                        <a:pt x="147" y="59"/>
                        <a:pt x="160" y="71"/>
                        <a:pt x="160" y="94"/>
                      </a:cubicBezTo>
                      <a:cubicBezTo>
                        <a:pt x="160" y="117"/>
                        <a:pt x="160" y="117"/>
                        <a:pt x="160" y="117"/>
                      </a:cubicBezTo>
                      <a:cubicBezTo>
                        <a:pt x="160" y="118"/>
                        <a:pt x="161" y="119"/>
                        <a:pt x="162" y="120"/>
                      </a:cubicBezTo>
                      <a:cubicBezTo>
                        <a:pt x="163" y="121"/>
                        <a:pt x="164" y="124"/>
                        <a:pt x="164" y="127"/>
                      </a:cubicBezTo>
                      <a:cubicBezTo>
                        <a:pt x="164" y="131"/>
                        <a:pt x="162" y="134"/>
                        <a:pt x="159" y="136"/>
                      </a:cubicBezTo>
                      <a:cubicBezTo>
                        <a:pt x="158" y="137"/>
                        <a:pt x="158" y="138"/>
                        <a:pt x="157" y="139"/>
                      </a:cubicBezTo>
                      <a:cubicBezTo>
                        <a:pt x="155" y="150"/>
                        <a:pt x="150" y="159"/>
                        <a:pt x="143" y="165"/>
                      </a:cubicBezTo>
                      <a:cubicBezTo>
                        <a:pt x="143" y="166"/>
                        <a:pt x="142" y="167"/>
                        <a:pt x="142" y="168"/>
                      </a:cubicBezTo>
                      <a:cubicBezTo>
                        <a:pt x="142" y="179"/>
                        <a:pt x="142" y="179"/>
                        <a:pt x="142" y="179"/>
                      </a:cubicBezTo>
                      <a:cubicBezTo>
                        <a:pt x="142" y="179"/>
                        <a:pt x="142" y="180"/>
                        <a:pt x="142" y="180"/>
                      </a:cubicBezTo>
                      <a:cubicBezTo>
                        <a:pt x="144" y="186"/>
                        <a:pt x="151" y="194"/>
                        <a:pt x="190" y="210"/>
                      </a:cubicBezTo>
                      <a:cubicBezTo>
                        <a:pt x="171" y="225"/>
                        <a:pt x="147" y="234"/>
                        <a:pt x="122" y="234"/>
                      </a:cubicBezTo>
                      <a:cubicBezTo>
                        <a:pt x="96" y="234"/>
                        <a:pt x="73" y="225"/>
                        <a:pt x="54" y="211"/>
                      </a:cubicBezTo>
                      <a:close/>
                      <a:moveTo>
                        <a:pt x="198" y="203"/>
                      </a:moveTo>
                      <a:cubicBezTo>
                        <a:pt x="160" y="187"/>
                        <a:pt x="153" y="180"/>
                        <a:pt x="152" y="178"/>
                      </a:cubicBezTo>
                      <a:cubicBezTo>
                        <a:pt x="152" y="170"/>
                        <a:pt x="152" y="170"/>
                        <a:pt x="152" y="170"/>
                      </a:cubicBezTo>
                      <a:cubicBezTo>
                        <a:pt x="158" y="163"/>
                        <a:pt x="163" y="154"/>
                        <a:pt x="167" y="143"/>
                      </a:cubicBezTo>
                      <a:cubicBezTo>
                        <a:pt x="171" y="139"/>
                        <a:pt x="174" y="133"/>
                        <a:pt x="174" y="127"/>
                      </a:cubicBezTo>
                      <a:cubicBezTo>
                        <a:pt x="174" y="123"/>
                        <a:pt x="173" y="118"/>
                        <a:pt x="170" y="115"/>
                      </a:cubicBezTo>
                      <a:cubicBezTo>
                        <a:pt x="170" y="94"/>
                        <a:pt x="170" y="94"/>
                        <a:pt x="170" y="94"/>
                      </a:cubicBezTo>
                      <a:cubicBezTo>
                        <a:pt x="170" y="65"/>
                        <a:pt x="153" y="49"/>
                        <a:pt x="122" y="49"/>
                      </a:cubicBezTo>
                      <a:cubicBezTo>
                        <a:pt x="92" y="49"/>
                        <a:pt x="74" y="66"/>
                        <a:pt x="74" y="94"/>
                      </a:cubicBezTo>
                      <a:cubicBezTo>
                        <a:pt x="74" y="115"/>
                        <a:pt x="74" y="115"/>
                        <a:pt x="74" y="115"/>
                      </a:cubicBezTo>
                      <a:cubicBezTo>
                        <a:pt x="72" y="118"/>
                        <a:pt x="70" y="123"/>
                        <a:pt x="70" y="127"/>
                      </a:cubicBezTo>
                      <a:cubicBezTo>
                        <a:pt x="70" y="133"/>
                        <a:pt x="73" y="139"/>
                        <a:pt x="78" y="143"/>
                      </a:cubicBezTo>
                      <a:cubicBezTo>
                        <a:pt x="81" y="154"/>
                        <a:pt x="86" y="163"/>
                        <a:pt x="92" y="170"/>
                      </a:cubicBezTo>
                      <a:cubicBezTo>
                        <a:pt x="92" y="178"/>
                        <a:pt x="92" y="178"/>
                        <a:pt x="92" y="178"/>
                      </a:cubicBezTo>
                      <a:cubicBezTo>
                        <a:pt x="91" y="180"/>
                        <a:pt x="84" y="187"/>
                        <a:pt x="45" y="203"/>
                      </a:cubicBezTo>
                      <a:cubicBezTo>
                        <a:pt x="24" y="183"/>
                        <a:pt x="10" y="154"/>
                        <a:pt x="10" y="122"/>
                      </a:cubicBezTo>
                      <a:cubicBezTo>
                        <a:pt x="10" y="60"/>
                        <a:pt x="60" y="10"/>
                        <a:pt x="122" y="10"/>
                      </a:cubicBezTo>
                      <a:cubicBezTo>
                        <a:pt x="183" y="10"/>
                        <a:pt x="233" y="60"/>
                        <a:pt x="233" y="122"/>
                      </a:cubicBezTo>
                      <a:cubicBezTo>
                        <a:pt x="233" y="154"/>
                        <a:pt x="220" y="183"/>
                        <a:pt x="198" y="203"/>
                      </a:cubicBezTo>
                      <a:close/>
                    </a:path>
                  </a:pathLst>
                </a:custGeom>
                <a:solidFill>
                  <a:srgbClr val="231F20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sp>
          <p:nvSpPr>
            <p:cNvPr id="37" name="Content Placeholder 15"/>
            <p:cNvSpPr txBox="1">
              <a:spLocks/>
            </p:cNvSpPr>
            <p:nvPr/>
          </p:nvSpPr>
          <p:spPr>
            <a:xfrm>
              <a:off x="2535462" y="1724426"/>
              <a:ext cx="1314334" cy="276999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SzPct val="100000"/>
                <a:buFont typeface="Arial" panose="020B0604020202020204" pitchFamily="34" charset="0"/>
                <a:buNone/>
                <a:tabLst>
                  <a:tab pos="6729413" algn="r"/>
                </a:tabLst>
                <a:defRPr sz="12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ClrTx/>
                <a:buSzPct val="100000"/>
                <a:buFont typeface="Arial"/>
                <a:buNone/>
                <a:tabLst>
                  <a:tab pos="6729413" algn="r"/>
                </a:tabLst>
                <a:defRPr lang="en-US" sz="12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64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6729413" algn="r"/>
                </a:tabLst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564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ClrTx/>
                <a:buSzPct val="100000"/>
                <a:buFont typeface="Verdana" panose="020B0604030504040204" pitchFamily="34" charset="0"/>
                <a:buChar char="−"/>
                <a:tabLst>
                  <a:tab pos="6729413" algn="r"/>
                </a:tabLst>
                <a:defRPr lang="en-US"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32800" indent="-176400" algn="l" defTabSz="798513" rtl="0" eaLnBrk="1" latinLnBrk="0" hangingPunct="1">
                <a:spcBef>
                  <a:spcPts val="0"/>
                </a:spcBef>
                <a:spcAft>
                  <a:spcPts val="1000"/>
                </a:spcAft>
                <a:buClrTx/>
                <a:buSzPct val="100000"/>
                <a:buFont typeface="Verdana" panose="020B0604030504040204" pitchFamily="34" charset="0"/>
                <a:buChar char="−"/>
                <a:tabLst>
                  <a:tab pos="5029200" algn="r"/>
                </a:tabLst>
                <a:defRPr lang="en-US"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tabLst>
                  <a:tab pos="6729413" algn="r"/>
                </a:tabLst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tabLst>
                  <a:tab pos="6729413" algn="r"/>
                </a:tabLst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tabLst>
                  <a:tab pos="6729413" algn="r"/>
                </a:tabLst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tabLst>
                  <a:tab pos="6729413" algn="r"/>
                </a:tabLst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 fontAlgn="auto">
                <a:spcAft>
                  <a:spcPts val="200"/>
                </a:spcAft>
              </a:pPr>
              <a:r>
                <a:rPr kumimoji="0" lang="it-IT" sz="1800" b="1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Intermediario</a:t>
              </a:r>
              <a:endParaRPr kumimoji="0" lang="en-US" sz="18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42" name="Content Placeholder 15"/>
          <p:cNvSpPr txBox="1">
            <a:spLocks/>
          </p:cNvSpPr>
          <p:nvPr/>
        </p:nvSpPr>
        <p:spPr>
          <a:xfrm>
            <a:off x="1011235" y="1171963"/>
            <a:ext cx="8712000" cy="699404"/>
          </a:xfrm>
          <a:prstGeom prst="rect">
            <a:avLst/>
          </a:prstGeom>
          <a:noFill/>
        </p:spPr>
        <p:txBody>
          <a:bodyPr vert="horz" wrap="square" lIns="72000" tIns="72000" rIns="72000" bIns="7200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tabLst>
                <a:tab pos="6729413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tabLst>
                <a:tab pos="6729413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29413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29413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5029200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tabLst>
                <a:tab pos="6729413" algn="r"/>
              </a:tabLst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tabLst>
                <a:tab pos="6729413" algn="r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tabLst>
                <a:tab pos="6729413" algn="r"/>
              </a:tabLst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tabLst>
                <a:tab pos="6729413" algn="r"/>
              </a:tabLst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fontAlgn="auto">
              <a:spcAft>
                <a:spcPts val="600"/>
              </a:spcAft>
              <a:defRPr/>
            </a:pPr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’operatore 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ò avvalersi di servizi di intermediari / terze </a:t>
            </a:r>
            <a:r>
              <a:rPr lang="it-IT" sz="180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rti ai 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i della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rasmissione 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icezione delle fatture </a:t>
            </a:r>
            <a:r>
              <a:rPr lang="it-IT" sz="1800" b="1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ettroniche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cxnSp>
        <p:nvCxnSpPr>
          <p:cNvPr id="44" name="Straight Arrow Connector 43"/>
          <p:cNvCxnSpPr/>
          <p:nvPr/>
        </p:nvCxnSpPr>
        <p:spPr bwMode="auto">
          <a:xfrm>
            <a:off x="3207002" y="2788690"/>
            <a:ext cx="0" cy="1080000"/>
          </a:xfrm>
          <a:prstGeom prst="straightConnector1">
            <a:avLst/>
          </a:prstGeom>
          <a:solidFill>
            <a:srgbClr val="0066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/>
          </a:ln>
          <a:effectLst/>
        </p:spPr>
      </p:cxnSp>
      <p:cxnSp>
        <p:nvCxnSpPr>
          <p:cNvPr id="45" name="Straight Arrow Connector 44"/>
          <p:cNvCxnSpPr/>
          <p:nvPr/>
        </p:nvCxnSpPr>
        <p:spPr bwMode="auto">
          <a:xfrm>
            <a:off x="7362442" y="2788690"/>
            <a:ext cx="0" cy="1080000"/>
          </a:xfrm>
          <a:prstGeom prst="straightConnector1">
            <a:avLst/>
          </a:prstGeom>
          <a:solidFill>
            <a:srgbClr val="0066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oval"/>
          </a:ln>
          <a:effectLst/>
        </p:spPr>
      </p:cxnSp>
      <p:sp>
        <p:nvSpPr>
          <p:cNvPr id="53" name="Rectangle 4"/>
          <p:cNvSpPr>
            <a:spLocks noChangeArrowheads="1"/>
          </p:cNvSpPr>
          <p:nvPr/>
        </p:nvSpPr>
        <p:spPr bwMode="auto">
          <a:xfrm>
            <a:off x="1235895" y="131817"/>
            <a:ext cx="8325617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it-IT" altLang="it-IT" sz="28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Intermediari / Terze parti</a:t>
            </a:r>
            <a:endParaRPr lang="it-IT" altLang="it-IT" sz="1600" b="1" dirty="0">
              <a:solidFill>
                <a:srgbClr val="006600"/>
              </a:solidFill>
              <a:latin typeface="Calibri" panose="020F0502020204030204" pitchFamily="34" charset="0"/>
            </a:endParaRPr>
          </a:p>
        </p:txBody>
      </p:sp>
      <p:grpSp>
        <p:nvGrpSpPr>
          <p:cNvPr id="62" name="Group 61"/>
          <p:cNvGrpSpPr/>
          <p:nvPr/>
        </p:nvGrpSpPr>
        <p:grpSpPr>
          <a:xfrm>
            <a:off x="1011235" y="3861514"/>
            <a:ext cx="8712000" cy="2614506"/>
            <a:chOff x="1011235" y="3861514"/>
            <a:chExt cx="8712000" cy="2614506"/>
          </a:xfrm>
        </p:grpSpPr>
        <p:sp>
          <p:nvSpPr>
            <p:cNvPr id="43" name="Content Placeholder 15"/>
            <p:cNvSpPr txBox="1">
              <a:spLocks/>
            </p:cNvSpPr>
            <p:nvPr/>
          </p:nvSpPr>
          <p:spPr>
            <a:xfrm>
              <a:off x="1011235" y="3861514"/>
              <a:ext cx="8712000" cy="2304000"/>
            </a:xfrm>
            <a:prstGeom prst="roundRect">
              <a:avLst>
                <a:gd name="adj" fmla="val 4523"/>
              </a:avLst>
            </a:prstGeom>
            <a:noFill/>
            <a:ln>
              <a:solidFill>
                <a:schemeClr val="tx1"/>
              </a:solidFill>
              <a:prstDash val="dash"/>
            </a:ln>
          </p:spPr>
          <p:txBody>
            <a:bodyPr vert="horz" lIns="72000" tIns="72000" rIns="72000" bIns="72000" rtlCol="0" anchor="t">
              <a:sp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SzPct val="100000"/>
                <a:buFont typeface="Arial" panose="020B0604020202020204" pitchFamily="34" charset="0"/>
                <a:buNone/>
                <a:tabLst>
                  <a:tab pos="6729413" algn="r"/>
                </a:tabLst>
                <a:defRPr sz="12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ClrTx/>
                <a:buSzPct val="100000"/>
                <a:buFont typeface="Arial"/>
                <a:buNone/>
                <a:tabLst>
                  <a:tab pos="6729413" algn="r"/>
                </a:tabLst>
                <a:defRPr lang="en-US" sz="12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64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ClrTx/>
                <a:buSzPct val="100000"/>
                <a:buFont typeface="Arial" panose="020B0604020202020204" pitchFamily="34" charset="0"/>
                <a:buChar char="•"/>
                <a:tabLst>
                  <a:tab pos="6729413" algn="r"/>
                </a:tabLst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564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ClrTx/>
                <a:buSzPct val="100000"/>
                <a:buFont typeface="Verdana" panose="020B0604030504040204" pitchFamily="34" charset="0"/>
                <a:buChar char="−"/>
                <a:tabLst>
                  <a:tab pos="6729413" algn="r"/>
                </a:tabLst>
                <a:defRPr lang="en-US"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32800" indent="-176400" algn="l" defTabSz="798513" rtl="0" eaLnBrk="1" latinLnBrk="0" hangingPunct="1">
                <a:spcBef>
                  <a:spcPts val="0"/>
                </a:spcBef>
                <a:spcAft>
                  <a:spcPts val="1000"/>
                </a:spcAft>
                <a:buClrTx/>
                <a:buSzPct val="100000"/>
                <a:buFont typeface="Verdana" panose="020B0604030504040204" pitchFamily="34" charset="0"/>
                <a:buChar char="−"/>
                <a:tabLst>
                  <a:tab pos="5029200" algn="r"/>
                </a:tabLst>
                <a:defRPr lang="en-US"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tabLst>
                  <a:tab pos="6729413" algn="r"/>
                </a:tabLst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tabLst>
                  <a:tab pos="6729413" algn="r"/>
                </a:tabLst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tabLst>
                  <a:tab pos="6729413" algn="r"/>
                </a:tabLst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tabLst>
                  <a:tab pos="6729413" algn="r"/>
                </a:tabLst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16000" indent="-216000" algn="just" fontAlgn="auto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it-IT" sz="1800" dirty="0">
                  <a:solidFill>
                    <a:sysClr val="windowText" lastClr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er poter utilizzare i servizi </a:t>
              </a:r>
              <a:r>
                <a:rPr lang="it-IT" sz="1800" dirty="0" smtClean="0">
                  <a:solidFill>
                    <a:sysClr val="windowText" lastClr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web /</a:t>
              </a:r>
              <a:r>
                <a:rPr lang="it-IT" sz="1800" dirty="0">
                  <a:solidFill>
                    <a:sysClr val="windowText" lastClr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it-IT" sz="1800" dirty="0" smtClean="0">
                  <a:solidFill>
                    <a:sysClr val="windowText" lastClr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obile gli </a:t>
              </a:r>
              <a:r>
                <a:rPr lang="it-IT" sz="1800" dirty="0">
                  <a:solidFill>
                    <a:sysClr val="windowText" lastClr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termediari devono possedere una </a:t>
              </a:r>
              <a:r>
                <a:rPr lang="it-IT" sz="1800" b="1" dirty="0">
                  <a:solidFill>
                    <a:sysClr val="windowText" lastClr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lega</a:t>
              </a:r>
              <a:r>
                <a:rPr lang="it-IT" sz="1800" dirty="0">
                  <a:solidFill>
                    <a:sysClr val="windowText" lastClr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che </a:t>
              </a:r>
              <a:r>
                <a:rPr lang="it-IT" sz="1800" dirty="0" smtClean="0">
                  <a:solidFill>
                    <a:sysClr val="windowText" lastClr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ornisce l’accesso a tutte le </a:t>
              </a:r>
              <a:r>
                <a:rPr lang="it-IT" sz="1800" dirty="0">
                  <a:solidFill>
                    <a:sysClr val="windowText" lastClr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unzionalità del </a:t>
              </a:r>
              <a:r>
                <a:rPr lang="it-IT" sz="1800" dirty="0" smtClean="0">
                  <a:solidFill>
                    <a:sysClr val="windowText" lastClr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assetto fiscale </a:t>
              </a:r>
              <a:r>
                <a:rPr lang="it-IT" sz="1800" dirty="0" err="1" smtClean="0">
                  <a:solidFill>
                    <a:sysClr val="windowText" lastClr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dE</a:t>
              </a:r>
              <a:r>
                <a:rPr lang="it-IT" sz="1800" dirty="0" smtClean="0">
                  <a:solidFill>
                    <a:sysClr val="windowText" lastClr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</a:t>
              </a:r>
              <a:endPara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1845812" y="4644749"/>
              <a:ext cx="7822066" cy="183127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it-IT" sz="1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La </a:t>
              </a:r>
              <a:r>
                <a:rPr lang="it-IT" sz="18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elega </a:t>
              </a:r>
              <a:r>
                <a:rPr lang="it-IT" sz="18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 personale permetterebbe la visualizzazione dei dati riservati aziendali e non sarebbe opportuno visionarli in qualità di fornitori. Si consiglia una delega al personale interno, il quale potrà essere supportato nelle attività di consultazione:</a:t>
              </a:r>
            </a:p>
            <a:p>
              <a:pPr marL="642150" lvl="3" indent="-285750" fontAlgn="auto"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it-IT" sz="1800" b="1" dirty="0" smtClean="0">
                  <a:solidFill>
                    <a:sysClr val="windowText" lastClr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uplicati</a:t>
              </a:r>
              <a:r>
                <a:rPr lang="it-IT" sz="1800" dirty="0" smtClean="0">
                  <a:solidFill>
                    <a:sysClr val="windowText" lastClr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it-IT" sz="1800" dirty="0">
                  <a:solidFill>
                    <a:sysClr val="windowText" lastClr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lle </a:t>
              </a:r>
              <a:r>
                <a:rPr lang="it-IT" sz="1800" b="1" dirty="0" smtClean="0">
                  <a:solidFill>
                    <a:sysClr val="windowText" lastClr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atture elettroniche</a:t>
              </a:r>
              <a:r>
                <a:rPr lang="it-IT" sz="1800" dirty="0" smtClean="0">
                  <a:solidFill>
                    <a:sysClr val="windowText" lastClr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;</a:t>
              </a:r>
              <a:endPara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642150" lvl="3" indent="-285750" fontAlgn="auto">
                <a:spcAft>
                  <a:spcPts val="600"/>
                </a:spcAft>
                <a:buFont typeface="Wingdings" panose="05000000000000000000" pitchFamily="2" charset="2"/>
                <a:buChar char="§"/>
                <a:defRPr/>
              </a:pPr>
              <a:r>
                <a:rPr lang="it-IT" sz="1800" b="1" dirty="0" smtClean="0">
                  <a:solidFill>
                    <a:sysClr val="windowText" lastClr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icevute </a:t>
              </a:r>
              <a:r>
                <a:rPr lang="it-IT" sz="1800" dirty="0">
                  <a:solidFill>
                    <a:sysClr val="windowText" lastClr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/o</a:t>
              </a:r>
              <a:r>
                <a:rPr lang="it-IT" sz="1800" b="1" dirty="0">
                  <a:solidFill>
                    <a:sysClr val="windowText" lastClr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notifiche </a:t>
              </a:r>
              <a:r>
                <a:rPr lang="it-IT" sz="1800" dirty="0">
                  <a:solidFill>
                    <a:sysClr val="windowText" lastClr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i conferma / impossibilità di recapito e di </a:t>
              </a:r>
              <a:r>
                <a:rPr lang="it-IT" sz="1800" dirty="0" smtClean="0">
                  <a:solidFill>
                    <a:sysClr val="windowText" lastClr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carto.</a:t>
              </a:r>
              <a:endPara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algn="just"/>
              <a:endParaRPr lang="en-US" sz="18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9" name="Freeform 499"/>
            <p:cNvSpPr>
              <a:spLocks noEditPoints="1"/>
            </p:cNvSpPr>
            <p:nvPr/>
          </p:nvSpPr>
          <p:spPr bwMode="auto">
            <a:xfrm>
              <a:off x="1184971" y="5038965"/>
              <a:ext cx="557313" cy="54000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4 w 512"/>
                <a:gd name="T11" fmla="*/ 368 h 512"/>
                <a:gd name="T12" fmla="*/ 405 w 512"/>
                <a:gd name="T13" fmla="*/ 373 h 512"/>
                <a:gd name="T14" fmla="*/ 106 w 512"/>
                <a:gd name="T15" fmla="*/ 373 h 512"/>
                <a:gd name="T16" fmla="*/ 97 w 512"/>
                <a:gd name="T17" fmla="*/ 368 h 512"/>
                <a:gd name="T18" fmla="*/ 97 w 512"/>
                <a:gd name="T19" fmla="*/ 357 h 512"/>
                <a:gd name="T20" fmla="*/ 247 w 512"/>
                <a:gd name="T21" fmla="*/ 111 h 512"/>
                <a:gd name="T22" fmla="*/ 265 w 512"/>
                <a:gd name="T23" fmla="*/ 111 h 512"/>
                <a:gd name="T24" fmla="*/ 414 w 512"/>
                <a:gd name="T25" fmla="*/ 357 h 512"/>
                <a:gd name="T26" fmla="*/ 414 w 512"/>
                <a:gd name="T27" fmla="*/ 368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4" y="368"/>
                  </a:moveTo>
                  <a:cubicBezTo>
                    <a:pt x="412" y="371"/>
                    <a:pt x="409" y="373"/>
                    <a:pt x="405" y="373"/>
                  </a:cubicBezTo>
                  <a:cubicBezTo>
                    <a:pt x="106" y="373"/>
                    <a:pt x="106" y="373"/>
                    <a:pt x="106" y="373"/>
                  </a:cubicBezTo>
                  <a:cubicBezTo>
                    <a:pt x="102" y="373"/>
                    <a:pt x="99" y="371"/>
                    <a:pt x="97" y="368"/>
                  </a:cubicBezTo>
                  <a:cubicBezTo>
                    <a:pt x="95" y="364"/>
                    <a:pt x="95" y="360"/>
                    <a:pt x="97" y="357"/>
                  </a:cubicBezTo>
                  <a:cubicBezTo>
                    <a:pt x="247" y="111"/>
                    <a:pt x="247" y="111"/>
                    <a:pt x="247" y="111"/>
                  </a:cubicBezTo>
                  <a:cubicBezTo>
                    <a:pt x="250" y="105"/>
                    <a:pt x="261" y="105"/>
                    <a:pt x="265" y="111"/>
                  </a:cubicBezTo>
                  <a:cubicBezTo>
                    <a:pt x="414" y="357"/>
                    <a:pt x="414" y="357"/>
                    <a:pt x="414" y="357"/>
                  </a:cubicBezTo>
                  <a:cubicBezTo>
                    <a:pt x="416" y="360"/>
                    <a:pt x="416" y="364"/>
                    <a:pt x="414" y="368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277"/>
            <p:cNvSpPr>
              <a:spLocks noChangeAspect="1" noEditPoints="1"/>
            </p:cNvSpPr>
            <p:nvPr/>
          </p:nvSpPr>
          <p:spPr bwMode="auto">
            <a:xfrm>
              <a:off x="1073009" y="4966896"/>
              <a:ext cx="770765" cy="680374"/>
            </a:xfrm>
            <a:custGeom>
              <a:avLst/>
              <a:gdLst>
                <a:gd name="T0" fmla="*/ 222 w 269"/>
                <a:gd name="T1" fmla="*/ 36 h 245"/>
                <a:gd name="T2" fmla="*/ 135 w 269"/>
                <a:gd name="T3" fmla="*/ 0 h 245"/>
                <a:gd name="T4" fmla="*/ 48 w 269"/>
                <a:gd name="T5" fmla="*/ 36 h 245"/>
                <a:gd name="T6" fmla="*/ 48 w 269"/>
                <a:gd name="T7" fmla="*/ 209 h 245"/>
                <a:gd name="T8" fmla="*/ 135 w 269"/>
                <a:gd name="T9" fmla="*/ 245 h 245"/>
                <a:gd name="T10" fmla="*/ 135 w 269"/>
                <a:gd name="T11" fmla="*/ 245 h 245"/>
                <a:gd name="T12" fmla="*/ 222 w 269"/>
                <a:gd name="T13" fmla="*/ 209 h 245"/>
                <a:gd name="T14" fmla="*/ 222 w 269"/>
                <a:gd name="T15" fmla="*/ 36 h 245"/>
                <a:gd name="T16" fmla="*/ 215 w 269"/>
                <a:gd name="T17" fmla="*/ 202 h 245"/>
                <a:gd name="T18" fmla="*/ 135 w 269"/>
                <a:gd name="T19" fmla="*/ 235 h 245"/>
                <a:gd name="T20" fmla="*/ 135 w 269"/>
                <a:gd name="T21" fmla="*/ 235 h 245"/>
                <a:gd name="T22" fmla="*/ 55 w 269"/>
                <a:gd name="T23" fmla="*/ 202 h 245"/>
                <a:gd name="T24" fmla="*/ 55 w 269"/>
                <a:gd name="T25" fmla="*/ 43 h 245"/>
                <a:gd name="T26" fmla="*/ 135 w 269"/>
                <a:gd name="T27" fmla="*/ 10 h 245"/>
                <a:gd name="T28" fmla="*/ 215 w 269"/>
                <a:gd name="T29" fmla="*/ 43 h 245"/>
                <a:gd name="T30" fmla="*/ 215 w 269"/>
                <a:gd name="T31" fmla="*/ 202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9" h="245">
                  <a:moveTo>
                    <a:pt x="222" y="36"/>
                  </a:moveTo>
                  <a:cubicBezTo>
                    <a:pt x="198" y="13"/>
                    <a:pt x="168" y="0"/>
                    <a:pt x="135" y="0"/>
                  </a:cubicBezTo>
                  <a:cubicBezTo>
                    <a:pt x="102" y="0"/>
                    <a:pt x="71" y="13"/>
                    <a:pt x="48" y="36"/>
                  </a:cubicBezTo>
                  <a:cubicBezTo>
                    <a:pt x="0" y="84"/>
                    <a:pt x="0" y="161"/>
                    <a:pt x="48" y="209"/>
                  </a:cubicBezTo>
                  <a:cubicBezTo>
                    <a:pt x="71" y="232"/>
                    <a:pt x="102" y="245"/>
                    <a:pt x="135" y="245"/>
                  </a:cubicBezTo>
                  <a:cubicBezTo>
                    <a:pt x="135" y="245"/>
                    <a:pt x="135" y="245"/>
                    <a:pt x="135" y="245"/>
                  </a:cubicBezTo>
                  <a:cubicBezTo>
                    <a:pt x="168" y="245"/>
                    <a:pt x="198" y="232"/>
                    <a:pt x="222" y="209"/>
                  </a:cubicBezTo>
                  <a:cubicBezTo>
                    <a:pt x="269" y="161"/>
                    <a:pt x="269" y="84"/>
                    <a:pt x="222" y="36"/>
                  </a:cubicBezTo>
                  <a:close/>
                  <a:moveTo>
                    <a:pt x="215" y="202"/>
                  </a:moveTo>
                  <a:cubicBezTo>
                    <a:pt x="193" y="223"/>
                    <a:pt x="165" y="235"/>
                    <a:pt x="135" y="235"/>
                  </a:cubicBezTo>
                  <a:cubicBezTo>
                    <a:pt x="135" y="235"/>
                    <a:pt x="135" y="235"/>
                    <a:pt x="135" y="235"/>
                  </a:cubicBezTo>
                  <a:cubicBezTo>
                    <a:pt x="105" y="235"/>
                    <a:pt x="76" y="223"/>
                    <a:pt x="55" y="202"/>
                  </a:cubicBezTo>
                  <a:cubicBezTo>
                    <a:pt x="11" y="158"/>
                    <a:pt x="11" y="87"/>
                    <a:pt x="55" y="43"/>
                  </a:cubicBezTo>
                  <a:cubicBezTo>
                    <a:pt x="76" y="21"/>
                    <a:pt x="105" y="10"/>
                    <a:pt x="135" y="10"/>
                  </a:cubicBezTo>
                  <a:cubicBezTo>
                    <a:pt x="165" y="10"/>
                    <a:pt x="193" y="21"/>
                    <a:pt x="215" y="43"/>
                  </a:cubicBezTo>
                  <a:cubicBezTo>
                    <a:pt x="258" y="87"/>
                    <a:pt x="258" y="158"/>
                    <a:pt x="215" y="202"/>
                  </a:cubicBezTo>
                  <a:close/>
                </a:path>
              </a:pathLst>
            </a:custGeom>
            <a:solidFill>
              <a:srgbClr val="C00000"/>
            </a:solidFill>
            <a:ln>
              <a:solidFill>
                <a:srgbClr val="C00000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1" name="Freeform 518"/>
            <p:cNvSpPr>
              <a:spLocks noChangeAspect="1" noEditPoints="1"/>
            </p:cNvSpPr>
            <p:nvPr/>
          </p:nvSpPr>
          <p:spPr bwMode="auto">
            <a:xfrm>
              <a:off x="1193627" y="5038965"/>
              <a:ext cx="540000" cy="540000"/>
            </a:xfrm>
            <a:custGeom>
              <a:avLst/>
              <a:gdLst>
                <a:gd name="T0" fmla="*/ 266 w 512"/>
                <a:gd name="T1" fmla="*/ 384 h 512"/>
                <a:gd name="T2" fmla="*/ 256 w 512"/>
                <a:gd name="T3" fmla="*/ 394 h 512"/>
                <a:gd name="T4" fmla="*/ 245 w 512"/>
                <a:gd name="T5" fmla="*/ 384 h 512"/>
                <a:gd name="T6" fmla="*/ 256 w 512"/>
                <a:gd name="T7" fmla="*/ 373 h 512"/>
                <a:gd name="T8" fmla="*/ 266 w 512"/>
                <a:gd name="T9" fmla="*/ 384 h 512"/>
                <a:gd name="T10" fmla="*/ 244 w 512"/>
                <a:gd name="T11" fmla="*/ 309 h 512"/>
                <a:gd name="T12" fmla="*/ 267 w 512"/>
                <a:gd name="T13" fmla="*/ 309 h 512"/>
                <a:gd name="T14" fmla="*/ 276 w 512"/>
                <a:gd name="T15" fmla="*/ 117 h 512"/>
                <a:gd name="T16" fmla="*/ 235 w 512"/>
                <a:gd name="T17" fmla="*/ 117 h 512"/>
                <a:gd name="T18" fmla="*/ 244 w 512"/>
                <a:gd name="T19" fmla="*/ 309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288 w 512"/>
                <a:gd name="T31" fmla="*/ 384 h 512"/>
                <a:gd name="T32" fmla="*/ 256 w 512"/>
                <a:gd name="T33" fmla="*/ 352 h 512"/>
                <a:gd name="T34" fmla="*/ 224 w 512"/>
                <a:gd name="T35" fmla="*/ 384 h 512"/>
                <a:gd name="T36" fmla="*/ 256 w 512"/>
                <a:gd name="T37" fmla="*/ 416 h 512"/>
                <a:gd name="T38" fmla="*/ 288 w 512"/>
                <a:gd name="T39" fmla="*/ 384 h 512"/>
                <a:gd name="T40" fmla="*/ 298 w 512"/>
                <a:gd name="T41" fmla="*/ 107 h 512"/>
                <a:gd name="T42" fmla="*/ 288 w 512"/>
                <a:gd name="T43" fmla="*/ 96 h 512"/>
                <a:gd name="T44" fmla="*/ 288 w 512"/>
                <a:gd name="T45" fmla="*/ 96 h 512"/>
                <a:gd name="T46" fmla="*/ 224 w 512"/>
                <a:gd name="T47" fmla="*/ 96 h 512"/>
                <a:gd name="T48" fmla="*/ 223 w 512"/>
                <a:gd name="T49" fmla="*/ 96 h 512"/>
                <a:gd name="T50" fmla="*/ 213 w 512"/>
                <a:gd name="T51" fmla="*/ 107 h 512"/>
                <a:gd name="T52" fmla="*/ 224 w 512"/>
                <a:gd name="T53" fmla="*/ 320 h 512"/>
                <a:gd name="T54" fmla="*/ 234 w 512"/>
                <a:gd name="T55" fmla="*/ 330 h 512"/>
                <a:gd name="T56" fmla="*/ 234 w 512"/>
                <a:gd name="T57" fmla="*/ 330 h 512"/>
                <a:gd name="T58" fmla="*/ 235 w 512"/>
                <a:gd name="T59" fmla="*/ 330 h 512"/>
                <a:gd name="T60" fmla="*/ 276 w 512"/>
                <a:gd name="T61" fmla="*/ 330 h 512"/>
                <a:gd name="T62" fmla="*/ 277 w 512"/>
                <a:gd name="T63" fmla="*/ 330 h 512"/>
                <a:gd name="T64" fmla="*/ 277 w 512"/>
                <a:gd name="T65" fmla="*/ 330 h 512"/>
                <a:gd name="T66" fmla="*/ 288 w 512"/>
                <a:gd name="T67" fmla="*/ 320 h 512"/>
                <a:gd name="T68" fmla="*/ 298 w 512"/>
                <a:gd name="T69" fmla="*/ 10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2" h="512">
                  <a:moveTo>
                    <a:pt x="266" y="384"/>
                  </a:moveTo>
                  <a:cubicBezTo>
                    <a:pt x="266" y="390"/>
                    <a:pt x="262" y="394"/>
                    <a:pt x="256" y="394"/>
                  </a:cubicBezTo>
                  <a:cubicBezTo>
                    <a:pt x="250" y="394"/>
                    <a:pt x="245" y="390"/>
                    <a:pt x="245" y="384"/>
                  </a:cubicBezTo>
                  <a:cubicBezTo>
                    <a:pt x="245" y="378"/>
                    <a:pt x="250" y="373"/>
                    <a:pt x="256" y="373"/>
                  </a:cubicBezTo>
                  <a:cubicBezTo>
                    <a:pt x="262" y="373"/>
                    <a:pt x="266" y="378"/>
                    <a:pt x="266" y="384"/>
                  </a:cubicBezTo>
                  <a:close/>
                  <a:moveTo>
                    <a:pt x="244" y="309"/>
                  </a:moveTo>
                  <a:cubicBezTo>
                    <a:pt x="267" y="309"/>
                    <a:pt x="267" y="309"/>
                    <a:pt x="267" y="309"/>
                  </a:cubicBezTo>
                  <a:cubicBezTo>
                    <a:pt x="276" y="117"/>
                    <a:pt x="276" y="117"/>
                    <a:pt x="276" y="117"/>
                  </a:cubicBezTo>
                  <a:cubicBezTo>
                    <a:pt x="235" y="117"/>
                    <a:pt x="235" y="117"/>
                    <a:pt x="235" y="117"/>
                  </a:cubicBezTo>
                  <a:lnTo>
                    <a:pt x="244" y="309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288" y="384"/>
                  </a:moveTo>
                  <a:cubicBezTo>
                    <a:pt x="288" y="366"/>
                    <a:pt x="273" y="352"/>
                    <a:pt x="256" y="352"/>
                  </a:cubicBezTo>
                  <a:cubicBezTo>
                    <a:pt x="238" y="352"/>
                    <a:pt x="224" y="366"/>
                    <a:pt x="224" y="384"/>
                  </a:cubicBezTo>
                  <a:cubicBezTo>
                    <a:pt x="224" y="401"/>
                    <a:pt x="238" y="416"/>
                    <a:pt x="256" y="416"/>
                  </a:cubicBezTo>
                  <a:cubicBezTo>
                    <a:pt x="273" y="416"/>
                    <a:pt x="288" y="401"/>
                    <a:pt x="288" y="384"/>
                  </a:cubicBezTo>
                  <a:close/>
                  <a:moveTo>
                    <a:pt x="298" y="107"/>
                  </a:moveTo>
                  <a:cubicBezTo>
                    <a:pt x="299" y="101"/>
                    <a:pt x="294" y="96"/>
                    <a:pt x="288" y="96"/>
                  </a:cubicBezTo>
                  <a:cubicBezTo>
                    <a:pt x="288" y="96"/>
                    <a:pt x="288" y="96"/>
                    <a:pt x="288" y="96"/>
                  </a:cubicBezTo>
                  <a:cubicBezTo>
                    <a:pt x="224" y="96"/>
                    <a:pt x="224" y="96"/>
                    <a:pt x="224" y="96"/>
                  </a:cubicBezTo>
                  <a:cubicBezTo>
                    <a:pt x="224" y="96"/>
                    <a:pt x="223" y="96"/>
                    <a:pt x="223" y="96"/>
                  </a:cubicBezTo>
                  <a:cubicBezTo>
                    <a:pt x="217" y="96"/>
                    <a:pt x="213" y="101"/>
                    <a:pt x="213" y="107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24" y="326"/>
                    <a:pt x="229" y="330"/>
                    <a:pt x="234" y="330"/>
                  </a:cubicBezTo>
                  <a:cubicBezTo>
                    <a:pt x="234" y="330"/>
                    <a:pt x="234" y="330"/>
                    <a:pt x="234" y="330"/>
                  </a:cubicBezTo>
                  <a:cubicBezTo>
                    <a:pt x="235" y="330"/>
                    <a:pt x="235" y="330"/>
                    <a:pt x="235" y="330"/>
                  </a:cubicBezTo>
                  <a:cubicBezTo>
                    <a:pt x="276" y="330"/>
                    <a:pt x="276" y="330"/>
                    <a:pt x="276" y="330"/>
                  </a:cubicBezTo>
                  <a:cubicBezTo>
                    <a:pt x="277" y="330"/>
                    <a:pt x="277" y="330"/>
                    <a:pt x="277" y="330"/>
                  </a:cubicBezTo>
                  <a:cubicBezTo>
                    <a:pt x="277" y="330"/>
                    <a:pt x="277" y="330"/>
                    <a:pt x="277" y="330"/>
                  </a:cubicBezTo>
                  <a:cubicBezTo>
                    <a:pt x="283" y="330"/>
                    <a:pt x="287" y="326"/>
                    <a:pt x="288" y="320"/>
                  </a:cubicBezTo>
                  <a:lnTo>
                    <a:pt x="298" y="107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890622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45</a:t>
            </a:fld>
            <a:endParaRPr lang="it-IT" altLang="it-IT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8199" y="1714500"/>
            <a:ext cx="8626213" cy="4695825"/>
          </a:xfrm>
          <a:prstGeom prst="rect">
            <a:avLst/>
          </a:prstGeom>
        </p:spPr>
      </p:pic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1235895" y="131817"/>
            <a:ext cx="8325617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it-IT" altLang="it-IT" sz="28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Domande?</a:t>
            </a:r>
            <a:endParaRPr lang="it-IT" altLang="it-IT" sz="1600" b="1" dirty="0">
              <a:solidFill>
                <a:srgbClr val="0066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5819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>
            <a:extLst>
              <a:ext uri="{FF2B5EF4-FFF2-40B4-BE49-F238E27FC236}">
                <a16:creationId xmlns:a16="http://schemas.microsoft.com/office/drawing/2014/main" id="{F637BD02-07C9-4D7B-8E71-428A7B5E54BC}"/>
              </a:ext>
            </a:extLst>
          </p:cNvPr>
          <p:cNvSpPr>
            <a:spLocks noChangeArrowheads="1"/>
          </p:cNvSpPr>
          <p:nvPr/>
        </p:nvSpPr>
        <p:spPr bwMode="auto">
          <a:xfrm rot="-5400000">
            <a:off x="-3268662" y="3268662"/>
            <a:ext cx="6858000" cy="320675"/>
          </a:xfrm>
          <a:prstGeom prst="rect">
            <a:avLst/>
          </a:prstGeom>
          <a:gradFill rotWithShape="1">
            <a:gsLst>
              <a:gs pos="0">
                <a:srgbClr val="006600"/>
              </a:gs>
              <a:gs pos="100000">
                <a:srgbClr val="008000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anchor="ctr"/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None/>
              <a:tabLst/>
              <a:defRPr/>
            </a:pPr>
            <a:endParaRPr kumimoji="0" lang="it-IT" altLang="it-IT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099" name="Picture 13" descr="Macintosh HD:Users:staff7:Desktop:PPT intercentER:OMINI.png">
            <a:extLst>
              <a:ext uri="{FF2B5EF4-FFF2-40B4-BE49-F238E27FC236}">
                <a16:creationId xmlns:a16="http://schemas.microsoft.com/office/drawing/2014/main" id="{611FFC48-9E6B-4082-AE91-8512E5D408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r:link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54" t="-10054" r="37219"/>
          <a:stretch>
            <a:fillRect/>
          </a:stretch>
        </p:blipFill>
        <p:spPr bwMode="auto">
          <a:xfrm>
            <a:off x="0" y="1670050"/>
            <a:ext cx="1949450" cy="5430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10" descr="Logo Intercent-ER_RGB">
            <a:extLst>
              <a:ext uri="{FF2B5EF4-FFF2-40B4-BE49-F238E27FC236}">
                <a16:creationId xmlns:a16="http://schemas.microsoft.com/office/drawing/2014/main" id="{1531D8D7-58B5-4B3D-B9D6-0FD405CDB3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4" t="9985"/>
          <a:stretch>
            <a:fillRect/>
          </a:stretch>
        </p:blipFill>
        <p:spPr bwMode="auto">
          <a:xfrm>
            <a:off x="2624047" y="2300413"/>
            <a:ext cx="5992931" cy="2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AutoShape 2" descr="PEPPOL Access point">
            <a:extLst>
              <a:ext uri="{FF2B5EF4-FFF2-40B4-BE49-F238E27FC236}">
                <a16:creationId xmlns:a16="http://schemas.microsoft.com/office/drawing/2014/main" id="{AEA32938-77C8-4C91-AB2F-9DA4DA1B753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631546" y="620714"/>
            <a:ext cx="417930" cy="417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Rettangolo con angoli arrotondati 2">
            <a:extLst>
              <a:ext uri="{FF2B5EF4-FFF2-40B4-BE49-F238E27FC236}">
                <a16:creationId xmlns:a16="http://schemas.microsoft.com/office/drawing/2014/main" id="{AF052E45-E256-4475-ACB6-0D9D8CBBA939}"/>
              </a:ext>
            </a:extLst>
          </p:cNvPr>
          <p:cNvSpPr/>
          <p:nvPr/>
        </p:nvSpPr>
        <p:spPr bwMode="auto">
          <a:xfrm>
            <a:off x="2212257" y="5073445"/>
            <a:ext cx="7462685" cy="745912"/>
          </a:xfrm>
          <a:prstGeom prst="round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/>
              <a:t>Info e modalità di adesione: </a:t>
            </a:r>
            <a:r>
              <a:rPr lang="it-IT" sz="1600" dirty="0">
                <a:hlinkClick r:id="rId6"/>
              </a:rPr>
              <a:t>NodoIntercenter@regione.emilia-romagna.it</a:t>
            </a:r>
            <a:r>
              <a:rPr lang="it-IT" sz="16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dirty="0"/>
              <a:t>Supporto Tecnico: </a:t>
            </a:r>
            <a:r>
              <a:rPr lang="it-IT" sz="1600" dirty="0">
                <a:hlinkClick r:id="rId7"/>
              </a:rPr>
              <a:t>Support.Notier@regione.emilia-romagna.it</a:t>
            </a:r>
            <a:endParaRPr lang="it-IT" sz="1600" dirty="0"/>
          </a:p>
          <a:p>
            <a:endParaRPr lang="it-IT" sz="1600" dirty="0"/>
          </a:p>
        </p:txBody>
      </p:sp>
    </p:spTree>
    <p:extLst>
      <p:ext uri="{BB962C8B-B14F-4D97-AF65-F5344CB8AC3E}">
        <p14:creationId xmlns:p14="http://schemas.microsoft.com/office/powerpoint/2010/main" val="4137270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5</a:t>
            </a:fld>
            <a:endParaRPr lang="it-IT" altLang="it-IT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58936" y="1169988"/>
            <a:ext cx="8280000" cy="4756302"/>
          </a:xfrm>
          <a:prstGeom prst="rect">
            <a:avLst/>
          </a:prstGeom>
        </p:spPr>
      </p:pic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1449411" y="222250"/>
            <a:ext cx="8264501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eaLnBrk="0" hangingPunct="0">
              <a:buClr>
                <a:srgbClr val="CC0000"/>
              </a:buClr>
              <a:buSzPct val="70000"/>
              <a:buFont typeface="Wingdings" pitchFamily="2" charset="2"/>
              <a:buNone/>
            </a:pPr>
            <a:r>
              <a:rPr lang="it-IT" sz="28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to di avanzamento dell’adozione da parte degli enti</a:t>
            </a:r>
            <a:endParaRPr lang="it-IT" sz="1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7589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D00859-9CB9-4552-AD2A-902A8CBABE3D}" type="slidenum">
              <a:rPr lang="it-IT" altLang="it-IT" smtClean="0"/>
              <a:pPr>
                <a:defRPr/>
              </a:pPr>
              <a:t>6</a:t>
            </a:fld>
            <a:endParaRPr lang="it-IT" altLang="it-IT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1738313" y="222250"/>
            <a:ext cx="7975600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buClr>
                <a:srgbClr val="CC0000"/>
              </a:buClr>
              <a:buSzPct val="70000"/>
              <a:buFont typeface="Wingdings" pitchFamily="2" charset="2"/>
              <a:buNone/>
            </a:pPr>
            <a:r>
              <a:rPr lang="it-IT" sz="28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tantanea sul processo dei DDT</a:t>
            </a:r>
            <a:endParaRPr lang="it-IT" sz="1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51011" y="1160463"/>
            <a:ext cx="8278777" cy="4755600"/>
          </a:xfrm>
          <a:prstGeom prst="rect">
            <a:avLst/>
          </a:prstGeom>
        </p:spPr>
      </p:pic>
      <p:sp>
        <p:nvSpPr>
          <p:cNvPr id="15" name="Freeform 211"/>
          <p:cNvSpPr>
            <a:spLocks/>
          </p:cNvSpPr>
          <p:nvPr/>
        </p:nvSpPr>
        <p:spPr bwMode="auto">
          <a:xfrm flipH="1">
            <a:off x="909927" y="2266465"/>
            <a:ext cx="452147" cy="291864"/>
          </a:xfrm>
          <a:custGeom>
            <a:avLst/>
            <a:gdLst>
              <a:gd name="T0" fmla="*/ 310 w 321"/>
              <a:gd name="T1" fmla="*/ 86 h 193"/>
              <a:gd name="T2" fmla="*/ 37 w 321"/>
              <a:gd name="T3" fmla="*/ 86 h 193"/>
              <a:gd name="T4" fmla="*/ 104 w 321"/>
              <a:gd name="T5" fmla="*/ 19 h 193"/>
              <a:gd name="T6" fmla="*/ 104 w 321"/>
              <a:gd name="T7" fmla="*/ 4 h 193"/>
              <a:gd name="T8" fmla="*/ 89 w 321"/>
              <a:gd name="T9" fmla="*/ 4 h 193"/>
              <a:gd name="T10" fmla="*/ 4 w 321"/>
              <a:gd name="T11" fmla="*/ 89 h 193"/>
              <a:gd name="T12" fmla="*/ 1 w 321"/>
              <a:gd name="T13" fmla="*/ 93 h 193"/>
              <a:gd name="T14" fmla="*/ 1 w 321"/>
              <a:gd name="T15" fmla="*/ 101 h 193"/>
              <a:gd name="T16" fmla="*/ 4 w 321"/>
              <a:gd name="T17" fmla="*/ 104 h 193"/>
              <a:gd name="T18" fmla="*/ 89 w 321"/>
              <a:gd name="T19" fmla="*/ 190 h 193"/>
              <a:gd name="T20" fmla="*/ 97 w 321"/>
              <a:gd name="T21" fmla="*/ 193 h 193"/>
              <a:gd name="T22" fmla="*/ 104 w 321"/>
              <a:gd name="T23" fmla="*/ 190 h 193"/>
              <a:gd name="T24" fmla="*/ 104 w 321"/>
              <a:gd name="T25" fmla="*/ 174 h 193"/>
              <a:gd name="T26" fmla="*/ 37 w 321"/>
              <a:gd name="T27" fmla="*/ 107 h 193"/>
              <a:gd name="T28" fmla="*/ 310 w 321"/>
              <a:gd name="T29" fmla="*/ 107 h 193"/>
              <a:gd name="T30" fmla="*/ 321 w 321"/>
              <a:gd name="T31" fmla="*/ 97 h 193"/>
              <a:gd name="T32" fmla="*/ 310 w 321"/>
              <a:gd name="T33" fmla="*/ 86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21" h="193">
                <a:moveTo>
                  <a:pt x="310" y="86"/>
                </a:moveTo>
                <a:cubicBezTo>
                  <a:pt x="37" y="86"/>
                  <a:pt x="37" y="86"/>
                  <a:pt x="37" y="86"/>
                </a:cubicBezTo>
                <a:cubicBezTo>
                  <a:pt x="104" y="19"/>
                  <a:pt x="104" y="19"/>
                  <a:pt x="104" y="19"/>
                </a:cubicBezTo>
                <a:cubicBezTo>
                  <a:pt x="108" y="15"/>
                  <a:pt x="108" y="8"/>
                  <a:pt x="104" y="4"/>
                </a:cubicBezTo>
                <a:cubicBezTo>
                  <a:pt x="100" y="0"/>
                  <a:pt x="93" y="0"/>
                  <a:pt x="89" y="4"/>
                </a:cubicBezTo>
                <a:cubicBezTo>
                  <a:pt x="4" y="89"/>
                  <a:pt x="4" y="89"/>
                  <a:pt x="4" y="89"/>
                </a:cubicBezTo>
                <a:cubicBezTo>
                  <a:pt x="3" y="90"/>
                  <a:pt x="2" y="91"/>
                  <a:pt x="1" y="93"/>
                </a:cubicBezTo>
                <a:cubicBezTo>
                  <a:pt x="0" y="95"/>
                  <a:pt x="0" y="98"/>
                  <a:pt x="1" y="101"/>
                </a:cubicBezTo>
                <a:cubicBezTo>
                  <a:pt x="2" y="102"/>
                  <a:pt x="3" y="103"/>
                  <a:pt x="4" y="104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91" y="192"/>
                  <a:pt x="94" y="193"/>
                  <a:pt x="97" y="193"/>
                </a:cubicBezTo>
                <a:cubicBezTo>
                  <a:pt x="99" y="193"/>
                  <a:pt x="102" y="192"/>
                  <a:pt x="104" y="190"/>
                </a:cubicBezTo>
                <a:cubicBezTo>
                  <a:pt x="108" y="185"/>
                  <a:pt x="108" y="179"/>
                  <a:pt x="104" y="174"/>
                </a:cubicBezTo>
                <a:cubicBezTo>
                  <a:pt x="37" y="107"/>
                  <a:pt x="37" y="107"/>
                  <a:pt x="37" y="107"/>
                </a:cubicBezTo>
                <a:cubicBezTo>
                  <a:pt x="310" y="107"/>
                  <a:pt x="310" y="107"/>
                  <a:pt x="310" y="107"/>
                </a:cubicBezTo>
                <a:cubicBezTo>
                  <a:pt x="316" y="107"/>
                  <a:pt x="321" y="103"/>
                  <a:pt x="321" y="97"/>
                </a:cubicBezTo>
                <a:cubicBezTo>
                  <a:pt x="321" y="91"/>
                  <a:pt x="316" y="86"/>
                  <a:pt x="310" y="86"/>
                </a:cubicBezTo>
                <a:close/>
              </a:path>
            </a:pathLst>
          </a:custGeom>
          <a:solidFill>
            <a:srgbClr val="C00000"/>
          </a:solidFill>
          <a:ln>
            <a:solidFill>
              <a:srgbClr val="C00000"/>
            </a:solidFill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Freeform 211"/>
          <p:cNvSpPr>
            <a:spLocks/>
          </p:cNvSpPr>
          <p:nvPr/>
        </p:nvSpPr>
        <p:spPr bwMode="auto">
          <a:xfrm flipH="1">
            <a:off x="909927" y="3289446"/>
            <a:ext cx="452147" cy="291864"/>
          </a:xfrm>
          <a:custGeom>
            <a:avLst/>
            <a:gdLst>
              <a:gd name="T0" fmla="*/ 310 w 321"/>
              <a:gd name="T1" fmla="*/ 86 h 193"/>
              <a:gd name="T2" fmla="*/ 37 w 321"/>
              <a:gd name="T3" fmla="*/ 86 h 193"/>
              <a:gd name="T4" fmla="*/ 104 w 321"/>
              <a:gd name="T5" fmla="*/ 19 h 193"/>
              <a:gd name="T6" fmla="*/ 104 w 321"/>
              <a:gd name="T7" fmla="*/ 4 h 193"/>
              <a:gd name="T8" fmla="*/ 89 w 321"/>
              <a:gd name="T9" fmla="*/ 4 h 193"/>
              <a:gd name="T10" fmla="*/ 4 w 321"/>
              <a:gd name="T11" fmla="*/ 89 h 193"/>
              <a:gd name="T12" fmla="*/ 1 w 321"/>
              <a:gd name="T13" fmla="*/ 93 h 193"/>
              <a:gd name="T14" fmla="*/ 1 w 321"/>
              <a:gd name="T15" fmla="*/ 101 h 193"/>
              <a:gd name="T16" fmla="*/ 4 w 321"/>
              <a:gd name="T17" fmla="*/ 104 h 193"/>
              <a:gd name="T18" fmla="*/ 89 w 321"/>
              <a:gd name="T19" fmla="*/ 190 h 193"/>
              <a:gd name="T20" fmla="*/ 97 w 321"/>
              <a:gd name="T21" fmla="*/ 193 h 193"/>
              <a:gd name="T22" fmla="*/ 104 w 321"/>
              <a:gd name="T23" fmla="*/ 190 h 193"/>
              <a:gd name="T24" fmla="*/ 104 w 321"/>
              <a:gd name="T25" fmla="*/ 174 h 193"/>
              <a:gd name="T26" fmla="*/ 37 w 321"/>
              <a:gd name="T27" fmla="*/ 107 h 193"/>
              <a:gd name="T28" fmla="*/ 310 w 321"/>
              <a:gd name="T29" fmla="*/ 107 h 193"/>
              <a:gd name="T30" fmla="*/ 321 w 321"/>
              <a:gd name="T31" fmla="*/ 97 h 193"/>
              <a:gd name="T32" fmla="*/ 310 w 321"/>
              <a:gd name="T33" fmla="*/ 86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21" h="193">
                <a:moveTo>
                  <a:pt x="310" y="86"/>
                </a:moveTo>
                <a:cubicBezTo>
                  <a:pt x="37" y="86"/>
                  <a:pt x="37" y="86"/>
                  <a:pt x="37" y="86"/>
                </a:cubicBezTo>
                <a:cubicBezTo>
                  <a:pt x="104" y="19"/>
                  <a:pt x="104" y="19"/>
                  <a:pt x="104" y="19"/>
                </a:cubicBezTo>
                <a:cubicBezTo>
                  <a:pt x="108" y="15"/>
                  <a:pt x="108" y="8"/>
                  <a:pt x="104" y="4"/>
                </a:cubicBezTo>
                <a:cubicBezTo>
                  <a:pt x="100" y="0"/>
                  <a:pt x="93" y="0"/>
                  <a:pt x="89" y="4"/>
                </a:cubicBezTo>
                <a:cubicBezTo>
                  <a:pt x="4" y="89"/>
                  <a:pt x="4" y="89"/>
                  <a:pt x="4" y="89"/>
                </a:cubicBezTo>
                <a:cubicBezTo>
                  <a:pt x="3" y="90"/>
                  <a:pt x="2" y="91"/>
                  <a:pt x="1" y="93"/>
                </a:cubicBezTo>
                <a:cubicBezTo>
                  <a:pt x="0" y="95"/>
                  <a:pt x="0" y="98"/>
                  <a:pt x="1" y="101"/>
                </a:cubicBezTo>
                <a:cubicBezTo>
                  <a:pt x="2" y="102"/>
                  <a:pt x="3" y="103"/>
                  <a:pt x="4" y="104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91" y="192"/>
                  <a:pt x="94" y="193"/>
                  <a:pt x="97" y="193"/>
                </a:cubicBezTo>
                <a:cubicBezTo>
                  <a:pt x="99" y="193"/>
                  <a:pt x="102" y="192"/>
                  <a:pt x="104" y="190"/>
                </a:cubicBezTo>
                <a:cubicBezTo>
                  <a:pt x="108" y="185"/>
                  <a:pt x="108" y="179"/>
                  <a:pt x="104" y="174"/>
                </a:cubicBezTo>
                <a:cubicBezTo>
                  <a:pt x="37" y="107"/>
                  <a:pt x="37" y="107"/>
                  <a:pt x="37" y="107"/>
                </a:cubicBezTo>
                <a:cubicBezTo>
                  <a:pt x="310" y="107"/>
                  <a:pt x="310" y="107"/>
                  <a:pt x="310" y="107"/>
                </a:cubicBezTo>
                <a:cubicBezTo>
                  <a:pt x="316" y="107"/>
                  <a:pt x="321" y="103"/>
                  <a:pt x="321" y="97"/>
                </a:cubicBezTo>
                <a:cubicBezTo>
                  <a:pt x="321" y="91"/>
                  <a:pt x="316" y="86"/>
                  <a:pt x="310" y="86"/>
                </a:cubicBezTo>
                <a:close/>
              </a:path>
            </a:pathLst>
          </a:custGeom>
          <a:solidFill>
            <a:srgbClr val="C00000"/>
          </a:solidFill>
          <a:ln>
            <a:solidFill>
              <a:srgbClr val="C00000"/>
            </a:solidFill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Freeform 211"/>
          <p:cNvSpPr>
            <a:spLocks/>
          </p:cNvSpPr>
          <p:nvPr/>
        </p:nvSpPr>
        <p:spPr bwMode="auto">
          <a:xfrm flipH="1">
            <a:off x="909926" y="5362090"/>
            <a:ext cx="452147" cy="291864"/>
          </a:xfrm>
          <a:custGeom>
            <a:avLst/>
            <a:gdLst>
              <a:gd name="T0" fmla="*/ 310 w 321"/>
              <a:gd name="T1" fmla="*/ 86 h 193"/>
              <a:gd name="T2" fmla="*/ 37 w 321"/>
              <a:gd name="T3" fmla="*/ 86 h 193"/>
              <a:gd name="T4" fmla="*/ 104 w 321"/>
              <a:gd name="T5" fmla="*/ 19 h 193"/>
              <a:gd name="T6" fmla="*/ 104 w 321"/>
              <a:gd name="T7" fmla="*/ 4 h 193"/>
              <a:gd name="T8" fmla="*/ 89 w 321"/>
              <a:gd name="T9" fmla="*/ 4 h 193"/>
              <a:gd name="T10" fmla="*/ 4 w 321"/>
              <a:gd name="T11" fmla="*/ 89 h 193"/>
              <a:gd name="T12" fmla="*/ 1 w 321"/>
              <a:gd name="T13" fmla="*/ 93 h 193"/>
              <a:gd name="T14" fmla="*/ 1 w 321"/>
              <a:gd name="T15" fmla="*/ 101 h 193"/>
              <a:gd name="T16" fmla="*/ 4 w 321"/>
              <a:gd name="T17" fmla="*/ 104 h 193"/>
              <a:gd name="T18" fmla="*/ 89 w 321"/>
              <a:gd name="T19" fmla="*/ 190 h 193"/>
              <a:gd name="T20" fmla="*/ 97 w 321"/>
              <a:gd name="T21" fmla="*/ 193 h 193"/>
              <a:gd name="T22" fmla="*/ 104 w 321"/>
              <a:gd name="T23" fmla="*/ 190 h 193"/>
              <a:gd name="T24" fmla="*/ 104 w 321"/>
              <a:gd name="T25" fmla="*/ 174 h 193"/>
              <a:gd name="T26" fmla="*/ 37 w 321"/>
              <a:gd name="T27" fmla="*/ 107 h 193"/>
              <a:gd name="T28" fmla="*/ 310 w 321"/>
              <a:gd name="T29" fmla="*/ 107 h 193"/>
              <a:gd name="T30" fmla="*/ 321 w 321"/>
              <a:gd name="T31" fmla="*/ 97 h 193"/>
              <a:gd name="T32" fmla="*/ 310 w 321"/>
              <a:gd name="T33" fmla="*/ 86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21" h="193">
                <a:moveTo>
                  <a:pt x="310" y="86"/>
                </a:moveTo>
                <a:cubicBezTo>
                  <a:pt x="37" y="86"/>
                  <a:pt x="37" y="86"/>
                  <a:pt x="37" y="86"/>
                </a:cubicBezTo>
                <a:cubicBezTo>
                  <a:pt x="104" y="19"/>
                  <a:pt x="104" y="19"/>
                  <a:pt x="104" y="19"/>
                </a:cubicBezTo>
                <a:cubicBezTo>
                  <a:pt x="108" y="15"/>
                  <a:pt x="108" y="8"/>
                  <a:pt x="104" y="4"/>
                </a:cubicBezTo>
                <a:cubicBezTo>
                  <a:pt x="100" y="0"/>
                  <a:pt x="93" y="0"/>
                  <a:pt x="89" y="4"/>
                </a:cubicBezTo>
                <a:cubicBezTo>
                  <a:pt x="4" y="89"/>
                  <a:pt x="4" y="89"/>
                  <a:pt x="4" y="89"/>
                </a:cubicBezTo>
                <a:cubicBezTo>
                  <a:pt x="3" y="90"/>
                  <a:pt x="2" y="91"/>
                  <a:pt x="1" y="93"/>
                </a:cubicBezTo>
                <a:cubicBezTo>
                  <a:pt x="0" y="95"/>
                  <a:pt x="0" y="98"/>
                  <a:pt x="1" y="101"/>
                </a:cubicBezTo>
                <a:cubicBezTo>
                  <a:pt x="2" y="102"/>
                  <a:pt x="3" y="103"/>
                  <a:pt x="4" y="104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91" y="192"/>
                  <a:pt x="94" y="193"/>
                  <a:pt x="97" y="193"/>
                </a:cubicBezTo>
                <a:cubicBezTo>
                  <a:pt x="99" y="193"/>
                  <a:pt x="102" y="192"/>
                  <a:pt x="104" y="190"/>
                </a:cubicBezTo>
                <a:cubicBezTo>
                  <a:pt x="108" y="185"/>
                  <a:pt x="108" y="179"/>
                  <a:pt x="104" y="174"/>
                </a:cubicBezTo>
                <a:cubicBezTo>
                  <a:pt x="37" y="107"/>
                  <a:pt x="37" y="107"/>
                  <a:pt x="37" y="107"/>
                </a:cubicBezTo>
                <a:cubicBezTo>
                  <a:pt x="310" y="107"/>
                  <a:pt x="310" y="107"/>
                  <a:pt x="310" y="107"/>
                </a:cubicBezTo>
                <a:cubicBezTo>
                  <a:pt x="316" y="107"/>
                  <a:pt x="321" y="103"/>
                  <a:pt x="321" y="97"/>
                </a:cubicBezTo>
                <a:cubicBezTo>
                  <a:pt x="321" y="91"/>
                  <a:pt x="316" y="86"/>
                  <a:pt x="310" y="86"/>
                </a:cubicBezTo>
                <a:close/>
              </a:path>
            </a:pathLst>
          </a:custGeom>
          <a:solidFill>
            <a:srgbClr val="C00000"/>
          </a:solidFill>
          <a:ln>
            <a:solidFill>
              <a:srgbClr val="C00000"/>
            </a:solidFill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" name="Rounded Rectangle 17"/>
          <p:cNvSpPr/>
          <p:nvPr/>
        </p:nvSpPr>
        <p:spPr bwMode="auto">
          <a:xfrm>
            <a:off x="8867775" y="2314091"/>
            <a:ext cx="695325" cy="234714"/>
          </a:xfrm>
          <a:prstGeom prst="roundRect">
            <a:avLst/>
          </a:prstGeom>
          <a:noFill/>
          <a:ln w="38100">
            <a:solidFill>
              <a:srgbClr val="C00000"/>
            </a:solidFill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19" name="Rounded Rectangle 18"/>
          <p:cNvSpPr/>
          <p:nvPr/>
        </p:nvSpPr>
        <p:spPr bwMode="auto">
          <a:xfrm>
            <a:off x="8867774" y="3346596"/>
            <a:ext cx="695325" cy="234714"/>
          </a:xfrm>
          <a:prstGeom prst="roundRect">
            <a:avLst/>
          </a:prstGeom>
          <a:noFill/>
          <a:ln w="38100">
            <a:solidFill>
              <a:srgbClr val="C00000"/>
            </a:solidFill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20" name="Rounded Rectangle 19"/>
          <p:cNvSpPr/>
          <p:nvPr/>
        </p:nvSpPr>
        <p:spPr bwMode="auto">
          <a:xfrm>
            <a:off x="8882060" y="5409715"/>
            <a:ext cx="695325" cy="234714"/>
          </a:xfrm>
          <a:prstGeom prst="roundRect">
            <a:avLst/>
          </a:prstGeom>
          <a:noFill/>
          <a:ln w="38100">
            <a:solidFill>
              <a:srgbClr val="C00000"/>
            </a:solidFill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8239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1271116-9EEA-4E2B-BF59-E8E222E65AE6}" type="slidenum">
              <a:rPr lang="it-IT" smtClean="0"/>
              <a:pPr>
                <a:defRPr/>
              </a:pPr>
              <a:t>7</a:t>
            </a:fld>
            <a:endParaRPr lang="it-IT"/>
          </a:p>
        </p:txBody>
      </p:sp>
      <p:sp>
        <p:nvSpPr>
          <p:cNvPr id="8" name="Rectangle 21"/>
          <p:cNvSpPr>
            <a:spLocks noChangeArrowheads="1"/>
          </p:cNvSpPr>
          <p:nvPr/>
        </p:nvSpPr>
        <p:spPr bwMode="auto">
          <a:xfrm>
            <a:off x="978694" y="4881890"/>
            <a:ext cx="8731363" cy="1066191"/>
          </a:xfrm>
          <a:prstGeom prst="rect">
            <a:avLst/>
          </a:prstGeom>
          <a:solidFill>
            <a:srgbClr val="E8F6CF"/>
          </a:solidFill>
          <a:ln w="25400" cap="flat" cmpd="sng" algn="ctr">
            <a:solidFill>
              <a:srgbClr val="007800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ctr"/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buSzPct val="70000"/>
              <a:buFont typeface="Wingdings" panose="05000000000000000000" pitchFamily="2" charset="2"/>
              <a:buNone/>
            </a:pPr>
            <a:endParaRPr lang="it-IT" altLang="it-IT" sz="923" dirty="0">
              <a:latin typeface="Arial" panose="020B0604020202020204" pitchFamily="34" charset="0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auto">
          <a:xfrm>
            <a:off x="1341888" y="1305657"/>
            <a:ext cx="2482363" cy="33410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buSzPct val="70000"/>
              <a:buFont typeface="Wingdings" panose="05000000000000000000" pitchFamily="2" charset="2"/>
              <a:buNone/>
            </a:pPr>
            <a:endParaRPr lang="it-IT" altLang="it-IT" sz="1400" dirty="0">
              <a:latin typeface="+mj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271448" y="4938430"/>
            <a:ext cx="829055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La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collaborazione degli Operatori Economici 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con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le Aziende Sanitarie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, al fine di aiutarli ad aggiornare i propri listini e a dare un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riscontro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per eventuali ordini non conformi, è fondamentale che avvenga subito 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senza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attendere l’obbligo del 1 Ottobre 2019.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704821" y="5129458"/>
            <a:ext cx="553492" cy="544313"/>
            <a:chOff x="284285" y="3479371"/>
            <a:chExt cx="553492" cy="544313"/>
          </a:xfrm>
        </p:grpSpPr>
        <p:sp>
          <p:nvSpPr>
            <p:cNvPr id="3" name="Oval 2"/>
            <p:cNvSpPr/>
            <p:nvPr/>
          </p:nvSpPr>
          <p:spPr bwMode="auto">
            <a:xfrm>
              <a:off x="284285" y="3479371"/>
              <a:ext cx="540000" cy="54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18" name="Freeform 813"/>
            <p:cNvSpPr>
              <a:spLocks noChangeAspect="1" noEditPoints="1"/>
            </p:cNvSpPr>
            <p:nvPr/>
          </p:nvSpPr>
          <p:spPr bwMode="auto">
            <a:xfrm>
              <a:off x="297777" y="3483684"/>
              <a:ext cx="540000" cy="540000"/>
            </a:xfrm>
            <a:custGeom>
              <a:avLst/>
              <a:gdLst>
                <a:gd name="T0" fmla="*/ 352 w 512"/>
                <a:gd name="T1" fmla="*/ 245 h 512"/>
                <a:gd name="T2" fmla="*/ 288 w 512"/>
                <a:gd name="T3" fmla="*/ 245 h 512"/>
                <a:gd name="T4" fmla="*/ 288 w 512"/>
                <a:gd name="T5" fmla="*/ 202 h 512"/>
                <a:gd name="T6" fmla="*/ 352 w 512"/>
                <a:gd name="T7" fmla="*/ 202 h 512"/>
                <a:gd name="T8" fmla="*/ 352 w 512"/>
                <a:gd name="T9" fmla="*/ 245 h 512"/>
                <a:gd name="T10" fmla="*/ 224 w 512"/>
                <a:gd name="T11" fmla="*/ 202 h 512"/>
                <a:gd name="T12" fmla="*/ 160 w 512"/>
                <a:gd name="T13" fmla="*/ 202 h 512"/>
                <a:gd name="T14" fmla="*/ 160 w 512"/>
                <a:gd name="T15" fmla="*/ 245 h 512"/>
                <a:gd name="T16" fmla="*/ 224 w 512"/>
                <a:gd name="T17" fmla="*/ 245 h 512"/>
                <a:gd name="T18" fmla="*/ 224 w 512"/>
                <a:gd name="T19" fmla="*/ 202 h 512"/>
                <a:gd name="T20" fmla="*/ 320 w 512"/>
                <a:gd name="T21" fmla="*/ 138 h 512"/>
                <a:gd name="T22" fmla="*/ 330 w 512"/>
                <a:gd name="T23" fmla="*/ 128 h 512"/>
                <a:gd name="T24" fmla="*/ 320 w 512"/>
                <a:gd name="T25" fmla="*/ 117 h 512"/>
                <a:gd name="T26" fmla="*/ 309 w 512"/>
                <a:gd name="T27" fmla="*/ 128 h 512"/>
                <a:gd name="T28" fmla="*/ 320 w 512"/>
                <a:gd name="T29" fmla="*/ 138 h 512"/>
                <a:gd name="T30" fmla="*/ 192 w 512"/>
                <a:gd name="T31" fmla="*/ 138 h 512"/>
                <a:gd name="T32" fmla="*/ 202 w 512"/>
                <a:gd name="T33" fmla="*/ 128 h 512"/>
                <a:gd name="T34" fmla="*/ 192 w 512"/>
                <a:gd name="T35" fmla="*/ 117 h 512"/>
                <a:gd name="T36" fmla="*/ 181 w 512"/>
                <a:gd name="T37" fmla="*/ 128 h 512"/>
                <a:gd name="T38" fmla="*/ 192 w 512"/>
                <a:gd name="T39" fmla="*/ 138 h 512"/>
                <a:gd name="T40" fmla="*/ 512 w 512"/>
                <a:gd name="T41" fmla="*/ 256 h 512"/>
                <a:gd name="T42" fmla="*/ 256 w 512"/>
                <a:gd name="T43" fmla="*/ 512 h 512"/>
                <a:gd name="T44" fmla="*/ 0 w 512"/>
                <a:gd name="T45" fmla="*/ 256 h 512"/>
                <a:gd name="T46" fmla="*/ 256 w 512"/>
                <a:gd name="T47" fmla="*/ 0 h 512"/>
                <a:gd name="T48" fmla="*/ 512 w 512"/>
                <a:gd name="T49" fmla="*/ 256 h 512"/>
                <a:gd name="T50" fmla="*/ 288 w 512"/>
                <a:gd name="T51" fmla="*/ 128 h 512"/>
                <a:gd name="T52" fmla="*/ 320 w 512"/>
                <a:gd name="T53" fmla="*/ 160 h 512"/>
                <a:gd name="T54" fmla="*/ 352 w 512"/>
                <a:gd name="T55" fmla="*/ 128 h 512"/>
                <a:gd name="T56" fmla="*/ 320 w 512"/>
                <a:gd name="T57" fmla="*/ 96 h 512"/>
                <a:gd name="T58" fmla="*/ 288 w 512"/>
                <a:gd name="T59" fmla="*/ 128 h 512"/>
                <a:gd name="T60" fmla="*/ 160 w 512"/>
                <a:gd name="T61" fmla="*/ 128 h 512"/>
                <a:gd name="T62" fmla="*/ 192 w 512"/>
                <a:gd name="T63" fmla="*/ 160 h 512"/>
                <a:gd name="T64" fmla="*/ 224 w 512"/>
                <a:gd name="T65" fmla="*/ 128 h 512"/>
                <a:gd name="T66" fmla="*/ 192 w 512"/>
                <a:gd name="T67" fmla="*/ 96 h 512"/>
                <a:gd name="T68" fmla="*/ 160 w 512"/>
                <a:gd name="T69" fmla="*/ 128 h 512"/>
                <a:gd name="T70" fmla="*/ 405 w 512"/>
                <a:gd name="T71" fmla="*/ 256 h 512"/>
                <a:gd name="T72" fmla="*/ 394 w 512"/>
                <a:gd name="T73" fmla="*/ 245 h 512"/>
                <a:gd name="T74" fmla="*/ 373 w 512"/>
                <a:gd name="T75" fmla="*/ 245 h 512"/>
                <a:gd name="T76" fmla="*/ 373 w 512"/>
                <a:gd name="T77" fmla="*/ 192 h 512"/>
                <a:gd name="T78" fmla="*/ 362 w 512"/>
                <a:gd name="T79" fmla="*/ 181 h 512"/>
                <a:gd name="T80" fmla="*/ 277 w 512"/>
                <a:gd name="T81" fmla="*/ 181 h 512"/>
                <a:gd name="T82" fmla="*/ 266 w 512"/>
                <a:gd name="T83" fmla="*/ 192 h 512"/>
                <a:gd name="T84" fmla="*/ 266 w 512"/>
                <a:gd name="T85" fmla="*/ 245 h 512"/>
                <a:gd name="T86" fmla="*/ 245 w 512"/>
                <a:gd name="T87" fmla="*/ 245 h 512"/>
                <a:gd name="T88" fmla="*/ 245 w 512"/>
                <a:gd name="T89" fmla="*/ 192 h 512"/>
                <a:gd name="T90" fmla="*/ 234 w 512"/>
                <a:gd name="T91" fmla="*/ 181 h 512"/>
                <a:gd name="T92" fmla="*/ 149 w 512"/>
                <a:gd name="T93" fmla="*/ 181 h 512"/>
                <a:gd name="T94" fmla="*/ 138 w 512"/>
                <a:gd name="T95" fmla="*/ 192 h 512"/>
                <a:gd name="T96" fmla="*/ 138 w 512"/>
                <a:gd name="T97" fmla="*/ 245 h 512"/>
                <a:gd name="T98" fmla="*/ 117 w 512"/>
                <a:gd name="T99" fmla="*/ 245 h 512"/>
                <a:gd name="T100" fmla="*/ 106 w 512"/>
                <a:gd name="T101" fmla="*/ 256 h 512"/>
                <a:gd name="T102" fmla="*/ 117 w 512"/>
                <a:gd name="T103" fmla="*/ 266 h 512"/>
                <a:gd name="T104" fmla="*/ 117 w 512"/>
                <a:gd name="T105" fmla="*/ 384 h 512"/>
                <a:gd name="T106" fmla="*/ 128 w 512"/>
                <a:gd name="T107" fmla="*/ 394 h 512"/>
                <a:gd name="T108" fmla="*/ 384 w 512"/>
                <a:gd name="T109" fmla="*/ 394 h 512"/>
                <a:gd name="T110" fmla="*/ 394 w 512"/>
                <a:gd name="T111" fmla="*/ 384 h 512"/>
                <a:gd name="T112" fmla="*/ 394 w 512"/>
                <a:gd name="T113" fmla="*/ 266 h 512"/>
                <a:gd name="T114" fmla="*/ 405 w 512"/>
                <a:gd name="T115" fmla="*/ 256 h 512"/>
                <a:gd name="T116" fmla="*/ 138 w 512"/>
                <a:gd name="T117" fmla="*/ 373 h 512"/>
                <a:gd name="T118" fmla="*/ 373 w 512"/>
                <a:gd name="T119" fmla="*/ 373 h 512"/>
                <a:gd name="T120" fmla="*/ 373 w 512"/>
                <a:gd name="T121" fmla="*/ 266 h 512"/>
                <a:gd name="T122" fmla="*/ 138 w 512"/>
                <a:gd name="T123" fmla="*/ 266 h 512"/>
                <a:gd name="T124" fmla="*/ 138 w 512"/>
                <a:gd name="T125" fmla="*/ 37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2" h="512">
                  <a:moveTo>
                    <a:pt x="352" y="245"/>
                  </a:moveTo>
                  <a:cubicBezTo>
                    <a:pt x="288" y="245"/>
                    <a:pt x="288" y="245"/>
                    <a:pt x="288" y="245"/>
                  </a:cubicBezTo>
                  <a:cubicBezTo>
                    <a:pt x="288" y="202"/>
                    <a:pt x="288" y="202"/>
                    <a:pt x="288" y="202"/>
                  </a:cubicBezTo>
                  <a:cubicBezTo>
                    <a:pt x="352" y="202"/>
                    <a:pt x="352" y="202"/>
                    <a:pt x="352" y="202"/>
                  </a:cubicBezTo>
                  <a:lnTo>
                    <a:pt x="352" y="245"/>
                  </a:lnTo>
                  <a:close/>
                  <a:moveTo>
                    <a:pt x="224" y="202"/>
                  </a:moveTo>
                  <a:cubicBezTo>
                    <a:pt x="160" y="202"/>
                    <a:pt x="160" y="202"/>
                    <a:pt x="160" y="202"/>
                  </a:cubicBezTo>
                  <a:cubicBezTo>
                    <a:pt x="160" y="245"/>
                    <a:pt x="160" y="245"/>
                    <a:pt x="160" y="245"/>
                  </a:cubicBezTo>
                  <a:cubicBezTo>
                    <a:pt x="224" y="245"/>
                    <a:pt x="224" y="245"/>
                    <a:pt x="224" y="245"/>
                  </a:cubicBezTo>
                  <a:lnTo>
                    <a:pt x="224" y="202"/>
                  </a:lnTo>
                  <a:close/>
                  <a:moveTo>
                    <a:pt x="320" y="138"/>
                  </a:moveTo>
                  <a:cubicBezTo>
                    <a:pt x="326" y="138"/>
                    <a:pt x="330" y="134"/>
                    <a:pt x="330" y="128"/>
                  </a:cubicBezTo>
                  <a:cubicBezTo>
                    <a:pt x="330" y="122"/>
                    <a:pt x="326" y="117"/>
                    <a:pt x="320" y="117"/>
                  </a:cubicBezTo>
                  <a:cubicBezTo>
                    <a:pt x="314" y="117"/>
                    <a:pt x="309" y="122"/>
                    <a:pt x="309" y="128"/>
                  </a:cubicBezTo>
                  <a:cubicBezTo>
                    <a:pt x="309" y="134"/>
                    <a:pt x="314" y="138"/>
                    <a:pt x="320" y="138"/>
                  </a:cubicBezTo>
                  <a:close/>
                  <a:moveTo>
                    <a:pt x="192" y="138"/>
                  </a:moveTo>
                  <a:cubicBezTo>
                    <a:pt x="198" y="138"/>
                    <a:pt x="202" y="134"/>
                    <a:pt x="202" y="128"/>
                  </a:cubicBezTo>
                  <a:cubicBezTo>
                    <a:pt x="202" y="122"/>
                    <a:pt x="198" y="117"/>
                    <a:pt x="192" y="117"/>
                  </a:cubicBezTo>
                  <a:cubicBezTo>
                    <a:pt x="186" y="117"/>
                    <a:pt x="181" y="122"/>
                    <a:pt x="181" y="128"/>
                  </a:cubicBezTo>
                  <a:cubicBezTo>
                    <a:pt x="181" y="134"/>
                    <a:pt x="186" y="138"/>
                    <a:pt x="192" y="138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288" y="128"/>
                  </a:moveTo>
                  <a:cubicBezTo>
                    <a:pt x="288" y="145"/>
                    <a:pt x="302" y="160"/>
                    <a:pt x="320" y="160"/>
                  </a:cubicBezTo>
                  <a:cubicBezTo>
                    <a:pt x="337" y="160"/>
                    <a:pt x="352" y="145"/>
                    <a:pt x="352" y="128"/>
                  </a:cubicBezTo>
                  <a:cubicBezTo>
                    <a:pt x="352" y="110"/>
                    <a:pt x="337" y="96"/>
                    <a:pt x="320" y="96"/>
                  </a:cubicBezTo>
                  <a:cubicBezTo>
                    <a:pt x="302" y="96"/>
                    <a:pt x="288" y="110"/>
                    <a:pt x="288" y="128"/>
                  </a:cubicBezTo>
                  <a:close/>
                  <a:moveTo>
                    <a:pt x="160" y="128"/>
                  </a:moveTo>
                  <a:cubicBezTo>
                    <a:pt x="160" y="145"/>
                    <a:pt x="174" y="160"/>
                    <a:pt x="192" y="160"/>
                  </a:cubicBezTo>
                  <a:cubicBezTo>
                    <a:pt x="209" y="160"/>
                    <a:pt x="224" y="145"/>
                    <a:pt x="224" y="128"/>
                  </a:cubicBezTo>
                  <a:cubicBezTo>
                    <a:pt x="224" y="110"/>
                    <a:pt x="209" y="96"/>
                    <a:pt x="192" y="96"/>
                  </a:cubicBezTo>
                  <a:cubicBezTo>
                    <a:pt x="174" y="96"/>
                    <a:pt x="160" y="110"/>
                    <a:pt x="160" y="128"/>
                  </a:cubicBezTo>
                  <a:close/>
                  <a:moveTo>
                    <a:pt x="405" y="256"/>
                  </a:moveTo>
                  <a:cubicBezTo>
                    <a:pt x="405" y="250"/>
                    <a:pt x="400" y="245"/>
                    <a:pt x="394" y="245"/>
                  </a:cubicBezTo>
                  <a:cubicBezTo>
                    <a:pt x="373" y="245"/>
                    <a:pt x="373" y="245"/>
                    <a:pt x="373" y="245"/>
                  </a:cubicBezTo>
                  <a:cubicBezTo>
                    <a:pt x="373" y="192"/>
                    <a:pt x="373" y="192"/>
                    <a:pt x="373" y="192"/>
                  </a:cubicBezTo>
                  <a:cubicBezTo>
                    <a:pt x="373" y="186"/>
                    <a:pt x="368" y="181"/>
                    <a:pt x="362" y="181"/>
                  </a:cubicBezTo>
                  <a:cubicBezTo>
                    <a:pt x="277" y="181"/>
                    <a:pt x="277" y="181"/>
                    <a:pt x="277" y="181"/>
                  </a:cubicBezTo>
                  <a:cubicBezTo>
                    <a:pt x="271" y="181"/>
                    <a:pt x="266" y="186"/>
                    <a:pt x="266" y="192"/>
                  </a:cubicBezTo>
                  <a:cubicBezTo>
                    <a:pt x="266" y="245"/>
                    <a:pt x="266" y="245"/>
                    <a:pt x="266" y="245"/>
                  </a:cubicBezTo>
                  <a:cubicBezTo>
                    <a:pt x="245" y="245"/>
                    <a:pt x="245" y="245"/>
                    <a:pt x="245" y="245"/>
                  </a:cubicBezTo>
                  <a:cubicBezTo>
                    <a:pt x="245" y="192"/>
                    <a:pt x="245" y="192"/>
                    <a:pt x="245" y="192"/>
                  </a:cubicBezTo>
                  <a:cubicBezTo>
                    <a:pt x="245" y="186"/>
                    <a:pt x="240" y="181"/>
                    <a:pt x="234" y="181"/>
                  </a:cubicBezTo>
                  <a:cubicBezTo>
                    <a:pt x="149" y="181"/>
                    <a:pt x="149" y="181"/>
                    <a:pt x="149" y="181"/>
                  </a:cubicBezTo>
                  <a:cubicBezTo>
                    <a:pt x="143" y="181"/>
                    <a:pt x="138" y="186"/>
                    <a:pt x="138" y="192"/>
                  </a:cubicBezTo>
                  <a:cubicBezTo>
                    <a:pt x="138" y="245"/>
                    <a:pt x="138" y="245"/>
                    <a:pt x="138" y="245"/>
                  </a:cubicBezTo>
                  <a:cubicBezTo>
                    <a:pt x="117" y="245"/>
                    <a:pt x="117" y="245"/>
                    <a:pt x="117" y="245"/>
                  </a:cubicBezTo>
                  <a:cubicBezTo>
                    <a:pt x="111" y="245"/>
                    <a:pt x="106" y="250"/>
                    <a:pt x="106" y="256"/>
                  </a:cubicBezTo>
                  <a:cubicBezTo>
                    <a:pt x="106" y="262"/>
                    <a:pt x="112" y="266"/>
                    <a:pt x="117" y="266"/>
                  </a:cubicBezTo>
                  <a:cubicBezTo>
                    <a:pt x="117" y="384"/>
                    <a:pt x="117" y="384"/>
                    <a:pt x="117" y="384"/>
                  </a:cubicBezTo>
                  <a:cubicBezTo>
                    <a:pt x="117" y="390"/>
                    <a:pt x="122" y="394"/>
                    <a:pt x="128" y="394"/>
                  </a:cubicBezTo>
                  <a:cubicBezTo>
                    <a:pt x="384" y="394"/>
                    <a:pt x="384" y="394"/>
                    <a:pt x="384" y="394"/>
                  </a:cubicBezTo>
                  <a:cubicBezTo>
                    <a:pt x="390" y="394"/>
                    <a:pt x="394" y="390"/>
                    <a:pt x="394" y="384"/>
                  </a:cubicBezTo>
                  <a:cubicBezTo>
                    <a:pt x="394" y="266"/>
                    <a:pt x="394" y="266"/>
                    <a:pt x="394" y="266"/>
                  </a:cubicBezTo>
                  <a:cubicBezTo>
                    <a:pt x="400" y="266"/>
                    <a:pt x="405" y="262"/>
                    <a:pt x="405" y="256"/>
                  </a:cubicBezTo>
                  <a:close/>
                  <a:moveTo>
                    <a:pt x="138" y="373"/>
                  </a:moveTo>
                  <a:cubicBezTo>
                    <a:pt x="373" y="373"/>
                    <a:pt x="373" y="373"/>
                    <a:pt x="373" y="373"/>
                  </a:cubicBezTo>
                  <a:cubicBezTo>
                    <a:pt x="373" y="266"/>
                    <a:pt x="373" y="266"/>
                    <a:pt x="373" y="266"/>
                  </a:cubicBezTo>
                  <a:cubicBezTo>
                    <a:pt x="138" y="266"/>
                    <a:pt x="138" y="266"/>
                    <a:pt x="138" y="266"/>
                  </a:cubicBezTo>
                  <a:lnTo>
                    <a:pt x="138" y="373"/>
                  </a:lnTo>
                  <a:close/>
                </a:path>
              </a:pathLst>
            </a:custGeom>
            <a:solidFill>
              <a:srgbClr val="0078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1607311" y="1949563"/>
            <a:ext cx="560638" cy="640267"/>
            <a:chOff x="304932" y="993148"/>
            <a:chExt cx="961200" cy="960736"/>
          </a:xfrm>
        </p:grpSpPr>
        <p:grpSp>
          <p:nvGrpSpPr>
            <p:cNvPr id="22" name="Group 21"/>
            <p:cNvGrpSpPr/>
            <p:nvPr/>
          </p:nvGrpSpPr>
          <p:grpSpPr>
            <a:xfrm>
              <a:off x="304932" y="993148"/>
              <a:ext cx="961200" cy="960736"/>
              <a:chOff x="506959" y="1375921"/>
              <a:chExt cx="1233821" cy="1264363"/>
            </a:xfrm>
            <a:solidFill>
              <a:srgbClr val="C00000"/>
            </a:solidFill>
          </p:grpSpPr>
          <p:sp>
            <p:nvSpPr>
              <p:cNvPr id="25" name="Freeform 24"/>
              <p:cNvSpPr>
                <a:spLocks/>
              </p:cNvSpPr>
              <p:nvPr/>
            </p:nvSpPr>
            <p:spPr bwMode="auto">
              <a:xfrm>
                <a:off x="734679" y="1712785"/>
                <a:ext cx="735711" cy="623872"/>
              </a:xfrm>
              <a:custGeom>
                <a:avLst/>
                <a:gdLst>
                  <a:gd name="T0" fmla="*/ 0 w 1638"/>
                  <a:gd name="T1" fmla="*/ 0 h 1389"/>
                  <a:gd name="T2" fmla="*/ 58 w 1638"/>
                  <a:gd name="T3" fmla="*/ 1299 h 1389"/>
                  <a:gd name="T4" fmla="*/ 1511 w 1638"/>
                  <a:gd name="T5" fmla="*/ 1389 h 1389"/>
                  <a:gd name="T6" fmla="*/ 1537 w 1638"/>
                  <a:gd name="T7" fmla="*/ 1199 h 1389"/>
                  <a:gd name="T8" fmla="*/ 1379 w 1638"/>
                  <a:gd name="T9" fmla="*/ 634 h 1389"/>
                  <a:gd name="T10" fmla="*/ 1638 w 1638"/>
                  <a:gd name="T11" fmla="*/ 534 h 1389"/>
                  <a:gd name="T12" fmla="*/ 1173 w 1638"/>
                  <a:gd name="T13" fmla="*/ 79 h 1389"/>
                  <a:gd name="T14" fmla="*/ 0 w 1638"/>
                  <a:gd name="T15" fmla="*/ 0 h 1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38" h="1389">
                    <a:moveTo>
                      <a:pt x="0" y="0"/>
                    </a:moveTo>
                    <a:lnTo>
                      <a:pt x="58" y="1299"/>
                    </a:lnTo>
                    <a:lnTo>
                      <a:pt x="1511" y="1389"/>
                    </a:lnTo>
                    <a:lnTo>
                      <a:pt x="1537" y="1199"/>
                    </a:lnTo>
                    <a:lnTo>
                      <a:pt x="1379" y="634"/>
                    </a:lnTo>
                    <a:lnTo>
                      <a:pt x="1638" y="534"/>
                    </a:lnTo>
                    <a:lnTo>
                      <a:pt x="1173" y="7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5"/>
              <p:cNvSpPr>
                <a:spLocks/>
              </p:cNvSpPr>
              <p:nvPr/>
            </p:nvSpPr>
            <p:spPr bwMode="auto">
              <a:xfrm>
                <a:off x="734679" y="1712785"/>
                <a:ext cx="735711" cy="623872"/>
              </a:xfrm>
              <a:custGeom>
                <a:avLst/>
                <a:gdLst>
                  <a:gd name="T0" fmla="*/ 0 w 1638"/>
                  <a:gd name="T1" fmla="*/ 0 h 1389"/>
                  <a:gd name="T2" fmla="*/ 58 w 1638"/>
                  <a:gd name="T3" fmla="*/ 1299 h 1389"/>
                  <a:gd name="T4" fmla="*/ 1511 w 1638"/>
                  <a:gd name="T5" fmla="*/ 1389 h 1389"/>
                  <a:gd name="T6" fmla="*/ 1537 w 1638"/>
                  <a:gd name="T7" fmla="*/ 1199 h 1389"/>
                  <a:gd name="T8" fmla="*/ 1379 w 1638"/>
                  <a:gd name="T9" fmla="*/ 634 h 1389"/>
                  <a:gd name="T10" fmla="*/ 1638 w 1638"/>
                  <a:gd name="T11" fmla="*/ 534 h 1389"/>
                  <a:gd name="T12" fmla="*/ 1173 w 1638"/>
                  <a:gd name="T13" fmla="*/ 79 h 1389"/>
                  <a:gd name="T14" fmla="*/ 0 w 1638"/>
                  <a:gd name="T15" fmla="*/ 0 h 1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38" h="1389">
                    <a:moveTo>
                      <a:pt x="0" y="0"/>
                    </a:moveTo>
                    <a:lnTo>
                      <a:pt x="58" y="1299"/>
                    </a:lnTo>
                    <a:lnTo>
                      <a:pt x="1511" y="1389"/>
                    </a:lnTo>
                    <a:lnTo>
                      <a:pt x="1537" y="1199"/>
                    </a:lnTo>
                    <a:lnTo>
                      <a:pt x="1379" y="634"/>
                    </a:lnTo>
                    <a:lnTo>
                      <a:pt x="1638" y="534"/>
                    </a:lnTo>
                    <a:lnTo>
                      <a:pt x="1173" y="79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6"/>
              <p:cNvSpPr>
                <a:spLocks/>
              </p:cNvSpPr>
              <p:nvPr/>
            </p:nvSpPr>
            <p:spPr bwMode="auto">
              <a:xfrm>
                <a:off x="599484" y="2296234"/>
                <a:ext cx="299135" cy="280271"/>
              </a:xfrm>
              <a:custGeom>
                <a:avLst/>
                <a:gdLst>
                  <a:gd name="T0" fmla="*/ 115 w 126"/>
                  <a:gd name="T1" fmla="*/ 118 h 118"/>
                  <a:gd name="T2" fmla="*/ 126 w 126"/>
                  <a:gd name="T3" fmla="*/ 106 h 118"/>
                  <a:gd name="T4" fmla="*/ 66 w 126"/>
                  <a:gd name="T5" fmla="*/ 56 h 118"/>
                  <a:gd name="T6" fmla="*/ 19 w 126"/>
                  <a:gd name="T7" fmla="*/ 0 h 118"/>
                  <a:gd name="T8" fmla="*/ 0 w 126"/>
                  <a:gd name="T9" fmla="*/ 13 h 118"/>
                  <a:gd name="T10" fmla="*/ 51 w 126"/>
                  <a:gd name="T11" fmla="*/ 70 h 118"/>
                  <a:gd name="T12" fmla="*/ 115 w 126"/>
                  <a:gd name="T13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118">
                    <a:moveTo>
                      <a:pt x="115" y="118"/>
                    </a:moveTo>
                    <a:cubicBezTo>
                      <a:pt x="126" y="106"/>
                      <a:pt x="126" y="106"/>
                      <a:pt x="126" y="106"/>
                    </a:cubicBezTo>
                    <a:cubicBezTo>
                      <a:pt x="126" y="106"/>
                      <a:pt x="87" y="78"/>
                      <a:pt x="66" y="56"/>
                    </a:cubicBezTo>
                    <a:cubicBezTo>
                      <a:pt x="43" y="31"/>
                      <a:pt x="19" y="0"/>
                      <a:pt x="19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3"/>
                      <a:pt x="35" y="55"/>
                      <a:pt x="51" y="70"/>
                    </a:cubicBezTo>
                    <a:cubicBezTo>
                      <a:pt x="85" y="104"/>
                      <a:pt x="115" y="118"/>
                      <a:pt x="115" y="1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7"/>
              <p:cNvSpPr>
                <a:spLocks/>
              </p:cNvSpPr>
              <p:nvPr/>
            </p:nvSpPr>
            <p:spPr bwMode="auto">
              <a:xfrm>
                <a:off x="509205" y="2071208"/>
                <a:ext cx="389415" cy="505296"/>
              </a:xfrm>
              <a:custGeom>
                <a:avLst/>
                <a:gdLst>
                  <a:gd name="T0" fmla="*/ 153 w 164"/>
                  <a:gd name="T1" fmla="*/ 213 h 213"/>
                  <a:gd name="T2" fmla="*/ 164 w 164"/>
                  <a:gd name="T3" fmla="*/ 201 h 213"/>
                  <a:gd name="T4" fmla="*/ 82 w 164"/>
                  <a:gd name="T5" fmla="*/ 101 h 213"/>
                  <a:gd name="T6" fmla="*/ 20 w 164"/>
                  <a:gd name="T7" fmla="*/ 0 h 213"/>
                  <a:gd name="T8" fmla="*/ 0 w 164"/>
                  <a:gd name="T9" fmla="*/ 14 h 213"/>
                  <a:gd name="T10" fmla="*/ 52 w 164"/>
                  <a:gd name="T11" fmla="*/ 100 h 213"/>
                  <a:gd name="T12" fmla="*/ 153 w 164"/>
                  <a:gd name="T13" fmla="*/ 213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4" h="213">
                    <a:moveTo>
                      <a:pt x="153" y="213"/>
                    </a:moveTo>
                    <a:cubicBezTo>
                      <a:pt x="164" y="201"/>
                      <a:pt x="164" y="201"/>
                      <a:pt x="164" y="201"/>
                    </a:cubicBezTo>
                    <a:cubicBezTo>
                      <a:pt x="164" y="201"/>
                      <a:pt x="119" y="153"/>
                      <a:pt x="82" y="101"/>
                    </a:cubicBezTo>
                    <a:cubicBezTo>
                      <a:pt x="45" y="51"/>
                      <a:pt x="20" y="0"/>
                      <a:pt x="20" y="0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35" y="77"/>
                      <a:pt x="52" y="100"/>
                    </a:cubicBezTo>
                    <a:cubicBezTo>
                      <a:pt x="102" y="166"/>
                      <a:pt x="153" y="213"/>
                      <a:pt x="153" y="21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8"/>
              <p:cNvSpPr>
                <a:spLocks/>
              </p:cNvSpPr>
              <p:nvPr/>
            </p:nvSpPr>
            <p:spPr bwMode="auto">
              <a:xfrm>
                <a:off x="509205" y="2071208"/>
                <a:ext cx="631059" cy="569076"/>
              </a:xfrm>
              <a:custGeom>
                <a:avLst/>
                <a:gdLst>
                  <a:gd name="T0" fmla="*/ 244 w 266"/>
                  <a:gd name="T1" fmla="*/ 240 h 240"/>
                  <a:gd name="T2" fmla="*/ 266 w 266"/>
                  <a:gd name="T3" fmla="*/ 210 h 240"/>
                  <a:gd name="T4" fmla="*/ 119 w 266"/>
                  <a:gd name="T5" fmla="*/ 101 h 240"/>
                  <a:gd name="T6" fmla="*/ 20 w 266"/>
                  <a:gd name="T7" fmla="*/ 0 h 240"/>
                  <a:gd name="T8" fmla="*/ 0 w 266"/>
                  <a:gd name="T9" fmla="*/ 14 h 240"/>
                  <a:gd name="T10" fmla="*/ 109 w 266"/>
                  <a:gd name="T11" fmla="*/ 139 h 240"/>
                  <a:gd name="T12" fmla="*/ 244 w 266"/>
                  <a:gd name="T13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6" h="240">
                    <a:moveTo>
                      <a:pt x="244" y="240"/>
                    </a:moveTo>
                    <a:cubicBezTo>
                      <a:pt x="266" y="210"/>
                      <a:pt x="266" y="210"/>
                      <a:pt x="266" y="210"/>
                    </a:cubicBezTo>
                    <a:cubicBezTo>
                      <a:pt x="266" y="210"/>
                      <a:pt x="211" y="181"/>
                      <a:pt x="119" y="101"/>
                    </a:cubicBezTo>
                    <a:cubicBezTo>
                      <a:pt x="71" y="60"/>
                      <a:pt x="20" y="0"/>
                      <a:pt x="20" y="0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49" y="80"/>
                      <a:pt x="109" y="139"/>
                    </a:cubicBezTo>
                    <a:cubicBezTo>
                      <a:pt x="178" y="207"/>
                      <a:pt x="244" y="240"/>
                      <a:pt x="244" y="24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9"/>
              <p:cNvSpPr>
                <a:spLocks/>
              </p:cNvSpPr>
              <p:nvPr/>
            </p:nvSpPr>
            <p:spPr bwMode="auto">
              <a:xfrm>
                <a:off x="506959" y="1933319"/>
                <a:ext cx="633305" cy="706965"/>
              </a:xfrm>
              <a:custGeom>
                <a:avLst/>
                <a:gdLst>
                  <a:gd name="T0" fmla="*/ 245 w 267"/>
                  <a:gd name="T1" fmla="*/ 298 h 298"/>
                  <a:gd name="T2" fmla="*/ 267 w 267"/>
                  <a:gd name="T3" fmla="*/ 268 h 298"/>
                  <a:gd name="T4" fmla="*/ 132 w 267"/>
                  <a:gd name="T5" fmla="*/ 125 h 298"/>
                  <a:gd name="T6" fmla="*/ 23 w 267"/>
                  <a:gd name="T7" fmla="*/ 0 h 298"/>
                  <a:gd name="T8" fmla="*/ 0 w 267"/>
                  <a:gd name="T9" fmla="*/ 18 h 298"/>
                  <a:gd name="T10" fmla="*/ 125 w 267"/>
                  <a:gd name="T11" fmla="*/ 178 h 298"/>
                  <a:gd name="T12" fmla="*/ 245 w 267"/>
                  <a:gd name="T13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7" h="298">
                    <a:moveTo>
                      <a:pt x="245" y="298"/>
                    </a:moveTo>
                    <a:cubicBezTo>
                      <a:pt x="267" y="268"/>
                      <a:pt x="267" y="268"/>
                      <a:pt x="267" y="268"/>
                    </a:cubicBezTo>
                    <a:cubicBezTo>
                      <a:pt x="267" y="268"/>
                      <a:pt x="221" y="223"/>
                      <a:pt x="132" y="125"/>
                    </a:cubicBezTo>
                    <a:cubicBezTo>
                      <a:pt x="80" y="68"/>
                      <a:pt x="23" y="0"/>
                      <a:pt x="23" y="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8"/>
                      <a:pt x="49" y="87"/>
                      <a:pt x="125" y="178"/>
                    </a:cubicBezTo>
                    <a:cubicBezTo>
                      <a:pt x="188" y="253"/>
                      <a:pt x="245" y="298"/>
                      <a:pt x="245" y="29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30"/>
              <p:cNvSpPr>
                <a:spLocks/>
              </p:cNvSpPr>
              <p:nvPr/>
            </p:nvSpPr>
            <p:spPr bwMode="auto">
              <a:xfrm>
                <a:off x="506959" y="1933319"/>
                <a:ext cx="790059" cy="673728"/>
              </a:xfrm>
              <a:custGeom>
                <a:avLst/>
                <a:gdLst>
                  <a:gd name="T0" fmla="*/ 313 w 333"/>
                  <a:gd name="T1" fmla="*/ 284 h 284"/>
                  <a:gd name="T2" fmla="*/ 333 w 333"/>
                  <a:gd name="T3" fmla="*/ 258 h 284"/>
                  <a:gd name="T4" fmla="*/ 148 w 333"/>
                  <a:gd name="T5" fmla="*/ 123 h 284"/>
                  <a:gd name="T6" fmla="*/ 23 w 333"/>
                  <a:gd name="T7" fmla="*/ 0 h 284"/>
                  <a:gd name="T8" fmla="*/ 0 w 333"/>
                  <a:gd name="T9" fmla="*/ 18 h 284"/>
                  <a:gd name="T10" fmla="*/ 146 w 333"/>
                  <a:gd name="T11" fmla="*/ 167 h 284"/>
                  <a:gd name="T12" fmla="*/ 313 w 333"/>
                  <a:gd name="T13" fmla="*/ 284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3" h="284">
                    <a:moveTo>
                      <a:pt x="313" y="284"/>
                    </a:moveTo>
                    <a:cubicBezTo>
                      <a:pt x="333" y="258"/>
                      <a:pt x="333" y="258"/>
                      <a:pt x="333" y="258"/>
                    </a:cubicBezTo>
                    <a:cubicBezTo>
                      <a:pt x="333" y="258"/>
                      <a:pt x="230" y="195"/>
                      <a:pt x="148" y="123"/>
                    </a:cubicBezTo>
                    <a:cubicBezTo>
                      <a:pt x="91" y="72"/>
                      <a:pt x="23" y="0"/>
                      <a:pt x="23" y="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8"/>
                      <a:pt x="56" y="90"/>
                      <a:pt x="146" y="167"/>
                    </a:cubicBezTo>
                    <a:cubicBezTo>
                      <a:pt x="213" y="223"/>
                      <a:pt x="313" y="284"/>
                      <a:pt x="313" y="28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31"/>
              <p:cNvSpPr>
                <a:spLocks/>
              </p:cNvSpPr>
              <p:nvPr/>
            </p:nvSpPr>
            <p:spPr bwMode="auto">
              <a:xfrm>
                <a:off x="519086" y="1764887"/>
                <a:ext cx="777932" cy="842160"/>
              </a:xfrm>
              <a:custGeom>
                <a:avLst/>
                <a:gdLst>
                  <a:gd name="T0" fmla="*/ 308 w 328"/>
                  <a:gd name="T1" fmla="*/ 355 h 355"/>
                  <a:gd name="T2" fmla="*/ 328 w 328"/>
                  <a:gd name="T3" fmla="*/ 329 h 355"/>
                  <a:gd name="T4" fmla="*/ 165 w 328"/>
                  <a:gd name="T5" fmla="*/ 164 h 355"/>
                  <a:gd name="T6" fmla="*/ 36 w 328"/>
                  <a:gd name="T7" fmla="*/ 0 h 355"/>
                  <a:gd name="T8" fmla="*/ 0 w 328"/>
                  <a:gd name="T9" fmla="*/ 28 h 355"/>
                  <a:gd name="T10" fmla="*/ 150 w 328"/>
                  <a:gd name="T11" fmla="*/ 210 h 355"/>
                  <a:gd name="T12" fmla="*/ 308 w 328"/>
                  <a:gd name="T13" fmla="*/ 355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8" h="355">
                    <a:moveTo>
                      <a:pt x="308" y="355"/>
                    </a:moveTo>
                    <a:cubicBezTo>
                      <a:pt x="328" y="329"/>
                      <a:pt x="328" y="329"/>
                      <a:pt x="328" y="329"/>
                    </a:cubicBezTo>
                    <a:cubicBezTo>
                      <a:pt x="328" y="329"/>
                      <a:pt x="257" y="264"/>
                      <a:pt x="165" y="164"/>
                    </a:cubicBezTo>
                    <a:cubicBezTo>
                      <a:pt x="103" y="97"/>
                      <a:pt x="36" y="0"/>
                      <a:pt x="36" y="0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69" y="124"/>
                      <a:pt x="150" y="210"/>
                    </a:cubicBezTo>
                    <a:cubicBezTo>
                      <a:pt x="218" y="282"/>
                      <a:pt x="308" y="355"/>
                      <a:pt x="308" y="35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32"/>
              <p:cNvSpPr>
                <a:spLocks/>
              </p:cNvSpPr>
              <p:nvPr/>
            </p:nvSpPr>
            <p:spPr bwMode="auto">
              <a:xfrm>
                <a:off x="519086" y="1764887"/>
                <a:ext cx="884830" cy="813864"/>
              </a:xfrm>
              <a:custGeom>
                <a:avLst/>
                <a:gdLst>
                  <a:gd name="T0" fmla="*/ 356 w 373"/>
                  <a:gd name="T1" fmla="*/ 343 h 343"/>
                  <a:gd name="T2" fmla="*/ 373 w 373"/>
                  <a:gd name="T3" fmla="*/ 314 h 343"/>
                  <a:gd name="T4" fmla="*/ 176 w 373"/>
                  <a:gd name="T5" fmla="*/ 153 h 343"/>
                  <a:gd name="T6" fmla="*/ 36 w 373"/>
                  <a:gd name="T7" fmla="*/ 0 h 343"/>
                  <a:gd name="T8" fmla="*/ 0 w 373"/>
                  <a:gd name="T9" fmla="*/ 28 h 343"/>
                  <a:gd name="T10" fmla="*/ 156 w 373"/>
                  <a:gd name="T11" fmla="*/ 196 h 343"/>
                  <a:gd name="T12" fmla="*/ 356 w 373"/>
                  <a:gd name="T13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3" h="343">
                    <a:moveTo>
                      <a:pt x="356" y="343"/>
                    </a:moveTo>
                    <a:cubicBezTo>
                      <a:pt x="373" y="314"/>
                      <a:pt x="373" y="314"/>
                      <a:pt x="373" y="314"/>
                    </a:cubicBezTo>
                    <a:cubicBezTo>
                      <a:pt x="373" y="314"/>
                      <a:pt x="276" y="254"/>
                      <a:pt x="176" y="153"/>
                    </a:cubicBezTo>
                    <a:cubicBezTo>
                      <a:pt x="112" y="89"/>
                      <a:pt x="36" y="0"/>
                      <a:pt x="36" y="0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74" y="112"/>
                      <a:pt x="156" y="196"/>
                    </a:cubicBezTo>
                    <a:cubicBezTo>
                      <a:pt x="248" y="290"/>
                      <a:pt x="356" y="343"/>
                      <a:pt x="356" y="34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33"/>
              <p:cNvSpPr>
                <a:spLocks/>
              </p:cNvSpPr>
              <p:nvPr/>
            </p:nvSpPr>
            <p:spPr bwMode="auto">
              <a:xfrm>
                <a:off x="561756" y="1649005"/>
                <a:ext cx="842160" cy="929745"/>
              </a:xfrm>
              <a:custGeom>
                <a:avLst/>
                <a:gdLst>
                  <a:gd name="T0" fmla="*/ 338 w 355"/>
                  <a:gd name="T1" fmla="*/ 392 h 392"/>
                  <a:gd name="T2" fmla="*/ 355 w 355"/>
                  <a:gd name="T3" fmla="*/ 363 h 392"/>
                  <a:gd name="T4" fmla="*/ 164 w 355"/>
                  <a:gd name="T5" fmla="*/ 181 h 392"/>
                  <a:gd name="T6" fmla="*/ 26 w 355"/>
                  <a:gd name="T7" fmla="*/ 0 h 392"/>
                  <a:gd name="T8" fmla="*/ 0 w 355"/>
                  <a:gd name="T9" fmla="*/ 20 h 392"/>
                  <a:gd name="T10" fmla="*/ 146 w 355"/>
                  <a:gd name="T11" fmla="*/ 215 h 392"/>
                  <a:gd name="T12" fmla="*/ 338 w 355"/>
                  <a:gd name="T13" fmla="*/ 392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5" h="392">
                    <a:moveTo>
                      <a:pt x="338" y="392"/>
                    </a:moveTo>
                    <a:cubicBezTo>
                      <a:pt x="355" y="363"/>
                      <a:pt x="355" y="363"/>
                      <a:pt x="355" y="363"/>
                    </a:cubicBezTo>
                    <a:cubicBezTo>
                      <a:pt x="355" y="363"/>
                      <a:pt x="262" y="285"/>
                      <a:pt x="164" y="181"/>
                    </a:cubicBezTo>
                    <a:cubicBezTo>
                      <a:pt x="98" y="110"/>
                      <a:pt x="26" y="0"/>
                      <a:pt x="26" y="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68" y="126"/>
                      <a:pt x="146" y="215"/>
                    </a:cubicBezTo>
                    <a:cubicBezTo>
                      <a:pt x="236" y="317"/>
                      <a:pt x="338" y="392"/>
                      <a:pt x="338" y="39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34"/>
              <p:cNvSpPr>
                <a:spLocks/>
              </p:cNvSpPr>
              <p:nvPr/>
            </p:nvSpPr>
            <p:spPr bwMode="auto">
              <a:xfrm>
                <a:off x="561756" y="1649005"/>
                <a:ext cx="996220" cy="846652"/>
              </a:xfrm>
              <a:custGeom>
                <a:avLst/>
                <a:gdLst>
                  <a:gd name="T0" fmla="*/ 404 w 420"/>
                  <a:gd name="T1" fmla="*/ 357 h 357"/>
                  <a:gd name="T2" fmla="*/ 420 w 420"/>
                  <a:gd name="T3" fmla="*/ 328 h 357"/>
                  <a:gd name="T4" fmla="*/ 190 w 420"/>
                  <a:gd name="T5" fmla="*/ 164 h 357"/>
                  <a:gd name="T6" fmla="*/ 26 w 420"/>
                  <a:gd name="T7" fmla="*/ 0 h 357"/>
                  <a:gd name="T8" fmla="*/ 0 w 420"/>
                  <a:gd name="T9" fmla="*/ 20 h 357"/>
                  <a:gd name="T10" fmla="*/ 176 w 420"/>
                  <a:gd name="T11" fmla="*/ 207 h 357"/>
                  <a:gd name="T12" fmla="*/ 404 w 420"/>
                  <a:gd name="T13" fmla="*/ 357 h 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357">
                    <a:moveTo>
                      <a:pt x="404" y="357"/>
                    </a:moveTo>
                    <a:cubicBezTo>
                      <a:pt x="420" y="328"/>
                      <a:pt x="420" y="328"/>
                      <a:pt x="420" y="328"/>
                    </a:cubicBezTo>
                    <a:cubicBezTo>
                      <a:pt x="420" y="328"/>
                      <a:pt x="296" y="259"/>
                      <a:pt x="190" y="164"/>
                    </a:cubicBezTo>
                    <a:cubicBezTo>
                      <a:pt x="114" y="95"/>
                      <a:pt x="26" y="0"/>
                      <a:pt x="26" y="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83" y="120"/>
                      <a:pt x="176" y="207"/>
                    </a:cubicBezTo>
                    <a:cubicBezTo>
                      <a:pt x="276" y="300"/>
                      <a:pt x="404" y="357"/>
                      <a:pt x="404" y="35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35"/>
              <p:cNvSpPr>
                <a:spLocks/>
              </p:cNvSpPr>
              <p:nvPr/>
            </p:nvSpPr>
            <p:spPr bwMode="auto">
              <a:xfrm>
                <a:off x="623289" y="1570404"/>
                <a:ext cx="934686" cy="925253"/>
              </a:xfrm>
              <a:custGeom>
                <a:avLst/>
                <a:gdLst>
                  <a:gd name="T0" fmla="*/ 378 w 394"/>
                  <a:gd name="T1" fmla="*/ 390 h 390"/>
                  <a:gd name="T2" fmla="*/ 394 w 394"/>
                  <a:gd name="T3" fmla="*/ 361 h 390"/>
                  <a:gd name="T4" fmla="*/ 185 w 394"/>
                  <a:gd name="T5" fmla="*/ 183 h 390"/>
                  <a:gd name="T6" fmla="*/ 20 w 394"/>
                  <a:gd name="T7" fmla="*/ 0 h 390"/>
                  <a:gd name="T8" fmla="*/ 0 w 394"/>
                  <a:gd name="T9" fmla="*/ 16 h 390"/>
                  <a:gd name="T10" fmla="*/ 157 w 394"/>
                  <a:gd name="T11" fmla="*/ 221 h 390"/>
                  <a:gd name="T12" fmla="*/ 378 w 394"/>
                  <a:gd name="T13" fmla="*/ 39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4" h="390">
                    <a:moveTo>
                      <a:pt x="378" y="390"/>
                    </a:moveTo>
                    <a:cubicBezTo>
                      <a:pt x="394" y="361"/>
                      <a:pt x="394" y="361"/>
                      <a:pt x="394" y="361"/>
                    </a:cubicBezTo>
                    <a:cubicBezTo>
                      <a:pt x="394" y="361"/>
                      <a:pt x="287" y="280"/>
                      <a:pt x="185" y="183"/>
                    </a:cubicBezTo>
                    <a:cubicBezTo>
                      <a:pt x="98" y="100"/>
                      <a:pt x="20" y="0"/>
                      <a:pt x="20" y="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66" y="132"/>
                      <a:pt x="157" y="221"/>
                    </a:cubicBezTo>
                    <a:cubicBezTo>
                      <a:pt x="256" y="318"/>
                      <a:pt x="378" y="390"/>
                      <a:pt x="378" y="39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36"/>
              <p:cNvSpPr>
                <a:spLocks/>
              </p:cNvSpPr>
              <p:nvPr/>
            </p:nvSpPr>
            <p:spPr bwMode="auto">
              <a:xfrm>
                <a:off x="623289" y="1570404"/>
                <a:ext cx="910881" cy="868211"/>
              </a:xfrm>
              <a:custGeom>
                <a:avLst/>
                <a:gdLst>
                  <a:gd name="T0" fmla="*/ 371 w 384"/>
                  <a:gd name="T1" fmla="*/ 366 h 366"/>
                  <a:gd name="T2" fmla="*/ 384 w 384"/>
                  <a:gd name="T3" fmla="*/ 344 h 366"/>
                  <a:gd name="T4" fmla="*/ 185 w 384"/>
                  <a:gd name="T5" fmla="*/ 183 h 366"/>
                  <a:gd name="T6" fmla="*/ 20 w 384"/>
                  <a:gd name="T7" fmla="*/ 0 h 366"/>
                  <a:gd name="T8" fmla="*/ 0 w 384"/>
                  <a:gd name="T9" fmla="*/ 16 h 366"/>
                  <a:gd name="T10" fmla="*/ 173 w 384"/>
                  <a:gd name="T11" fmla="*/ 211 h 366"/>
                  <a:gd name="T12" fmla="*/ 371 w 384"/>
                  <a:gd name="T13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4" h="366">
                    <a:moveTo>
                      <a:pt x="371" y="366"/>
                    </a:moveTo>
                    <a:cubicBezTo>
                      <a:pt x="384" y="344"/>
                      <a:pt x="384" y="344"/>
                      <a:pt x="384" y="344"/>
                    </a:cubicBezTo>
                    <a:cubicBezTo>
                      <a:pt x="384" y="344"/>
                      <a:pt x="287" y="280"/>
                      <a:pt x="185" y="183"/>
                    </a:cubicBezTo>
                    <a:cubicBezTo>
                      <a:pt x="98" y="100"/>
                      <a:pt x="20" y="0"/>
                      <a:pt x="20" y="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82" y="122"/>
                      <a:pt x="173" y="211"/>
                    </a:cubicBezTo>
                    <a:cubicBezTo>
                      <a:pt x="272" y="308"/>
                      <a:pt x="371" y="366"/>
                      <a:pt x="371" y="36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37"/>
              <p:cNvSpPr>
                <a:spLocks/>
              </p:cNvSpPr>
              <p:nvPr/>
            </p:nvSpPr>
            <p:spPr bwMode="auto">
              <a:xfrm>
                <a:off x="704137" y="1529980"/>
                <a:ext cx="830033" cy="908635"/>
              </a:xfrm>
              <a:custGeom>
                <a:avLst/>
                <a:gdLst>
                  <a:gd name="T0" fmla="*/ 337 w 350"/>
                  <a:gd name="T1" fmla="*/ 383 h 383"/>
                  <a:gd name="T2" fmla="*/ 350 w 350"/>
                  <a:gd name="T3" fmla="*/ 361 h 383"/>
                  <a:gd name="T4" fmla="*/ 160 w 350"/>
                  <a:gd name="T5" fmla="*/ 180 h 383"/>
                  <a:gd name="T6" fmla="*/ 21 w 350"/>
                  <a:gd name="T7" fmla="*/ 0 h 383"/>
                  <a:gd name="T8" fmla="*/ 0 w 350"/>
                  <a:gd name="T9" fmla="*/ 17 h 383"/>
                  <a:gd name="T10" fmla="*/ 157 w 350"/>
                  <a:gd name="T11" fmla="*/ 222 h 383"/>
                  <a:gd name="T12" fmla="*/ 337 w 350"/>
                  <a:gd name="T13" fmla="*/ 383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0" h="383">
                    <a:moveTo>
                      <a:pt x="337" y="383"/>
                    </a:moveTo>
                    <a:cubicBezTo>
                      <a:pt x="350" y="361"/>
                      <a:pt x="350" y="361"/>
                      <a:pt x="350" y="361"/>
                    </a:cubicBezTo>
                    <a:cubicBezTo>
                      <a:pt x="350" y="361"/>
                      <a:pt x="258" y="280"/>
                      <a:pt x="160" y="180"/>
                    </a:cubicBezTo>
                    <a:cubicBezTo>
                      <a:pt x="75" y="95"/>
                      <a:pt x="21" y="0"/>
                      <a:pt x="21" y="0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7"/>
                      <a:pt x="67" y="133"/>
                      <a:pt x="157" y="222"/>
                    </a:cubicBezTo>
                    <a:cubicBezTo>
                      <a:pt x="256" y="320"/>
                      <a:pt x="337" y="383"/>
                      <a:pt x="337" y="38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38"/>
              <p:cNvSpPr>
                <a:spLocks/>
              </p:cNvSpPr>
              <p:nvPr/>
            </p:nvSpPr>
            <p:spPr bwMode="auto">
              <a:xfrm>
                <a:off x="704137" y="1529980"/>
                <a:ext cx="936931" cy="842160"/>
              </a:xfrm>
              <a:custGeom>
                <a:avLst/>
                <a:gdLst>
                  <a:gd name="T0" fmla="*/ 377 w 395"/>
                  <a:gd name="T1" fmla="*/ 355 h 355"/>
                  <a:gd name="T2" fmla="*/ 395 w 395"/>
                  <a:gd name="T3" fmla="*/ 325 h 355"/>
                  <a:gd name="T4" fmla="*/ 190 w 395"/>
                  <a:gd name="T5" fmla="*/ 163 h 355"/>
                  <a:gd name="T6" fmla="*/ 21 w 395"/>
                  <a:gd name="T7" fmla="*/ 0 h 355"/>
                  <a:gd name="T8" fmla="*/ 0 w 395"/>
                  <a:gd name="T9" fmla="*/ 17 h 355"/>
                  <a:gd name="T10" fmla="*/ 180 w 395"/>
                  <a:gd name="T11" fmla="*/ 203 h 355"/>
                  <a:gd name="T12" fmla="*/ 377 w 395"/>
                  <a:gd name="T13" fmla="*/ 355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5" h="355">
                    <a:moveTo>
                      <a:pt x="377" y="355"/>
                    </a:moveTo>
                    <a:cubicBezTo>
                      <a:pt x="395" y="325"/>
                      <a:pt x="395" y="325"/>
                      <a:pt x="395" y="325"/>
                    </a:cubicBezTo>
                    <a:cubicBezTo>
                      <a:pt x="395" y="325"/>
                      <a:pt x="295" y="256"/>
                      <a:pt x="190" y="163"/>
                    </a:cubicBezTo>
                    <a:cubicBezTo>
                      <a:pt x="93" y="77"/>
                      <a:pt x="21" y="0"/>
                      <a:pt x="21" y="0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7"/>
                      <a:pt x="86" y="116"/>
                      <a:pt x="180" y="203"/>
                    </a:cubicBezTo>
                    <a:cubicBezTo>
                      <a:pt x="281" y="298"/>
                      <a:pt x="377" y="355"/>
                      <a:pt x="377" y="35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39"/>
              <p:cNvSpPr>
                <a:spLocks/>
              </p:cNvSpPr>
              <p:nvPr/>
            </p:nvSpPr>
            <p:spPr bwMode="auto">
              <a:xfrm>
                <a:off x="723001" y="1463955"/>
                <a:ext cx="918067" cy="908185"/>
              </a:xfrm>
              <a:custGeom>
                <a:avLst/>
                <a:gdLst>
                  <a:gd name="T0" fmla="*/ 369 w 387"/>
                  <a:gd name="T1" fmla="*/ 383 h 383"/>
                  <a:gd name="T2" fmla="*/ 387 w 387"/>
                  <a:gd name="T3" fmla="*/ 353 h 383"/>
                  <a:gd name="T4" fmla="*/ 192 w 387"/>
                  <a:gd name="T5" fmla="*/ 188 h 383"/>
                  <a:gd name="T6" fmla="*/ 30 w 387"/>
                  <a:gd name="T7" fmla="*/ 0 h 383"/>
                  <a:gd name="T8" fmla="*/ 0 w 387"/>
                  <a:gd name="T9" fmla="*/ 25 h 383"/>
                  <a:gd name="T10" fmla="*/ 167 w 387"/>
                  <a:gd name="T11" fmla="*/ 214 h 383"/>
                  <a:gd name="T12" fmla="*/ 369 w 387"/>
                  <a:gd name="T13" fmla="*/ 383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7" h="383">
                    <a:moveTo>
                      <a:pt x="369" y="383"/>
                    </a:moveTo>
                    <a:cubicBezTo>
                      <a:pt x="387" y="353"/>
                      <a:pt x="387" y="353"/>
                      <a:pt x="387" y="353"/>
                    </a:cubicBezTo>
                    <a:cubicBezTo>
                      <a:pt x="387" y="353"/>
                      <a:pt x="295" y="285"/>
                      <a:pt x="192" y="188"/>
                    </a:cubicBezTo>
                    <a:cubicBezTo>
                      <a:pt x="105" y="105"/>
                      <a:pt x="30" y="0"/>
                      <a:pt x="30" y="0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77" y="124"/>
                      <a:pt x="167" y="214"/>
                    </a:cubicBezTo>
                    <a:cubicBezTo>
                      <a:pt x="266" y="313"/>
                      <a:pt x="369" y="383"/>
                      <a:pt x="369" y="38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40"/>
              <p:cNvSpPr>
                <a:spLocks/>
              </p:cNvSpPr>
              <p:nvPr/>
            </p:nvSpPr>
            <p:spPr bwMode="auto">
              <a:xfrm>
                <a:off x="860442" y="1416345"/>
                <a:ext cx="740203" cy="837219"/>
              </a:xfrm>
              <a:custGeom>
                <a:avLst/>
                <a:gdLst>
                  <a:gd name="T0" fmla="*/ 282 w 312"/>
                  <a:gd name="T1" fmla="*/ 353 h 353"/>
                  <a:gd name="T2" fmla="*/ 312 w 312"/>
                  <a:gd name="T3" fmla="*/ 318 h 353"/>
                  <a:gd name="T4" fmla="*/ 150 w 312"/>
                  <a:gd name="T5" fmla="*/ 177 h 353"/>
                  <a:gd name="T6" fmla="*/ 30 w 312"/>
                  <a:gd name="T7" fmla="*/ 0 h 353"/>
                  <a:gd name="T8" fmla="*/ 0 w 312"/>
                  <a:gd name="T9" fmla="*/ 24 h 353"/>
                  <a:gd name="T10" fmla="*/ 123 w 312"/>
                  <a:gd name="T11" fmla="*/ 204 h 353"/>
                  <a:gd name="T12" fmla="*/ 282 w 312"/>
                  <a:gd name="T13" fmla="*/ 353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2" h="353">
                    <a:moveTo>
                      <a:pt x="282" y="353"/>
                    </a:moveTo>
                    <a:cubicBezTo>
                      <a:pt x="312" y="318"/>
                      <a:pt x="312" y="318"/>
                      <a:pt x="312" y="318"/>
                    </a:cubicBezTo>
                    <a:cubicBezTo>
                      <a:pt x="312" y="318"/>
                      <a:pt x="232" y="255"/>
                      <a:pt x="150" y="177"/>
                    </a:cubicBezTo>
                    <a:cubicBezTo>
                      <a:pt x="92" y="121"/>
                      <a:pt x="30" y="0"/>
                      <a:pt x="30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37" y="109"/>
                      <a:pt x="123" y="204"/>
                    </a:cubicBezTo>
                    <a:cubicBezTo>
                      <a:pt x="217" y="307"/>
                      <a:pt x="282" y="353"/>
                      <a:pt x="282" y="35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41"/>
              <p:cNvSpPr>
                <a:spLocks/>
              </p:cNvSpPr>
              <p:nvPr/>
            </p:nvSpPr>
            <p:spPr bwMode="auto">
              <a:xfrm>
                <a:off x="860442" y="1416345"/>
                <a:ext cx="877643" cy="782872"/>
              </a:xfrm>
              <a:custGeom>
                <a:avLst/>
                <a:gdLst>
                  <a:gd name="T0" fmla="*/ 347 w 370"/>
                  <a:gd name="T1" fmla="*/ 330 h 330"/>
                  <a:gd name="T2" fmla="*/ 370 w 370"/>
                  <a:gd name="T3" fmla="*/ 300 h 330"/>
                  <a:gd name="T4" fmla="*/ 181 w 370"/>
                  <a:gd name="T5" fmla="*/ 147 h 330"/>
                  <a:gd name="T6" fmla="*/ 30 w 370"/>
                  <a:gd name="T7" fmla="*/ 0 h 330"/>
                  <a:gd name="T8" fmla="*/ 0 w 370"/>
                  <a:gd name="T9" fmla="*/ 24 h 330"/>
                  <a:gd name="T10" fmla="*/ 155 w 370"/>
                  <a:gd name="T11" fmla="*/ 177 h 330"/>
                  <a:gd name="T12" fmla="*/ 347 w 370"/>
                  <a:gd name="T13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0" h="330">
                    <a:moveTo>
                      <a:pt x="347" y="330"/>
                    </a:moveTo>
                    <a:cubicBezTo>
                      <a:pt x="370" y="300"/>
                      <a:pt x="370" y="300"/>
                      <a:pt x="370" y="300"/>
                    </a:cubicBezTo>
                    <a:cubicBezTo>
                      <a:pt x="370" y="300"/>
                      <a:pt x="284" y="238"/>
                      <a:pt x="181" y="147"/>
                    </a:cubicBezTo>
                    <a:cubicBezTo>
                      <a:pt x="76" y="54"/>
                      <a:pt x="30" y="0"/>
                      <a:pt x="30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55" y="86"/>
                      <a:pt x="155" y="177"/>
                    </a:cubicBezTo>
                    <a:cubicBezTo>
                      <a:pt x="255" y="268"/>
                      <a:pt x="347" y="330"/>
                      <a:pt x="347" y="33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42"/>
              <p:cNvSpPr>
                <a:spLocks/>
              </p:cNvSpPr>
              <p:nvPr/>
            </p:nvSpPr>
            <p:spPr bwMode="auto">
              <a:xfrm>
                <a:off x="957908" y="1375921"/>
                <a:ext cx="780177" cy="823296"/>
              </a:xfrm>
              <a:custGeom>
                <a:avLst/>
                <a:gdLst>
                  <a:gd name="T0" fmla="*/ 306 w 329"/>
                  <a:gd name="T1" fmla="*/ 347 h 347"/>
                  <a:gd name="T2" fmla="*/ 329 w 329"/>
                  <a:gd name="T3" fmla="*/ 317 h 347"/>
                  <a:gd name="T4" fmla="*/ 144 w 329"/>
                  <a:gd name="T5" fmla="*/ 155 h 347"/>
                  <a:gd name="T6" fmla="*/ 31 w 329"/>
                  <a:gd name="T7" fmla="*/ 0 h 347"/>
                  <a:gd name="T8" fmla="*/ 0 w 329"/>
                  <a:gd name="T9" fmla="*/ 29 h 347"/>
                  <a:gd name="T10" fmla="*/ 129 w 329"/>
                  <a:gd name="T11" fmla="*/ 196 h 347"/>
                  <a:gd name="T12" fmla="*/ 306 w 329"/>
                  <a:gd name="T13" fmla="*/ 347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9" h="347">
                    <a:moveTo>
                      <a:pt x="306" y="347"/>
                    </a:moveTo>
                    <a:cubicBezTo>
                      <a:pt x="329" y="317"/>
                      <a:pt x="329" y="317"/>
                      <a:pt x="329" y="317"/>
                    </a:cubicBezTo>
                    <a:cubicBezTo>
                      <a:pt x="329" y="317"/>
                      <a:pt x="237" y="256"/>
                      <a:pt x="144" y="155"/>
                    </a:cubicBezTo>
                    <a:cubicBezTo>
                      <a:pt x="60" y="65"/>
                      <a:pt x="31" y="0"/>
                      <a:pt x="31" y="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47" y="111"/>
                      <a:pt x="129" y="196"/>
                    </a:cubicBezTo>
                    <a:cubicBezTo>
                      <a:pt x="223" y="294"/>
                      <a:pt x="306" y="347"/>
                      <a:pt x="306" y="34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43"/>
              <p:cNvSpPr>
                <a:spLocks/>
              </p:cNvSpPr>
              <p:nvPr/>
            </p:nvSpPr>
            <p:spPr bwMode="auto">
              <a:xfrm>
                <a:off x="957908" y="1375921"/>
                <a:ext cx="775686" cy="680914"/>
              </a:xfrm>
              <a:custGeom>
                <a:avLst/>
                <a:gdLst>
                  <a:gd name="T0" fmla="*/ 309 w 327"/>
                  <a:gd name="T1" fmla="*/ 287 h 287"/>
                  <a:gd name="T2" fmla="*/ 327 w 327"/>
                  <a:gd name="T3" fmla="*/ 261 h 287"/>
                  <a:gd name="T4" fmla="*/ 162 w 327"/>
                  <a:gd name="T5" fmla="*/ 134 h 287"/>
                  <a:gd name="T6" fmla="*/ 31 w 327"/>
                  <a:gd name="T7" fmla="*/ 0 h 287"/>
                  <a:gd name="T8" fmla="*/ 0 w 327"/>
                  <a:gd name="T9" fmla="*/ 29 h 287"/>
                  <a:gd name="T10" fmla="*/ 152 w 327"/>
                  <a:gd name="T11" fmla="*/ 170 h 287"/>
                  <a:gd name="T12" fmla="*/ 309 w 327"/>
                  <a:gd name="T13" fmla="*/ 287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7" h="287">
                    <a:moveTo>
                      <a:pt x="309" y="287"/>
                    </a:moveTo>
                    <a:cubicBezTo>
                      <a:pt x="327" y="261"/>
                      <a:pt x="327" y="261"/>
                      <a:pt x="327" y="261"/>
                    </a:cubicBezTo>
                    <a:cubicBezTo>
                      <a:pt x="327" y="261"/>
                      <a:pt x="248" y="211"/>
                      <a:pt x="162" y="134"/>
                    </a:cubicBezTo>
                    <a:cubicBezTo>
                      <a:pt x="81" y="62"/>
                      <a:pt x="31" y="0"/>
                      <a:pt x="31" y="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58" y="90"/>
                      <a:pt x="152" y="170"/>
                    </a:cubicBezTo>
                    <a:cubicBezTo>
                      <a:pt x="238" y="243"/>
                      <a:pt x="309" y="287"/>
                      <a:pt x="309" y="28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44"/>
              <p:cNvSpPr>
                <a:spLocks/>
              </p:cNvSpPr>
              <p:nvPr/>
            </p:nvSpPr>
            <p:spPr bwMode="auto">
              <a:xfrm>
                <a:off x="1041001" y="1380862"/>
                <a:ext cx="692593" cy="675974"/>
              </a:xfrm>
              <a:custGeom>
                <a:avLst/>
                <a:gdLst>
                  <a:gd name="T0" fmla="*/ 274 w 292"/>
                  <a:gd name="T1" fmla="*/ 285 h 285"/>
                  <a:gd name="T2" fmla="*/ 292 w 292"/>
                  <a:gd name="T3" fmla="*/ 259 h 285"/>
                  <a:gd name="T4" fmla="*/ 146 w 292"/>
                  <a:gd name="T5" fmla="*/ 135 h 285"/>
                  <a:gd name="T6" fmla="*/ 25 w 292"/>
                  <a:gd name="T7" fmla="*/ 0 h 285"/>
                  <a:gd name="T8" fmla="*/ 0 w 292"/>
                  <a:gd name="T9" fmla="*/ 24 h 285"/>
                  <a:gd name="T10" fmla="*/ 121 w 292"/>
                  <a:gd name="T11" fmla="*/ 155 h 285"/>
                  <a:gd name="T12" fmla="*/ 274 w 292"/>
                  <a:gd name="T13" fmla="*/ 28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2" h="285">
                    <a:moveTo>
                      <a:pt x="274" y="285"/>
                    </a:moveTo>
                    <a:cubicBezTo>
                      <a:pt x="292" y="259"/>
                      <a:pt x="292" y="259"/>
                      <a:pt x="292" y="259"/>
                    </a:cubicBezTo>
                    <a:cubicBezTo>
                      <a:pt x="292" y="259"/>
                      <a:pt x="229" y="215"/>
                      <a:pt x="146" y="135"/>
                    </a:cubicBezTo>
                    <a:cubicBezTo>
                      <a:pt x="70" y="62"/>
                      <a:pt x="25" y="0"/>
                      <a:pt x="25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35" y="67"/>
                      <a:pt x="121" y="155"/>
                    </a:cubicBezTo>
                    <a:cubicBezTo>
                      <a:pt x="199" y="234"/>
                      <a:pt x="274" y="285"/>
                      <a:pt x="274" y="28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45"/>
              <p:cNvSpPr>
                <a:spLocks/>
              </p:cNvSpPr>
              <p:nvPr/>
            </p:nvSpPr>
            <p:spPr bwMode="auto">
              <a:xfrm>
                <a:off x="1041001" y="1380862"/>
                <a:ext cx="699779" cy="571771"/>
              </a:xfrm>
              <a:custGeom>
                <a:avLst/>
                <a:gdLst>
                  <a:gd name="T0" fmla="*/ 282 w 295"/>
                  <a:gd name="T1" fmla="*/ 241 h 241"/>
                  <a:gd name="T2" fmla="*/ 295 w 295"/>
                  <a:gd name="T3" fmla="*/ 219 h 241"/>
                  <a:gd name="T4" fmla="*/ 164 w 295"/>
                  <a:gd name="T5" fmla="*/ 128 h 241"/>
                  <a:gd name="T6" fmla="*/ 25 w 295"/>
                  <a:gd name="T7" fmla="*/ 0 h 241"/>
                  <a:gd name="T8" fmla="*/ 0 w 295"/>
                  <a:gd name="T9" fmla="*/ 24 h 241"/>
                  <a:gd name="T10" fmla="*/ 142 w 295"/>
                  <a:gd name="T11" fmla="*/ 148 h 241"/>
                  <a:gd name="T12" fmla="*/ 282 w 295"/>
                  <a:gd name="T13" fmla="*/ 241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5" h="241">
                    <a:moveTo>
                      <a:pt x="282" y="241"/>
                    </a:moveTo>
                    <a:cubicBezTo>
                      <a:pt x="295" y="219"/>
                      <a:pt x="295" y="219"/>
                      <a:pt x="295" y="219"/>
                    </a:cubicBezTo>
                    <a:cubicBezTo>
                      <a:pt x="295" y="219"/>
                      <a:pt x="242" y="190"/>
                      <a:pt x="164" y="128"/>
                    </a:cubicBezTo>
                    <a:cubicBezTo>
                      <a:pt x="72" y="56"/>
                      <a:pt x="25" y="0"/>
                      <a:pt x="25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44" y="68"/>
                      <a:pt x="142" y="148"/>
                    </a:cubicBezTo>
                    <a:cubicBezTo>
                      <a:pt x="211" y="205"/>
                      <a:pt x="282" y="241"/>
                      <a:pt x="282" y="24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46"/>
              <p:cNvSpPr>
                <a:spLocks/>
              </p:cNvSpPr>
              <p:nvPr/>
            </p:nvSpPr>
            <p:spPr bwMode="auto">
              <a:xfrm>
                <a:off x="1206738" y="1392540"/>
                <a:ext cx="534042" cy="560093"/>
              </a:xfrm>
              <a:custGeom>
                <a:avLst/>
                <a:gdLst>
                  <a:gd name="T0" fmla="*/ 212 w 225"/>
                  <a:gd name="T1" fmla="*/ 236 h 236"/>
                  <a:gd name="T2" fmla="*/ 225 w 225"/>
                  <a:gd name="T3" fmla="*/ 214 h 236"/>
                  <a:gd name="T4" fmla="*/ 113 w 225"/>
                  <a:gd name="T5" fmla="*/ 118 h 236"/>
                  <a:gd name="T6" fmla="*/ 25 w 225"/>
                  <a:gd name="T7" fmla="*/ 0 h 236"/>
                  <a:gd name="T8" fmla="*/ 0 w 225"/>
                  <a:gd name="T9" fmla="*/ 24 h 236"/>
                  <a:gd name="T10" fmla="*/ 87 w 225"/>
                  <a:gd name="T11" fmla="*/ 138 h 236"/>
                  <a:gd name="T12" fmla="*/ 212 w 225"/>
                  <a:gd name="T13" fmla="*/ 236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5" h="236">
                    <a:moveTo>
                      <a:pt x="212" y="236"/>
                    </a:moveTo>
                    <a:cubicBezTo>
                      <a:pt x="225" y="214"/>
                      <a:pt x="225" y="214"/>
                      <a:pt x="225" y="214"/>
                    </a:cubicBezTo>
                    <a:cubicBezTo>
                      <a:pt x="225" y="214"/>
                      <a:pt x="184" y="187"/>
                      <a:pt x="113" y="118"/>
                    </a:cubicBezTo>
                    <a:cubicBezTo>
                      <a:pt x="53" y="58"/>
                      <a:pt x="25" y="0"/>
                      <a:pt x="25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26" y="78"/>
                      <a:pt x="87" y="138"/>
                    </a:cubicBezTo>
                    <a:cubicBezTo>
                      <a:pt x="151" y="201"/>
                      <a:pt x="212" y="236"/>
                      <a:pt x="212" y="23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47"/>
              <p:cNvSpPr>
                <a:spLocks/>
              </p:cNvSpPr>
              <p:nvPr/>
            </p:nvSpPr>
            <p:spPr bwMode="auto">
              <a:xfrm>
                <a:off x="1206738" y="1392540"/>
                <a:ext cx="465322" cy="419957"/>
              </a:xfrm>
              <a:custGeom>
                <a:avLst/>
                <a:gdLst>
                  <a:gd name="T0" fmla="*/ 180 w 196"/>
                  <a:gd name="T1" fmla="*/ 177 h 177"/>
                  <a:gd name="T2" fmla="*/ 196 w 196"/>
                  <a:gd name="T3" fmla="*/ 153 h 177"/>
                  <a:gd name="T4" fmla="*/ 111 w 196"/>
                  <a:gd name="T5" fmla="*/ 93 h 177"/>
                  <a:gd name="T6" fmla="*/ 25 w 196"/>
                  <a:gd name="T7" fmla="*/ 0 h 177"/>
                  <a:gd name="T8" fmla="*/ 0 w 196"/>
                  <a:gd name="T9" fmla="*/ 24 h 177"/>
                  <a:gd name="T10" fmla="*/ 86 w 196"/>
                  <a:gd name="T11" fmla="*/ 114 h 177"/>
                  <a:gd name="T12" fmla="*/ 180 w 196"/>
                  <a:gd name="T13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6" h="177">
                    <a:moveTo>
                      <a:pt x="180" y="177"/>
                    </a:moveTo>
                    <a:cubicBezTo>
                      <a:pt x="196" y="153"/>
                      <a:pt x="196" y="153"/>
                      <a:pt x="196" y="153"/>
                    </a:cubicBezTo>
                    <a:cubicBezTo>
                      <a:pt x="196" y="153"/>
                      <a:pt x="152" y="129"/>
                      <a:pt x="111" y="93"/>
                    </a:cubicBezTo>
                    <a:cubicBezTo>
                      <a:pt x="47" y="35"/>
                      <a:pt x="25" y="0"/>
                      <a:pt x="25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22" y="56"/>
                      <a:pt x="86" y="114"/>
                    </a:cubicBezTo>
                    <a:cubicBezTo>
                      <a:pt x="129" y="154"/>
                      <a:pt x="180" y="177"/>
                      <a:pt x="180" y="17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48"/>
              <p:cNvSpPr>
                <a:spLocks/>
              </p:cNvSpPr>
              <p:nvPr/>
            </p:nvSpPr>
            <p:spPr bwMode="auto">
              <a:xfrm>
                <a:off x="1387297" y="1454073"/>
                <a:ext cx="284762" cy="358423"/>
              </a:xfrm>
              <a:custGeom>
                <a:avLst/>
                <a:gdLst>
                  <a:gd name="T0" fmla="*/ 104 w 120"/>
                  <a:gd name="T1" fmla="*/ 151 h 151"/>
                  <a:gd name="T2" fmla="*/ 120 w 120"/>
                  <a:gd name="T3" fmla="*/ 127 h 151"/>
                  <a:gd name="T4" fmla="*/ 52 w 120"/>
                  <a:gd name="T5" fmla="*/ 58 h 151"/>
                  <a:gd name="T6" fmla="*/ 12 w 120"/>
                  <a:gd name="T7" fmla="*/ 0 h 151"/>
                  <a:gd name="T8" fmla="*/ 0 w 120"/>
                  <a:gd name="T9" fmla="*/ 10 h 151"/>
                  <a:gd name="T10" fmla="*/ 57 w 120"/>
                  <a:gd name="T11" fmla="*/ 101 h 151"/>
                  <a:gd name="T12" fmla="*/ 104 w 120"/>
                  <a:gd name="T13" fmla="*/ 151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0" h="151">
                    <a:moveTo>
                      <a:pt x="104" y="151"/>
                    </a:moveTo>
                    <a:cubicBezTo>
                      <a:pt x="120" y="127"/>
                      <a:pt x="120" y="127"/>
                      <a:pt x="120" y="127"/>
                    </a:cubicBezTo>
                    <a:cubicBezTo>
                      <a:pt x="120" y="127"/>
                      <a:pt x="88" y="103"/>
                      <a:pt x="52" y="58"/>
                    </a:cubicBezTo>
                    <a:cubicBezTo>
                      <a:pt x="33" y="35"/>
                      <a:pt x="12" y="0"/>
                      <a:pt x="12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14" y="48"/>
                      <a:pt x="57" y="101"/>
                    </a:cubicBezTo>
                    <a:cubicBezTo>
                      <a:pt x="89" y="139"/>
                      <a:pt x="104" y="151"/>
                      <a:pt x="104" y="1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49"/>
              <p:cNvSpPr>
                <a:spLocks/>
              </p:cNvSpPr>
              <p:nvPr/>
            </p:nvSpPr>
            <p:spPr bwMode="auto">
              <a:xfrm>
                <a:off x="1387297" y="1454073"/>
                <a:ext cx="256017" cy="242093"/>
              </a:xfrm>
              <a:custGeom>
                <a:avLst/>
                <a:gdLst>
                  <a:gd name="T0" fmla="*/ 96 w 108"/>
                  <a:gd name="T1" fmla="*/ 102 h 102"/>
                  <a:gd name="T2" fmla="*/ 108 w 108"/>
                  <a:gd name="T3" fmla="*/ 86 h 102"/>
                  <a:gd name="T4" fmla="*/ 63 w 108"/>
                  <a:gd name="T5" fmla="*/ 47 h 102"/>
                  <a:gd name="T6" fmla="*/ 12 w 108"/>
                  <a:gd name="T7" fmla="*/ 0 h 102"/>
                  <a:gd name="T8" fmla="*/ 0 w 108"/>
                  <a:gd name="T9" fmla="*/ 10 h 102"/>
                  <a:gd name="T10" fmla="*/ 57 w 108"/>
                  <a:gd name="T11" fmla="*/ 70 h 102"/>
                  <a:gd name="T12" fmla="*/ 96 w 108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" h="102">
                    <a:moveTo>
                      <a:pt x="96" y="102"/>
                    </a:moveTo>
                    <a:cubicBezTo>
                      <a:pt x="108" y="86"/>
                      <a:pt x="108" y="86"/>
                      <a:pt x="108" y="86"/>
                    </a:cubicBezTo>
                    <a:cubicBezTo>
                      <a:pt x="108" y="86"/>
                      <a:pt x="93" y="75"/>
                      <a:pt x="63" y="47"/>
                    </a:cubicBezTo>
                    <a:cubicBezTo>
                      <a:pt x="40" y="26"/>
                      <a:pt x="12" y="0"/>
                      <a:pt x="12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21" y="36"/>
                      <a:pt x="57" y="70"/>
                    </a:cubicBezTo>
                    <a:cubicBezTo>
                      <a:pt x="81" y="92"/>
                      <a:pt x="96" y="102"/>
                      <a:pt x="96" y="10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50"/>
              <p:cNvSpPr>
                <a:spLocks/>
              </p:cNvSpPr>
              <p:nvPr/>
            </p:nvSpPr>
            <p:spPr bwMode="auto">
              <a:xfrm>
                <a:off x="599484" y="2305666"/>
                <a:ext cx="273085" cy="270839"/>
              </a:xfrm>
              <a:custGeom>
                <a:avLst/>
                <a:gdLst>
                  <a:gd name="T0" fmla="*/ 13 w 115"/>
                  <a:gd name="T1" fmla="*/ 0 h 114"/>
                  <a:gd name="T2" fmla="*/ 0 w 115"/>
                  <a:gd name="T3" fmla="*/ 9 h 114"/>
                  <a:gd name="T4" fmla="*/ 51 w 115"/>
                  <a:gd name="T5" fmla="*/ 66 h 114"/>
                  <a:gd name="T6" fmla="*/ 115 w 115"/>
                  <a:gd name="T7" fmla="*/ 114 h 114"/>
                  <a:gd name="T8" fmla="*/ 14 w 115"/>
                  <a:gd name="T9" fmla="*/ 1 h 114"/>
                  <a:gd name="T10" fmla="*/ 13 w 115"/>
                  <a:gd name="T11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5" h="114">
                    <a:moveTo>
                      <a:pt x="13" y="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35" y="51"/>
                      <a:pt x="51" y="66"/>
                    </a:cubicBezTo>
                    <a:cubicBezTo>
                      <a:pt x="85" y="100"/>
                      <a:pt x="115" y="114"/>
                      <a:pt x="115" y="114"/>
                    </a:cubicBezTo>
                    <a:cubicBezTo>
                      <a:pt x="115" y="114"/>
                      <a:pt x="64" y="67"/>
                      <a:pt x="14" y="1"/>
                    </a:cubicBezTo>
                    <a:cubicBezTo>
                      <a:pt x="14" y="0"/>
                      <a:pt x="13" y="0"/>
                      <a:pt x="13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51"/>
              <p:cNvSpPr>
                <a:spLocks/>
              </p:cNvSpPr>
              <p:nvPr/>
            </p:nvSpPr>
            <p:spPr bwMode="auto">
              <a:xfrm>
                <a:off x="509205" y="2104446"/>
                <a:ext cx="389415" cy="443313"/>
              </a:xfrm>
              <a:custGeom>
                <a:avLst/>
                <a:gdLst>
                  <a:gd name="T0" fmla="*/ 0 w 164"/>
                  <a:gd name="T1" fmla="*/ 0 h 187"/>
                  <a:gd name="T2" fmla="*/ 51 w 164"/>
                  <a:gd name="T3" fmla="*/ 85 h 187"/>
                  <a:gd name="T4" fmla="*/ 57 w 164"/>
                  <a:gd name="T5" fmla="*/ 81 h 187"/>
                  <a:gd name="T6" fmla="*/ 104 w 164"/>
                  <a:gd name="T7" fmla="*/ 137 h 187"/>
                  <a:gd name="T8" fmla="*/ 164 w 164"/>
                  <a:gd name="T9" fmla="*/ 187 h 187"/>
                  <a:gd name="T10" fmla="*/ 164 w 164"/>
                  <a:gd name="T11" fmla="*/ 187 h 187"/>
                  <a:gd name="T12" fmla="*/ 116 w 164"/>
                  <a:gd name="T13" fmla="*/ 132 h 187"/>
                  <a:gd name="T14" fmla="*/ 109 w 164"/>
                  <a:gd name="T15" fmla="*/ 125 h 187"/>
                  <a:gd name="T16" fmla="*/ 0 w 164"/>
                  <a:gd name="T17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4" h="187">
                    <a:moveTo>
                      <a:pt x="0" y="0"/>
                    </a:moveTo>
                    <a:cubicBezTo>
                      <a:pt x="0" y="0"/>
                      <a:pt x="34" y="61"/>
                      <a:pt x="51" y="85"/>
                    </a:cubicBezTo>
                    <a:cubicBezTo>
                      <a:pt x="57" y="81"/>
                      <a:pt x="57" y="81"/>
                      <a:pt x="57" y="81"/>
                    </a:cubicBezTo>
                    <a:cubicBezTo>
                      <a:pt x="57" y="81"/>
                      <a:pt x="81" y="112"/>
                      <a:pt x="104" y="137"/>
                    </a:cubicBezTo>
                    <a:cubicBezTo>
                      <a:pt x="125" y="159"/>
                      <a:pt x="164" y="187"/>
                      <a:pt x="164" y="187"/>
                    </a:cubicBezTo>
                    <a:cubicBezTo>
                      <a:pt x="164" y="187"/>
                      <a:pt x="164" y="187"/>
                      <a:pt x="164" y="187"/>
                    </a:cubicBezTo>
                    <a:cubicBezTo>
                      <a:pt x="164" y="187"/>
                      <a:pt x="142" y="163"/>
                      <a:pt x="116" y="132"/>
                    </a:cubicBezTo>
                    <a:cubicBezTo>
                      <a:pt x="114" y="129"/>
                      <a:pt x="111" y="127"/>
                      <a:pt x="109" y="125"/>
                    </a:cubicBezTo>
                    <a:cubicBezTo>
                      <a:pt x="49" y="66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52"/>
              <p:cNvSpPr>
                <a:spLocks/>
              </p:cNvSpPr>
              <p:nvPr/>
            </p:nvSpPr>
            <p:spPr bwMode="auto">
              <a:xfrm>
                <a:off x="630476" y="2296234"/>
                <a:ext cx="268144" cy="280271"/>
              </a:xfrm>
              <a:custGeom>
                <a:avLst/>
                <a:gdLst>
                  <a:gd name="T0" fmla="*/ 6 w 113"/>
                  <a:gd name="T1" fmla="*/ 0 h 118"/>
                  <a:gd name="T2" fmla="*/ 0 w 113"/>
                  <a:gd name="T3" fmla="*/ 4 h 118"/>
                  <a:gd name="T4" fmla="*/ 1 w 113"/>
                  <a:gd name="T5" fmla="*/ 5 h 118"/>
                  <a:gd name="T6" fmla="*/ 102 w 113"/>
                  <a:gd name="T7" fmla="*/ 118 h 118"/>
                  <a:gd name="T8" fmla="*/ 113 w 113"/>
                  <a:gd name="T9" fmla="*/ 106 h 118"/>
                  <a:gd name="T10" fmla="*/ 53 w 113"/>
                  <a:gd name="T11" fmla="*/ 56 h 118"/>
                  <a:gd name="T12" fmla="*/ 6 w 113"/>
                  <a:gd name="T13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3" h="118">
                    <a:moveTo>
                      <a:pt x="6" y="0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1" y="4"/>
                      <a:pt x="1" y="5"/>
                    </a:cubicBezTo>
                    <a:cubicBezTo>
                      <a:pt x="51" y="71"/>
                      <a:pt x="102" y="118"/>
                      <a:pt x="102" y="118"/>
                    </a:cubicBezTo>
                    <a:cubicBezTo>
                      <a:pt x="113" y="106"/>
                      <a:pt x="113" y="106"/>
                      <a:pt x="113" y="106"/>
                    </a:cubicBezTo>
                    <a:cubicBezTo>
                      <a:pt x="113" y="106"/>
                      <a:pt x="74" y="78"/>
                      <a:pt x="53" y="56"/>
                    </a:cubicBezTo>
                    <a:cubicBezTo>
                      <a:pt x="30" y="31"/>
                      <a:pt x="6" y="0"/>
                      <a:pt x="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53"/>
              <p:cNvSpPr>
                <a:spLocks/>
              </p:cNvSpPr>
              <p:nvPr/>
            </p:nvSpPr>
            <p:spPr bwMode="auto">
              <a:xfrm>
                <a:off x="556815" y="2071208"/>
                <a:ext cx="531347" cy="569076"/>
              </a:xfrm>
              <a:custGeom>
                <a:avLst/>
                <a:gdLst>
                  <a:gd name="T0" fmla="*/ 0 w 224"/>
                  <a:gd name="T1" fmla="*/ 0 h 240"/>
                  <a:gd name="T2" fmla="*/ 62 w 224"/>
                  <a:gd name="T3" fmla="*/ 101 h 240"/>
                  <a:gd name="T4" fmla="*/ 96 w 224"/>
                  <a:gd name="T5" fmla="*/ 146 h 240"/>
                  <a:gd name="T6" fmla="*/ 224 w 224"/>
                  <a:gd name="T7" fmla="*/ 240 h 240"/>
                  <a:gd name="T8" fmla="*/ 104 w 224"/>
                  <a:gd name="T9" fmla="*/ 120 h 240"/>
                  <a:gd name="T10" fmla="*/ 52 w 224"/>
                  <a:gd name="T11" fmla="*/ 56 h 240"/>
                  <a:gd name="T12" fmla="*/ 0 w 224"/>
                  <a:gd name="T13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4" h="240">
                    <a:moveTo>
                      <a:pt x="0" y="0"/>
                    </a:moveTo>
                    <a:cubicBezTo>
                      <a:pt x="0" y="0"/>
                      <a:pt x="25" y="51"/>
                      <a:pt x="62" y="101"/>
                    </a:cubicBezTo>
                    <a:cubicBezTo>
                      <a:pt x="73" y="117"/>
                      <a:pt x="85" y="132"/>
                      <a:pt x="96" y="146"/>
                    </a:cubicBezTo>
                    <a:cubicBezTo>
                      <a:pt x="163" y="209"/>
                      <a:pt x="224" y="240"/>
                      <a:pt x="224" y="240"/>
                    </a:cubicBezTo>
                    <a:cubicBezTo>
                      <a:pt x="224" y="240"/>
                      <a:pt x="167" y="195"/>
                      <a:pt x="104" y="120"/>
                    </a:cubicBezTo>
                    <a:cubicBezTo>
                      <a:pt x="85" y="97"/>
                      <a:pt x="67" y="75"/>
                      <a:pt x="52" y="56"/>
                    </a:cubicBezTo>
                    <a:cubicBezTo>
                      <a:pt x="23" y="27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54"/>
              <p:cNvSpPr>
                <a:spLocks/>
              </p:cNvSpPr>
              <p:nvPr/>
            </p:nvSpPr>
            <p:spPr bwMode="auto">
              <a:xfrm>
                <a:off x="509205" y="2071208"/>
                <a:ext cx="275330" cy="346296"/>
              </a:xfrm>
              <a:custGeom>
                <a:avLst/>
                <a:gdLst>
                  <a:gd name="T0" fmla="*/ 20 w 116"/>
                  <a:gd name="T1" fmla="*/ 0 h 146"/>
                  <a:gd name="T2" fmla="*/ 0 w 116"/>
                  <a:gd name="T3" fmla="*/ 14 h 146"/>
                  <a:gd name="T4" fmla="*/ 109 w 116"/>
                  <a:gd name="T5" fmla="*/ 139 h 146"/>
                  <a:gd name="T6" fmla="*/ 116 w 116"/>
                  <a:gd name="T7" fmla="*/ 146 h 146"/>
                  <a:gd name="T8" fmla="*/ 82 w 116"/>
                  <a:gd name="T9" fmla="*/ 101 h 146"/>
                  <a:gd name="T10" fmla="*/ 20 w 116"/>
                  <a:gd name="T11" fmla="*/ 0 h 146"/>
                  <a:gd name="T12" fmla="*/ 20 w 116"/>
                  <a:gd name="T13" fmla="*/ 0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6" h="146">
                    <a:moveTo>
                      <a:pt x="20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49" y="80"/>
                      <a:pt x="109" y="139"/>
                    </a:cubicBezTo>
                    <a:cubicBezTo>
                      <a:pt x="111" y="141"/>
                      <a:pt x="114" y="143"/>
                      <a:pt x="116" y="146"/>
                    </a:cubicBezTo>
                    <a:cubicBezTo>
                      <a:pt x="105" y="132"/>
                      <a:pt x="93" y="117"/>
                      <a:pt x="82" y="101"/>
                    </a:cubicBezTo>
                    <a:cubicBezTo>
                      <a:pt x="45" y="51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506959" y="1975988"/>
                <a:ext cx="633305" cy="593330"/>
              </a:xfrm>
              <a:custGeom>
                <a:avLst/>
                <a:gdLst>
                  <a:gd name="T0" fmla="*/ 0 w 267"/>
                  <a:gd name="T1" fmla="*/ 0 h 250"/>
                  <a:gd name="T2" fmla="*/ 73 w 267"/>
                  <a:gd name="T3" fmla="*/ 96 h 250"/>
                  <a:gd name="T4" fmla="*/ 120 w 267"/>
                  <a:gd name="T5" fmla="*/ 141 h 250"/>
                  <a:gd name="T6" fmla="*/ 267 w 267"/>
                  <a:gd name="T7" fmla="*/ 250 h 250"/>
                  <a:gd name="T8" fmla="*/ 267 w 267"/>
                  <a:gd name="T9" fmla="*/ 250 h 250"/>
                  <a:gd name="T10" fmla="*/ 230 w 267"/>
                  <a:gd name="T11" fmla="*/ 212 h 250"/>
                  <a:gd name="T12" fmla="*/ 146 w 267"/>
                  <a:gd name="T13" fmla="*/ 149 h 250"/>
                  <a:gd name="T14" fmla="*/ 0 w 267"/>
                  <a:gd name="T15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7" h="250">
                    <a:moveTo>
                      <a:pt x="0" y="0"/>
                    </a:moveTo>
                    <a:cubicBezTo>
                      <a:pt x="0" y="0"/>
                      <a:pt x="27" y="39"/>
                      <a:pt x="73" y="96"/>
                    </a:cubicBezTo>
                    <a:cubicBezTo>
                      <a:pt x="88" y="111"/>
                      <a:pt x="104" y="127"/>
                      <a:pt x="120" y="141"/>
                    </a:cubicBezTo>
                    <a:cubicBezTo>
                      <a:pt x="212" y="221"/>
                      <a:pt x="267" y="250"/>
                      <a:pt x="267" y="250"/>
                    </a:cubicBezTo>
                    <a:cubicBezTo>
                      <a:pt x="267" y="250"/>
                      <a:pt x="267" y="250"/>
                      <a:pt x="267" y="250"/>
                    </a:cubicBezTo>
                    <a:cubicBezTo>
                      <a:pt x="267" y="250"/>
                      <a:pt x="255" y="238"/>
                      <a:pt x="230" y="212"/>
                    </a:cubicBezTo>
                    <a:cubicBezTo>
                      <a:pt x="202" y="193"/>
                      <a:pt x="172" y="170"/>
                      <a:pt x="146" y="149"/>
                    </a:cubicBezTo>
                    <a:cubicBezTo>
                      <a:pt x="56" y="72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56"/>
              <p:cNvSpPr>
                <a:spLocks/>
              </p:cNvSpPr>
              <p:nvPr/>
            </p:nvSpPr>
            <p:spPr bwMode="auto">
              <a:xfrm>
                <a:off x="680332" y="2203708"/>
                <a:ext cx="459932" cy="436576"/>
              </a:xfrm>
              <a:custGeom>
                <a:avLst/>
                <a:gdLst>
                  <a:gd name="T0" fmla="*/ 0 w 194"/>
                  <a:gd name="T1" fmla="*/ 0 h 184"/>
                  <a:gd name="T2" fmla="*/ 52 w 194"/>
                  <a:gd name="T3" fmla="*/ 64 h 184"/>
                  <a:gd name="T4" fmla="*/ 172 w 194"/>
                  <a:gd name="T5" fmla="*/ 184 h 184"/>
                  <a:gd name="T6" fmla="*/ 194 w 194"/>
                  <a:gd name="T7" fmla="*/ 154 h 184"/>
                  <a:gd name="T8" fmla="*/ 47 w 194"/>
                  <a:gd name="T9" fmla="*/ 45 h 184"/>
                  <a:gd name="T10" fmla="*/ 0 w 194"/>
                  <a:gd name="T11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4" h="184">
                    <a:moveTo>
                      <a:pt x="0" y="0"/>
                    </a:moveTo>
                    <a:cubicBezTo>
                      <a:pt x="15" y="19"/>
                      <a:pt x="33" y="41"/>
                      <a:pt x="52" y="64"/>
                    </a:cubicBezTo>
                    <a:cubicBezTo>
                      <a:pt x="115" y="139"/>
                      <a:pt x="172" y="184"/>
                      <a:pt x="172" y="184"/>
                    </a:cubicBezTo>
                    <a:cubicBezTo>
                      <a:pt x="194" y="154"/>
                      <a:pt x="194" y="154"/>
                      <a:pt x="194" y="154"/>
                    </a:cubicBezTo>
                    <a:cubicBezTo>
                      <a:pt x="194" y="154"/>
                      <a:pt x="139" y="125"/>
                      <a:pt x="47" y="45"/>
                    </a:cubicBezTo>
                    <a:cubicBezTo>
                      <a:pt x="31" y="31"/>
                      <a:pt x="15" y="15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57"/>
              <p:cNvSpPr>
                <a:spLocks/>
              </p:cNvSpPr>
              <p:nvPr/>
            </p:nvSpPr>
            <p:spPr bwMode="auto">
              <a:xfrm>
                <a:off x="561756" y="1933319"/>
                <a:ext cx="687652" cy="673728"/>
              </a:xfrm>
              <a:custGeom>
                <a:avLst/>
                <a:gdLst>
                  <a:gd name="T0" fmla="*/ 0 w 290"/>
                  <a:gd name="T1" fmla="*/ 0 h 284"/>
                  <a:gd name="T2" fmla="*/ 109 w 290"/>
                  <a:gd name="T3" fmla="*/ 125 h 284"/>
                  <a:gd name="T4" fmla="*/ 207 w 290"/>
                  <a:gd name="T5" fmla="*/ 230 h 284"/>
                  <a:gd name="T6" fmla="*/ 290 w 290"/>
                  <a:gd name="T7" fmla="*/ 284 h 284"/>
                  <a:gd name="T8" fmla="*/ 132 w 290"/>
                  <a:gd name="T9" fmla="*/ 139 h 284"/>
                  <a:gd name="T10" fmla="*/ 79 w 290"/>
                  <a:gd name="T11" fmla="*/ 80 h 284"/>
                  <a:gd name="T12" fmla="*/ 0 w 290"/>
                  <a:gd name="T13" fmla="*/ 0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284">
                    <a:moveTo>
                      <a:pt x="0" y="0"/>
                    </a:moveTo>
                    <a:cubicBezTo>
                      <a:pt x="0" y="0"/>
                      <a:pt x="57" y="68"/>
                      <a:pt x="109" y="125"/>
                    </a:cubicBezTo>
                    <a:cubicBezTo>
                      <a:pt x="152" y="172"/>
                      <a:pt x="185" y="207"/>
                      <a:pt x="207" y="230"/>
                    </a:cubicBezTo>
                    <a:cubicBezTo>
                      <a:pt x="252" y="261"/>
                      <a:pt x="290" y="284"/>
                      <a:pt x="290" y="284"/>
                    </a:cubicBezTo>
                    <a:cubicBezTo>
                      <a:pt x="290" y="284"/>
                      <a:pt x="200" y="211"/>
                      <a:pt x="132" y="139"/>
                    </a:cubicBezTo>
                    <a:cubicBezTo>
                      <a:pt x="114" y="119"/>
                      <a:pt x="96" y="99"/>
                      <a:pt x="79" y="80"/>
                    </a:cubicBezTo>
                    <a:cubicBezTo>
                      <a:pt x="37" y="39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58"/>
              <p:cNvSpPr>
                <a:spLocks/>
              </p:cNvSpPr>
              <p:nvPr/>
            </p:nvSpPr>
            <p:spPr bwMode="auto">
              <a:xfrm>
                <a:off x="506959" y="1933319"/>
                <a:ext cx="545720" cy="545720"/>
              </a:xfrm>
              <a:custGeom>
                <a:avLst/>
                <a:gdLst>
                  <a:gd name="T0" fmla="*/ 23 w 230"/>
                  <a:gd name="T1" fmla="*/ 0 h 230"/>
                  <a:gd name="T2" fmla="*/ 0 w 230"/>
                  <a:gd name="T3" fmla="*/ 18 h 230"/>
                  <a:gd name="T4" fmla="*/ 146 w 230"/>
                  <a:gd name="T5" fmla="*/ 167 h 230"/>
                  <a:gd name="T6" fmla="*/ 230 w 230"/>
                  <a:gd name="T7" fmla="*/ 230 h 230"/>
                  <a:gd name="T8" fmla="*/ 132 w 230"/>
                  <a:gd name="T9" fmla="*/ 125 h 230"/>
                  <a:gd name="T10" fmla="*/ 23 w 230"/>
                  <a:gd name="T11" fmla="*/ 0 h 230"/>
                  <a:gd name="T12" fmla="*/ 23 w 230"/>
                  <a:gd name="T13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0" h="230">
                    <a:moveTo>
                      <a:pt x="23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18"/>
                      <a:pt x="56" y="90"/>
                      <a:pt x="146" y="167"/>
                    </a:cubicBezTo>
                    <a:cubicBezTo>
                      <a:pt x="172" y="188"/>
                      <a:pt x="202" y="211"/>
                      <a:pt x="230" y="230"/>
                    </a:cubicBezTo>
                    <a:cubicBezTo>
                      <a:pt x="208" y="207"/>
                      <a:pt x="175" y="172"/>
                      <a:pt x="132" y="125"/>
                    </a:cubicBezTo>
                    <a:cubicBezTo>
                      <a:pt x="80" y="68"/>
                      <a:pt x="23" y="0"/>
                      <a:pt x="23" y="0"/>
                    </a:cubicBezTo>
                    <a:cubicBezTo>
                      <a:pt x="23" y="0"/>
                      <a:pt x="23" y="0"/>
                      <a:pt x="23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59"/>
              <p:cNvSpPr>
                <a:spLocks noEditPoints="1"/>
              </p:cNvSpPr>
              <p:nvPr/>
            </p:nvSpPr>
            <p:spPr bwMode="auto">
              <a:xfrm>
                <a:off x="519086" y="1831361"/>
                <a:ext cx="777932" cy="714152"/>
              </a:xfrm>
              <a:custGeom>
                <a:avLst/>
                <a:gdLst>
                  <a:gd name="T0" fmla="*/ 286 w 328"/>
                  <a:gd name="T1" fmla="*/ 274 h 301"/>
                  <a:gd name="T2" fmla="*/ 328 w 328"/>
                  <a:gd name="T3" fmla="*/ 301 h 301"/>
                  <a:gd name="T4" fmla="*/ 328 w 328"/>
                  <a:gd name="T5" fmla="*/ 301 h 301"/>
                  <a:gd name="T6" fmla="*/ 325 w 328"/>
                  <a:gd name="T7" fmla="*/ 299 h 301"/>
                  <a:gd name="T8" fmla="*/ 286 w 328"/>
                  <a:gd name="T9" fmla="*/ 274 h 301"/>
                  <a:gd name="T10" fmla="*/ 0 w 328"/>
                  <a:gd name="T11" fmla="*/ 0 h 301"/>
                  <a:gd name="T12" fmla="*/ 97 w 328"/>
                  <a:gd name="T13" fmla="*/ 123 h 301"/>
                  <a:gd name="T14" fmla="*/ 143 w 328"/>
                  <a:gd name="T15" fmla="*/ 166 h 301"/>
                  <a:gd name="T16" fmla="*/ 275 w 328"/>
                  <a:gd name="T17" fmla="*/ 266 h 301"/>
                  <a:gd name="T18" fmla="*/ 156 w 328"/>
                  <a:gd name="T19" fmla="*/ 168 h 301"/>
                  <a:gd name="T20" fmla="*/ 0 w 328"/>
                  <a:gd name="T21" fmla="*/ 0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8" h="301">
                    <a:moveTo>
                      <a:pt x="286" y="274"/>
                    </a:moveTo>
                    <a:cubicBezTo>
                      <a:pt x="311" y="291"/>
                      <a:pt x="328" y="301"/>
                      <a:pt x="328" y="301"/>
                    </a:cubicBezTo>
                    <a:cubicBezTo>
                      <a:pt x="328" y="301"/>
                      <a:pt x="328" y="301"/>
                      <a:pt x="328" y="301"/>
                    </a:cubicBezTo>
                    <a:cubicBezTo>
                      <a:pt x="328" y="301"/>
                      <a:pt x="327" y="300"/>
                      <a:pt x="325" y="299"/>
                    </a:cubicBezTo>
                    <a:cubicBezTo>
                      <a:pt x="315" y="292"/>
                      <a:pt x="301" y="284"/>
                      <a:pt x="286" y="274"/>
                    </a:cubicBezTo>
                    <a:moveTo>
                      <a:pt x="0" y="0"/>
                    </a:moveTo>
                    <a:cubicBezTo>
                      <a:pt x="0" y="0"/>
                      <a:pt x="41" y="57"/>
                      <a:pt x="97" y="123"/>
                    </a:cubicBezTo>
                    <a:cubicBezTo>
                      <a:pt x="112" y="137"/>
                      <a:pt x="128" y="152"/>
                      <a:pt x="143" y="166"/>
                    </a:cubicBezTo>
                    <a:cubicBezTo>
                      <a:pt x="187" y="205"/>
                      <a:pt x="238" y="241"/>
                      <a:pt x="275" y="266"/>
                    </a:cubicBezTo>
                    <a:cubicBezTo>
                      <a:pt x="239" y="242"/>
                      <a:pt x="196" y="209"/>
                      <a:pt x="156" y="168"/>
                    </a:cubicBezTo>
                    <a:cubicBezTo>
                      <a:pt x="74" y="84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60"/>
              <p:cNvSpPr>
                <a:spLocks/>
              </p:cNvSpPr>
              <p:nvPr/>
            </p:nvSpPr>
            <p:spPr bwMode="auto">
              <a:xfrm>
                <a:off x="749052" y="2123310"/>
                <a:ext cx="547966" cy="483737"/>
              </a:xfrm>
              <a:custGeom>
                <a:avLst/>
                <a:gdLst>
                  <a:gd name="T0" fmla="*/ 0 w 231"/>
                  <a:gd name="T1" fmla="*/ 0 h 204"/>
                  <a:gd name="T2" fmla="*/ 53 w 231"/>
                  <a:gd name="T3" fmla="*/ 59 h 204"/>
                  <a:gd name="T4" fmla="*/ 211 w 231"/>
                  <a:gd name="T5" fmla="*/ 204 h 204"/>
                  <a:gd name="T6" fmla="*/ 231 w 231"/>
                  <a:gd name="T7" fmla="*/ 178 h 204"/>
                  <a:gd name="T8" fmla="*/ 189 w 231"/>
                  <a:gd name="T9" fmla="*/ 151 h 204"/>
                  <a:gd name="T10" fmla="*/ 178 w 231"/>
                  <a:gd name="T11" fmla="*/ 143 h 204"/>
                  <a:gd name="T12" fmla="*/ 46 w 231"/>
                  <a:gd name="T13" fmla="*/ 43 h 204"/>
                  <a:gd name="T14" fmla="*/ 0 w 231"/>
                  <a:gd name="T15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1" h="204">
                    <a:moveTo>
                      <a:pt x="0" y="0"/>
                    </a:moveTo>
                    <a:cubicBezTo>
                      <a:pt x="17" y="19"/>
                      <a:pt x="35" y="39"/>
                      <a:pt x="53" y="59"/>
                    </a:cubicBezTo>
                    <a:cubicBezTo>
                      <a:pt x="121" y="131"/>
                      <a:pt x="211" y="204"/>
                      <a:pt x="211" y="204"/>
                    </a:cubicBezTo>
                    <a:cubicBezTo>
                      <a:pt x="231" y="178"/>
                      <a:pt x="231" y="178"/>
                      <a:pt x="231" y="178"/>
                    </a:cubicBezTo>
                    <a:cubicBezTo>
                      <a:pt x="231" y="178"/>
                      <a:pt x="214" y="168"/>
                      <a:pt x="189" y="151"/>
                    </a:cubicBezTo>
                    <a:cubicBezTo>
                      <a:pt x="185" y="149"/>
                      <a:pt x="182" y="146"/>
                      <a:pt x="178" y="143"/>
                    </a:cubicBezTo>
                    <a:cubicBezTo>
                      <a:pt x="141" y="118"/>
                      <a:pt x="90" y="82"/>
                      <a:pt x="46" y="43"/>
                    </a:cubicBezTo>
                    <a:cubicBezTo>
                      <a:pt x="31" y="29"/>
                      <a:pt x="15" y="14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61"/>
              <p:cNvSpPr>
                <a:spLocks noEditPoints="1"/>
              </p:cNvSpPr>
              <p:nvPr/>
            </p:nvSpPr>
            <p:spPr bwMode="auto">
              <a:xfrm>
                <a:off x="604425" y="1764887"/>
                <a:ext cx="759067" cy="813864"/>
              </a:xfrm>
              <a:custGeom>
                <a:avLst/>
                <a:gdLst>
                  <a:gd name="T0" fmla="*/ 224 w 320"/>
                  <a:gd name="T1" fmla="*/ 263 h 343"/>
                  <a:gd name="T2" fmla="*/ 289 w 320"/>
                  <a:gd name="T3" fmla="*/ 327 h 343"/>
                  <a:gd name="T4" fmla="*/ 320 w 320"/>
                  <a:gd name="T5" fmla="*/ 343 h 343"/>
                  <a:gd name="T6" fmla="*/ 224 w 320"/>
                  <a:gd name="T7" fmla="*/ 263 h 343"/>
                  <a:gd name="T8" fmla="*/ 0 w 320"/>
                  <a:gd name="T9" fmla="*/ 0 h 343"/>
                  <a:gd name="T10" fmla="*/ 41 w 320"/>
                  <a:gd name="T11" fmla="*/ 56 h 343"/>
                  <a:gd name="T12" fmla="*/ 5 w 320"/>
                  <a:gd name="T13" fmla="*/ 5 h 343"/>
                  <a:gd name="T14" fmla="*/ 0 w 320"/>
                  <a:gd name="T15" fmla="*/ 0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0" h="343">
                    <a:moveTo>
                      <a:pt x="224" y="263"/>
                    </a:moveTo>
                    <a:cubicBezTo>
                      <a:pt x="258" y="297"/>
                      <a:pt x="282" y="319"/>
                      <a:pt x="289" y="327"/>
                    </a:cubicBezTo>
                    <a:cubicBezTo>
                      <a:pt x="308" y="338"/>
                      <a:pt x="320" y="343"/>
                      <a:pt x="320" y="343"/>
                    </a:cubicBezTo>
                    <a:cubicBezTo>
                      <a:pt x="320" y="343"/>
                      <a:pt x="278" y="312"/>
                      <a:pt x="224" y="263"/>
                    </a:cubicBezTo>
                    <a:moveTo>
                      <a:pt x="0" y="0"/>
                    </a:moveTo>
                    <a:cubicBezTo>
                      <a:pt x="0" y="0"/>
                      <a:pt x="17" y="24"/>
                      <a:pt x="41" y="56"/>
                    </a:cubicBezTo>
                    <a:cubicBezTo>
                      <a:pt x="27" y="36"/>
                      <a:pt x="14" y="19"/>
                      <a:pt x="5" y="5"/>
                    </a:cubicBezTo>
                    <a:cubicBezTo>
                      <a:pt x="2" y="2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62"/>
              <p:cNvSpPr>
                <a:spLocks/>
              </p:cNvSpPr>
              <p:nvPr/>
            </p:nvSpPr>
            <p:spPr bwMode="auto">
              <a:xfrm>
                <a:off x="519086" y="1764887"/>
                <a:ext cx="770745" cy="775686"/>
              </a:xfrm>
              <a:custGeom>
                <a:avLst/>
                <a:gdLst>
                  <a:gd name="T0" fmla="*/ 36 w 325"/>
                  <a:gd name="T1" fmla="*/ 0 h 327"/>
                  <a:gd name="T2" fmla="*/ 0 w 325"/>
                  <a:gd name="T3" fmla="*/ 28 h 327"/>
                  <a:gd name="T4" fmla="*/ 156 w 325"/>
                  <a:gd name="T5" fmla="*/ 196 h 327"/>
                  <a:gd name="T6" fmla="*/ 275 w 325"/>
                  <a:gd name="T7" fmla="*/ 294 h 327"/>
                  <a:gd name="T8" fmla="*/ 286 w 325"/>
                  <a:gd name="T9" fmla="*/ 302 h 327"/>
                  <a:gd name="T10" fmla="*/ 325 w 325"/>
                  <a:gd name="T11" fmla="*/ 327 h 327"/>
                  <a:gd name="T12" fmla="*/ 260 w 325"/>
                  <a:gd name="T13" fmla="*/ 263 h 327"/>
                  <a:gd name="T14" fmla="*/ 164 w 325"/>
                  <a:gd name="T15" fmla="*/ 166 h 327"/>
                  <a:gd name="T16" fmla="*/ 77 w 325"/>
                  <a:gd name="T17" fmla="*/ 56 h 327"/>
                  <a:gd name="T18" fmla="*/ 36 w 325"/>
                  <a:gd name="T19" fmla="*/ 0 h 327"/>
                  <a:gd name="T20" fmla="*/ 36 w 325"/>
                  <a:gd name="T21" fmla="*/ 0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5" h="327">
                    <a:moveTo>
                      <a:pt x="36" y="0"/>
                    </a:move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74" y="112"/>
                      <a:pt x="156" y="196"/>
                    </a:cubicBezTo>
                    <a:cubicBezTo>
                      <a:pt x="196" y="237"/>
                      <a:pt x="239" y="270"/>
                      <a:pt x="275" y="294"/>
                    </a:cubicBezTo>
                    <a:cubicBezTo>
                      <a:pt x="279" y="297"/>
                      <a:pt x="282" y="300"/>
                      <a:pt x="286" y="302"/>
                    </a:cubicBezTo>
                    <a:cubicBezTo>
                      <a:pt x="301" y="312"/>
                      <a:pt x="315" y="320"/>
                      <a:pt x="325" y="327"/>
                    </a:cubicBezTo>
                    <a:cubicBezTo>
                      <a:pt x="318" y="319"/>
                      <a:pt x="294" y="297"/>
                      <a:pt x="260" y="263"/>
                    </a:cubicBezTo>
                    <a:cubicBezTo>
                      <a:pt x="230" y="235"/>
                      <a:pt x="196" y="202"/>
                      <a:pt x="164" y="166"/>
                    </a:cubicBezTo>
                    <a:cubicBezTo>
                      <a:pt x="132" y="129"/>
                      <a:pt x="102" y="90"/>
                      <a:pt x="77" y="56"/>
                    </a:cubicBezTo>
                    <a:cubicBezTo>
                      <a:pt x="53" y="24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1171255" y="2462420"/>
                <a:ext cx="26051" cy="18864"/>
              </a:xfrm>
              <a:custGeom>
                <a:avLst/>
                <a:gdLst>
                  <a:gd name="T0" fmla="*/ 0 w 11"/>
                  <a:gd name="T1" fmla="*/ 0 h 8"/>
                  <a:gd name="T2" fmla="*/ 11 w 11"/>
                  <a:gd name="T3" fmla="*/ 8 h 8"/>
                  <a:gd name="T4" fmla="*/ 0 w 11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0" y="0"/>
                    </a:moveTo>
                    <a:cubicBezTo>
                      <a:pt x="4" y="3"/>
                      <a:pt x="7" y="6"/>
                      <a:pt x="11" y="8"/>
                    </a:cubicBezTo>
                    <a:cubicBezTo>
                      <a:pt x="7" y="6"/>
                      <a:pt x="4" y="3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64"/>
              <p:cNvSpPr>
                <a:spLocks/>
              </p:cNvSpPr>
              <p:nvPr/>
            </p:nvSpPr>
            <p:spPr bwMode="auto">
              <a:xfrm>
                <a:off x="561756" y="1696166"/>
                <a:ext cx="842160" cy="813864"/>
              </a:xfrm>
              <a:custGeom>
                <a:avLst/>
                <a:gdLst>
                  <a:gd name="T0" fmla="*/ 0 w 355"/>
                  <a:gd name="T1" fmla="*/ 0 h 343"/>
                  <a:gd name="T2" fmla="*/ 23 w 355"/>
                  <a:gd name="T3" fmla="*/ 34 h 343"/>
                  <a:gd name="T4" fmla="*/ 158 w 355"/>
                  <a:gd name="T5" fmla="*/ 182 h 343"/>
                  <a:gd name="T6" fmla="*/ 355 w 355"/>
                  <a:gd name="T7" fmla="*/ 343 h 343"/>
                  <a:gd name="T8" fmla="*/ 355 w 355"/>
                  <a:gd name="T9" fmla="*/ 343 h 343"/>
                  <a:gd name="T10" fmla="*/ 249 w 355"/>
                  <a:gd name="T11" fmla="*/ 246 h 343"/>
                  <a:gd name="T12" fmla="*/ 176 w 355"/>
                  <a:gd name="T13" fmla="*/ 187 h 343"/>
                  <a:gd name="T14" fmla="*/ 0 w 355"/>
                  <a:gd name="T15" fmla="*/ 0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5" h="343">
                    <a:moveTo>
                      <a:pt x="0" y="0"/>
                    </a:moveTo>
                    <a:cubicBezTo>
                      <a:pt x="0" y="0"/>
                      <a:pt x="8" y="13"/>
                      <a:pt x="23" y="34"/>
                    </a:cubicBezTo>
                    <a:cubicBezTo>
                      <a:pt x="39" y="54"/>
                      <a:pt x="103" y="127"/>
                      <a:pt x="158" y="182"/>
                    </a:cubicBezTo>
                    <a:cubicBezTo>
                      <a:pt x="258" y="283"/>
                      <a:pt x="355" y="343"/>
                      <a:pt x="355" y="343"/>
                    </a:cubicBezTo>
                    <a:cubicBezTo>
                      <a:pt x="355" y="343"/>
                      <a:pt x="355" y="343"/>
                      <a:pt x="355" y="343"/>
                    </a:cubicBezTo>
                    <a:cubicBezTo>
                      <a:pt x="355" y="343"/>
                      <a:pt x="309" y="305"/>
                      <a:pt x="249" y="246"/>
                    </a:cubicBezTo>
                    <a:cubicBezTo>
                      <a:pt x="224" y="229"/>
                      <a:pt x="199" y="209"/>
                      <a:pt x="176" y="187"/>
                    </a:cubicBezTo>
                    <a:cubicBezTo>
                      <a:pt x="83" y="10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616103" y="1777014"/>
                <a:ext cx="787813" cy="801736"/>
              </a:xfrm>
              <a:custGeom>
                <a:avLst/>
                <a:gdLst>
                  <a:gd name="T0" fmla="*/ 0 w 332"/>
                  <a:gd name="T1" fmla="*/ 0 h 338"/>
                  <a:gd name="T2" fmla="*/ 36 w 332"/>
                  <a:gd name="T3" fmla="*/ 51 h 338"/>
                  <a:gd name="T4" fmla="*/ 124 w 332"/>
                  <a:gd name="T5" fmla="*/ 159 h 338"/>
                  <a:gd name="T6" fmla="*/ 219 w 332"/>
                  <a:gd name="T7" fmla="*/ 258 h 338"/>
                  <a:gd name="T8" fmla="*/ 315 w 332"/>
                  <a:gd name="T9" fmla="*/ 338 h 338"/>
                  <a:gd name="T10" fmla="*/ 332 w 332"/>
                  <a:gd name="T11" fmla="*/ 309 h 338"/>
                  <a:gd name="T12" fmla="*/ 135 w 332"/>
                  <a:gd name="T13" fmla="*/ 148 h 338"/>
                  <a:gd name="T14" fmla="*/ 0 w 332"/>
                  <a:gd name="T15" fmla="*/ 0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2" h="338">
                    <a:moveTo>
                      <a:pt x="0" y="0"/>
                    </a:moveTo>
                    <a:cubicBezTo>
                      <a:pt x="9" y="14"/>
                      <a:pt x="22" y="31"/>
                      <a:pt x="36" y="51"/>
                    </a:cubicBezTo>
                    <a:cubicBezTo>
                      <a:pt x="60" y="84"/>
                      <a:pt x="92" y="125"/>
                      <a:pt x="124" y="159"/>
                    </a:cubicBezTo>
                    <a:cubicBezTo>
                      <a:pt x="160" y="198"/>
                      <a:pt x="192" y="231"/>
                      <a:pt x="219" y="258"/>
                    </a:cubicBezTo>
                    <a:cubicBezTo>
                      <a:pt x="273" y="307"/>
                      <a:pt x="315" y="338"/>
                      <a:pt x="315" y="338"/>
                    </a:cubicBezTo>
                    <a:cubicBezTo>
                      <a:pt x="332" y="309"/>
                      <a:pt x="332" y="309"/>
                      <a:pt x="332" y="309"/>
                    </a:cubicBezTo>
                    <a:cubicBezTo>
                      <a:pt x="332" y="309"/>
                      <a:pt x="235" y="249"/>
                      <a:pt x="135" y="148"/>
                    </a:cubicBezTo>
                    <a:cubicBezTo>
                      <a:pt x="80" y="93"/>
                      <a:pt x="16" y="2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66"/>
              <p:cNvSpPr>
                <a:spLocks/>
              </p:cNvSpPr>
              <p:nvPr/>
            </p:nvSpPr>
            <p:spPr bwMode="auto">
              <a:xfrm>
                <a:off x="701442" y="1897836"/>
                <a:ext cx="434330" cy="490923"/>
              </a:xfrm>
              <a:custGeom>
                <a:avLst/>
                <a:gdLst>
                  <a:gd name="T0" fmla="*/ 0 w 183"/>
                  <a:gd name="T1" fmla="*/ 0 h 207"/>
                  <a:gd name="T2" fmla="*/ 87 w 183"/>
                  <a:gd name="T3" fmla="*/ 110 h 207"/>
                  <a:gd name="T4" fmla="*/ 183 w 183"/>
                  <a:gd name="T5" fmla="*/ 207 h 207"/>
                  <a:gd name="T6" fmla="*/ 88 w 183"/>
                  <a:gd name="T7" fmla="*/ 108 h 207"/>
                  <a:gd name="T8" fmla="*/ 0 w 183"/>
                  <a:gd name="T9" fmla="*/ 0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3" h="207">
                    <a:moveTo>
                      <a:pt x="0" y="0"/>
                    </a:moveTo>
                    <a:cubicBezTo>
                      <a:pt x="25" y="34"/>
                      <a:pt x="55" y="73"/>
                      <a:pt x="87" y="110"/>
                    </a:cubicBezTo>
                    <a:cubicBezTo>
                      <a:pt x="119" y="146"/>
                      <a:pt x="153" y="179"/>
                      <a:pt x="183" y="207"/>
                    </a:cubicBezTo>
                    <a:cubicBezTo>
                      <a:pt x="156" y="180"/>
                      <a:pt x="124" y="147"/>
                      <a:pt x="88" y="108"/>
                    </a:cubicBezTo>
                    <a:cubicBezTo>
                      <a:pt x="56" y="74"/>
                      <a:pt x="24" y="33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67"/>
              <p:cNvSpPr>
                <a:spLocks/>
              </p:cNvSpPr>
              <p:nvPr/>
            </p:nvSpPr>
            <p:spPr bwMode="auto">
              <a:xfrm>
                <a:off x="623289" y="1649005"/>
                <a:ext cx="896508" cy="846652"/>
              </a:xfrm>
              <a:custGeom>
                <a:avLst/>
                <a:gdLst>
                  <a:gd name="T0" fmla="*/ 0 w 378"/>
                  <a:gd name="T1" fmla="*/ 0 h 357"/>
                  <a:gd name="T2" fmla="*/ 138 w 378"/>
                  <a:gd name="T3" fmla="*/ 181 h 357"/>
                  <a:gd name="T4" fmla="*/ 223 w 378"/>
                  <a:gd name="T5" fmla="*/ 266 h 357"/>
                  <a:gd name="T6" fmla="*/ 378 w 378"/>
                  <a:gd name="T7" fmla="*/ 357 h 357"/>
                  <a:gd name="T8" fmla="*/ 378 w 378"/>
                  <a:gd name="T9" fmla="*/ 357 h 357"/>
                  <a:gd name="T10" fmla="*/ 378 w 378"/>
                  <a:gd name="T11" fmla="*/ 357 h 357"/>
                  <a:gd name="T12" fmla="*/ 157 w 378"/>
                  <a:gd name="T13" fmla="*/ 188 h 357"/>
                  <a:gd name="T14" fmla="*/ 152 w 378"/>
                  <a:gd name="T15" fmla="*/ 183 h 357"/>
                  <a:gd name="T16" fmla="*/ 29 w 378"/>
                  <a:gd name="T17" fmla="*/ 31 h 357"/>
                  <a:gd name="T18" fmla="*/ 0 w 378"/>
                  <a:gd name="T19" fmla="*/ 0 h 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8" h="357">
                    <a:moveTo>
                      <a:pt x="0" y="0"/>
                    </a:moveTo>
                    <a:cubicBezTo>
                      <a:pt x="0" y="0"/>
                      <a:pt x="72" y="110"/>
                      <a:pt x="138" y="181"/>
                    </a:cubicBezTo>
                    <a:cubicBezTo>
                      <a:pt x="168" y="212"/>
                      <a:pt x="197" y="241"/>
                      <a:pt x="223" y="266"/>
                    </a:cubicBezTo>
                    <a:cubicBezTo>
                      <a:pt x="303" y="323"/>
                      <a:pt x="378" y="357"/>
                      <a:pt x="378" y="357"/>
                    </a:cubicBezTo>
                    <a:cubicBezTo>
                      <a:pt x="378" y="357"/>
                      <a:pt x="378" y="357"/>
                      <a:pt x="378" y="357"/>
                    </a:cubicBezTo>
                    <a:cubicBezTo>
                      <a:pt x="378" y="357"/>
                      <a:pt x="378" y="357"/>
                      <a:pt x="378" y="357"/>
                    </a:cubicBezTo>
                    <a:cubicBezTo>
                      <a:pt x="378" y="357"/>
                      <a:pt x="256" y="285"/>
                      <a:pt x="157" y="188"/>
                    </a:cubicBezTo>
                    <a:cubicBezTo>
                      <a:pt x="155" y="186"/>
                      <a:pt x="154" y="184"/>
                      <a:pt x="152" y="183"/>
                    </a:cubicBezTo>
                    <a:cubicBezTo>
                      <a:pt x="100" y="131"/>
                      <a:pt x="56" y="71"/>
                      <a:pt x="29" y="31"/>
                    </a:cubicBezTo>
                    <a:cubicBezTo>
                      <a:pt x="12" y="12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68"/>
              <p:cNvSpPr>
                <a:spLocks noEditPoints="1"/>
              </p:cNvSpPr>
              <p:nvPr/>
            </p:nvSpPr>
            <p:spPr bwMode="auto">
              <a:xfrm>
                <a:off x="983959" y="2082886"/>
                <a:ext cx="574016" cy="412771"/>
              </a:xfrm>
              <a:custGeom>
                <a:avLst/>
                <a:gdLst>
                  <a:gd name="T0" fmla="*/ 242 w 242"/>
                  <a:gd name="T1" fmla="*/ 145 h 174"/>
                  <a:gd name="T2" fmla="*/ 226 w 242"/>
                  <a:gd name="T3" fmla="*/ 174 h 174"/>
                  <a:gd name="T4" fmla="*/ 226 w 242"/>
                  <a:gd name="T5" fmla="*/ 174 h 174"/>
                  <a:gd name="T6" fmla="*/ 226 w 242"/>
                  <a:gd name="T7" fmla="*/ 174 h 174"/>
                  <a:gd name="T8" fmla="*/ 226 w 242"/>
                  <a:gd name="T9" fmla="*/ 174 h 174"/>
                  <a:gd name="T10" fmla="*/ 242 w 242"/>
                  <a:gd name="T11" fmla="*/ 145 h 174"/>
                  <a:gd name="T12" fmla="*/ 242 w 242"/>
                  <a:gd name="T13" fmla="*/ 145 h 174"/>
                  <a:gd name="T14" fmla="*/ 242 w 242"/>
                  <a:gd name="T15" fmla="*/ 145 h 174"/>
                  <a:gd name="T16" fmla="*/ 0 w 242"/>
                  <a:gd name="T17" fmla="*/ 0 h 174"/>
                  <a:gd name="T18" fmla="*/ 5 w 242"/>
                  <a:gd name="T19" fmla="*/ 5 h 174"/>
                  <a:gd name="T20" fmla="*/ 226 w 242"/>
                  <a:gd name="T21" fmla="*/ 174 h 174"/>
                  <a:gd name="T22" fmla="*/ 4 w 242"/>
                  <a:gd name="T23" fmla="*/ 4 h 174"/>
                  <a:gd name="T24" fmla="*/ 0 w 242"/>
                  <a:gd name="T25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2" h="174">
                    <a:moveTo>
                      <a:pt x="242" y="145"/>
                    </a:moveTo>
                    <a:cubicBezTo>
                      <a:pt x="226" y="174"/>
                      <a:pt x="226" y="174"/>
                      <a:pt x="226" y="174"/>
                    </a:cubicBezTo>
                    <a:cubicBezTo>
                      <a:pt x="226" y="174"/>
                      <a:pt x="226" y="174"/>
                      <a:pt x="226" y="174"/>
                    </a:cubicBezTo>
                    <a:cubicBezTo>
                      <a:pt x="226" y="174"/>
                      <a:pt x="226" y="174"/>
                      <a:pt x="226" y="174"/>
                    </a:cubicBezTo>
                    <a:cubicBezTo>
                      <a:pt x="226" y="174"/>
                      <a:pt x="226" y="174"/>
                      <a:pt x="226" y="174"/>
                    </a:cubicBezTo>
                    <a:cubicBezTo>
                      <a:pt x="242" y="145"/>
                      <a:pt x="242" y="145"/>
                      <a:pt x="242" y="145"/>
                    </a:cubicBezTo>
                    <a:cubicBezTo>
                      <a:pt x="242" y="145"/>
                      <a:pt x="242" y="145"/>
                      <a:pt x="242" y="145"/>
                    </a:cubicBezTo>
                    <a:cubicBezTo>
                      <a:pt x="242" y="145"/>
                      <a:pt x="242" y="145"/>
                      <a:pt x="242" y="145"/>
                    </a:cubicBezTo>
                    <a:moveTo>
                      <a:pt x="0" y="0"/>
                    </a:moveTo>
                    <a:cubicBezTo>
                      <a:pt x="2" y="1"/>
                      <a:pt x="3" y="3"/>
                      <a:pt x="5" y="5"/>
                    </a:cubicBezTo>
                    <a:cubicBezTo>
                      <a:pt x="104" y="102"/>
                      <a:pt x="226" y="174"/>
                      <a:pt x="226" y="174"/>
                    </a:cubicBezTo>
                    <a:cubicBezTo>
                      <a:pt x="226" y="174"/>
                      <a:pt x="104" y="101"/>
                      <a:pt x="4" y="4"/>
                    </a:cubicBezTo>
                    <a:cubicBezTo>
                      <a:pt x="3" y="3"/>
                      <a:pt x="1" y="1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69"/>
              <p:cNvSpPr>
                <a:spLocks/>
              </p:cNvSpPr>
              <p:nvPr/>
            </p:nvSpPr>
            <p:spPr bwMode="auto">
              <a:xfrm>
                <a:off x="561756" y="1649005"/>
                <a:ext cx="590635" cy="630609"/>
              </a:xfrm>
              <a:custGeom>
                <a:avLst/>
                <a:gdLst>
                  <a:gd name="T0" fmla="*/ 26 w 249"/>
                  <a:gd name="T1" fmla="*/ 0 h 266"/>
                  <a:gd name="T2" fmla="*/ 0 w 249"/>
                  <a:gd name="T3" fmla="*/ 20 h 266"/>
                  <a:gd name="T4" fmla="*/ 176 w 249"/>
                  <a:gd name="T5" fmla="*/ 207 h 266"/>
                  <a:gd name="T6" fmla="*/ 249 w 249"/>
                  <a:gd name="T7" fmla="*/ 266 h 266"/>
                  <a:gd name="T8" fmla="*/ 164 w 249"/>
                  <a:gd name="T9" fmla="*/ 181 h 266"/>
                  <a:gd name="T10" fmla="*/ 26 w 249"/>
                  <a:gd name="T11" fmla="*/ 0 h 266"/>
                  <a:gd name="T12" fmla="*/ 26 w 249"/>
                  <a:gd name="T13" fmla="*/ 0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9" h="266">
                    <a:moveTo>
                      <a:pt x="26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83" y="120"/>
                      <a:pt x="176" y="207"/>
                    </a:cubicBezTo>
                    <a:cubicBezTo>
                      <a:pt x="199" y="229"/>
                      <a:pt x="224" y="249"/>
                      <a:pt x="249" y="266"/>
                    </a:cubicBezTo>
                    <a:cubicBezTo>
                      <a:pt x="223" y="241"/>
                      <a:pt x="194" y="212"/>
                      <a:pt x="164" y="181"/>
                    </a:cubicBezTo>
                    <a:cubicBezTo>
                      <a:pt x="98" y="110"/>
                      <a:pt x="26" y="0"/>
                      <a:pt x="26" y="0"/>
                    </a:cubicBezTo>
                    <a:cubicBezTo>
                      <a:pt x="26" y="0"/>
                      <a:pt x="26" y="0"/>
                      <a:pt x="2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623289" y="1608582"/>
                <a:ext cx="70966" cy="113635"/>
              </a:xfrm>
              <a:custGeom>
                <a:avLst/>
                <a:gdLst>
                  <a:gd name="T0" fmla="*/ 0 w 30"/>
                  <a:gd name="T1" fmla="*/ 0 h 48"/>
                  <a:gd name="T2" fmla="*/ 29 w 30"/>
                  <a:gd name="T3" fmla="*/ 48 h 48"/>
                  <a:gd name="T4" fmla="*/ 30 w 30"/>
                  <a:gd name="T5" fmla="*/ 48 h 48"/>
                  <a:gd name="T6" fmla="*/ 0 w 30"/>
                  <a:gd name="T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48">
                    <a:moveTo>
                      <a:pt x="0" y="0"/>
                    </a:moveTo>
                    <a:cubicBezTo>
                      <a:pt x="0" y="0"/>
                      <a:pt x="10" y="19"/>
                      <a:pt x="29" y="48"/>
                    </a:cubicBezTo>
                    <a:cubicBezTo>
                      <a:pt x="30" y="48"/>
                      <a:pt x="30" y="48"/>
                      <a:pt x="30" y="48"/>
                    </a:cubicBezTo>
                    <a:cubicBezTo>
                      <a:pt x="11" y="2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71"/>
              <p:cNvSpPr>
                <a:spLocks/>
              </p:cNvSpPr>
              <p:nvPr/>
            </p:nvSpPr>
            <p:spPr bwMode="auto">
              <a:xfrm>
                <a:off x="623289" y="1608582"/>
                <a:ext cx="253771" cy="300932"/>
              </a:xfrm>
              <a:custGeom>
                <a:avLst/>
                <a:gdLst>
                  <a:gd name="T0" fmla="*/ 0 w 107"/>
                  <a:gd name="T1" fmla="*/ 0 h 127"/>
                  <a:gd name="T2" fmla="*/ 0 w 107"/>
                  <a:gd name="T3" fmla="*/ 0 h 127"/>
                  <a:gd name="T4" fmla="*/ 30 w 107"/>
                  <a:gd name="T5" fmla="*/ 48 h 127"/>
                  <a:gd name="T6" fmla="*/ 107 w 107"/>
                  <a:gd name="T7" fmla="*/ 127 h 127"/>
                  <a:gd name="T8" fmla="*/ 0 w 107"/>
                  <a:gd name="T9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127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1" y="20"/>
                      <a:pt x="30" y="48"/>
                    </a:cubicBezTo>
                    <a:cubicBezTo>
                      <a:pt x="50" y="69"/>
                      <a:pt x="77" y="97"/>
                      <a:pt x="107" y="127"/>
                    </a:cubicBezTo>
                    <a:cubicBezTo>
                      <a:pt x="46" y="6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72"/>
              <p:cNvSpPr>
                <a:spLocks/>
              </p:cNvSpPr>
              <p:nvPr/>
            </p:nvSpPr>
            <p:spPr bwMode="auto">
              <a:xfrm>
                <a:off x="1522492" y="2403132"/>
                <a:ext cx="35483" cy="23805"/>
              </a:xfrm>
              <a:custGeom>
                <a:avLst/>
                <a:gdLst>
                  <a:gd name="T0" fmla="*/ 1 w 15"/>
                  <a:gd name="T1" fmla="*/ 0 h 10"/>
                  <a:gd name="T2" fmla="*/ 0 w 15"/>
                  <a:gd name="T3" fmla="*/ 1 h 10"/>
                  <a:gd name="T4" fmla="*/ 15 w 15"/>
                  <a:gd name="T5" fmla="*/ 10 h 10"/>
                  <a:gd name="T6" fmla="*/ 15 w 15"/>
                  <a:gd name="T7" fmla="*/ 10 h 10"/>
                  <a:gd name="T8" fmla="*/ 1 w 15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0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0" y="7"/>
                      <a:pt x="15" y="10"/>
                      <a:pt x="15" y="1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5" y="10"/>
                      <a:pt x="10" y="6"/>
                      <a:pt x="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73"/>
              <p:cNvSpPr>
                <a:spLocks noEditPoints="1"/>
              </p:cNvSpPr>
              <p:nvPr/>
            </p:nvSpPr>
            <p:spPr bwMode="auto">
              <a:xfrm>
                <a:off x="692010" y="1722217"/>
                <a:ext cx="827787" cy="773440"/>
              </a:xfrm>
              <a:custGeom>
                <a:avLst/>
                <a:gdLst>
                  <a:gd name="T0" fmla="*/ 349 w 349"/>
                  <a:gd name="T1" fmla="*/ 326 h 326"/>
                  <a:gd name="T2" fmla="*/ 349 w 349"/>
                  <a:gd name="T3" fmla="*/ 326 h 326"/>
                  <a:gd name="T4" fmla="*/ 349 w 349"/>
                  <a:gd name="T5" fmla="*/ 326 h 326"/>
                  <a:gd name="T6" fmla="*/ 0 w 349"/>
                  <a:gd name="T7" fmla="*/ 0 h 326"/>
                  <a:gd name="T8" fmla="*/ 123 w 349"/>
                  <a:gd name="T9" fmla="*/ 152 h 326"/>
                  <a:gd name="T10" fmla="*/ 1 w 349"/>
                  <a:gd name="T11" fmla="*/ 0 h 326"/>
                  <a:gd name="T12" fmla="*/ 0 w 349"/>
                  <a:gd name="T13" fmla="*/ 0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9" h="326">
                    <a:moveTo>
                      <a:pt x="349" y="326"/>
                    </a:moveTo>
                    <a:cubicBezTo>
                      <a:pt x="349" y="326"/>
                      <a:pt x="349" y="326"/>
                      <a:pt x="349" y="326"/>
                    </a:cubicBezTo>
                    <a:cubicBezTo>
                      <a:pt x="349" y="326"/>
                      <a:pt x="349" y="326"/>
                      <a:pt x="349" y="326"/>
                    </a:cubicBezTo>
                    <a:moveTo>
                      <a:pt x="0" y="0"/>
                    </a:moveTo>
                    <a:cubicBezTo>
                      <a:pt x="27" y="40"/>
                      <a:pt x="71" y="100"/>
                      <a:pt x="123" y="152"/>
                    </a:cubicBezTo>
                    <a:cubicBezTo>
                      <a:pt x="71" y="100"/>
                      <a:pt x="28" y="41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74"/>
              <p:cNvSpPr>
                <a:spLocks/>
              </p:cNvSpPr>
              <p:nvPr/>
            </p:nvSpPr>
            <p:spPr bwMode="auto">
              <a:xfrm>
                <a:off x="694255" y="1722217"/>
                <a:ext cx="863720" cy="773440"/>
              </a:xfrm>
              <a:custGeom>
                <a:avLst/>
                <a:gdLst>
                  <a:gd name="T0" fmla="*/ 0 w 364"/>
                  <a:gd name="T1" fmla="*/ 0 h 326"/>
                  <a:gd name="T2" fmla="*/ 0 w 364"/>
                  <a:gd name="T3" fmla="*/ 0 h 326"/>
                  <a:gd name="T4" fmla="*/ 122 w 364"/>
                  <a:gd name="T5" fmla="*/ 152 h 326"/>
                  <a:gd name="T6" fmla="*/ 126 w 364"/>
                  <a:gd name="T7" fmla="*/ 156 h 326"/>
                  <a:gd name="T8" fmla="*/ 348 w 364"/>
                  <a:gd name="T9" fmla="*/ 326 h 326"/>
                  <a:gd name="T10" fmla="*/ 348 w 364"/>
                  <a:gd name="T11" fmla="*/ 326 h 326"/>
                  <a:gd name="T12" fmla="*/ 348 w 364"/>
                  <a:gd name="T13" fmla="*/ 326 h 326"/>
                  <a:gd name="T14" fmla="*/ 364 w 364"/>
                  <a:gd name="T15" fmla="*/ 297 h 326"/>
                  <a:gd name="T16" fmla="*/ 349 w 364"/>
                  <a:gd name="T17" fmla="*/ 288 h 326"/>
                  <a:gd name="T18" fmla="*/ 341 w 364"/>
                  <a:gd name="T19" fmla="*/ 302 h 326"/>
                  <a:gd name="T20" fmla="*/ 143 w 364"/>
                  <a:gd name="T21" fmla="*/ 147 h 326"/>
                  <a:gd name="T22" fmla="*/ 77 w 364"/>
                  <a:gd name="T23" fmla="*/ 79 h 326"/>
                  <a:gd name="T24" fmla="*/ 0 w 364"/>
                  <a:gd name="T25" fmla="*/ 0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4" h="326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7" y="41"/>
                      <a:pt x="70" y="100"/>
                      <a:pt x="122" y="152"/>
                    </a:cubicBezTo>
                    <a:cubicBezTo>
                      <a:pt x="123" y="153"/>
                      <a:pt x="125" y="155"/>
                      <a:pt x="126" y="156"/>
                    </a:cubicBezTo>
                    <a:cubicBezTo>
                      <a:pt x="226" y="253"/>
                      <a:pt x="348" y="326"/>
                      <a:pt x="348" y="326"/>
                    </a:cubicBezTo>
                    <a:cubicBezTo>
                      <a:pt x="348" y="326"/>
                      <a:pt x="348" y="326"/>
                      <a:pt x="348" y="326"/>
                    </a:cubicBezTo>
                    <a:cubicBezTo>
                      <a:pt x="348" y="326"/>
                      <a:pt x="348" y="326"/>
                      <a:pt x="348" y="326"/>
                    </a:cubicBezTo>
                    <a:cubicBezTo>
                      <a:pt x="364" y="297"/>
                      <a:pt x="364" y="297"/>
                      <a:pt x="364" y="297"/>
                    </a:cubicBezTo>
                    <a:cubicBezTo>
                      <a:pt x="364" y="297"/>
                      <a:pt x="359" y="294"/>
                      <a:pt x="349" y="288"/>
                    </a:cubicBezTo>
                    <a:cubicBezTo>
                      <a:pt x="341" y="302"/>
                      <a:pt x="341" y="302"/>
                      <a:pt x="341" y="302"/>
                    </a:cubicBezTo>
                    <a:cubicBezTo>
                      <a:pt x="341" y="302"/>
                      <a:pt x="242" y="244"/>
                      <a:pt x="143" y="147"/>
                    </a:cubicBezTo>
                    <a:cubicBezTo>
                      <a:pt x="120" y="125"/>
                      <a:pt x="98" y="101"/>
                      <a:pt x="77" y="79"/>
                    </a:cubicBezTo>
                    <a:cubicBezTo>
                      <a:pt x="47" y="49"/>
                      <a:pt x="20" y="21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75"/>
              <p:cNvSpPr>
                <a:spLocks/>
              </p:cNvSpPr>
              <p:nvPr/>
            </p:nvSpPr>
            <p:spPr bwMode="auto">
              <a:xfrm>
                <a:off x="623289" y="1570404"/>
                <a:ext cx="654864" cy="675974"/>
              </a:xfrm>
              <a:custGeom>
                <a:avLst/>
                <a:gdLst>
                  <a:gd name="T0" fmla="*/ 20 w 276"/>
                  <a:gd name="T1" fmla="*/ 0 h 285"/>
                  <a:gd name="T2" fmla="*/ 0 w 276"/>
                  <a:gd name="T3" fmla="*/ 16 h 285"/>
                  <a:gd name="T4" fmla="*/ 107 w 276"/>
                  <a:gd name="T5" fmla="*/ 143 h 285"/>
                  <a:gd name="T6" fmla="*/ 164 w 276"/>
                  <a:gd name="T7" fmla="*/ 197 h 285"/>
                  <a:gd name="T8" fmla="*/ 276 w 276"/>
                  <a:gd name="T9" fmla="*/ 285 h 285"/>
                  <a:gd name="T10" fmla="*/ 191 w 276"/>
                  <a:gd name="T11" fmla="*/ 205 h 285"/>
                  <a:gd name="T12" fmla="*/ 83 w 276"/>
                  <a:gd name="T13" fmla="*/ 76 h 285"/>
                  <a:gd name="T14" fmla="*/ 20 w 276"/>
                  <a:gd name="T15" fmla="*/ 0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6" h="285">
                    <a:moveTo>
                      <a:pt x="20" y="0"/>
                    </a:move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46" y="76"/>
                      <a:pt x="107" y="143"/>
                    </a:cubicBezTo>
                    <a:cubicBezTo>
                      <a:pt x="126" y="161"/>
                      <a:pt x="146" y="180"/>
                      <a:pt x="164" y="197"/>
                    </a:cubicBezTo>
                    <a:cubicBezTo>
                      <a:pt x="201" y="230"/>
                      <a:pt x="241" y="260"/>
                      <a:pt x="276" y="285"/>
                    </a:cubicBezTo>
                    <a:cubicBezTo>
                      <a:pt x="251" y="262"/>
                      <a:pt x="222" y="235"/>
                      <a:pt x="191" y="205"/>
                    </a:cubicBezTo>
                    <a:cubicBezTo>
                      <a:pt x="148" y="163"/>
                      <a:pt x="111" y="115"/>
                      <a:pt x="83" y="76"/>
                    </a:cubicBezTo>
                    <a:cubicBezTo>
                      <a:pt x="46" y="33"/>
                      <a:pt x="20" y="0"/>
                      <a:pt x="2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76"/>
              <p:cNvSpPr>
                <a:spLocks/>
              </p:cNvSpPr>
              <p:nvPr/>
            </p:nvSpPr>
            <p:spPr bwMode="auto">
              <a:xfrm>
                <a:off x="877060" y="1909514"/>
                <a:ext cx="626567" cy="529101"/>
              </a:xfrm>
              <a:custGeom>
                <a:avLst/>
                <a:gdLst>
                  <a:gd name="T0" fmla="*/ 0 w 264"/>
                  <a:gd name="T1" fmla="*/ 0 h 223"/>
                  <a:gd name="T2" fmla="*/ 66 w 264"/>
                  <a:gd name="T3" fmla="*/ 68 h 223"/>
                  <a:gd name="T4" fmla="*/ 264 w 264"/>
                  <a:gd name="T5" fmla="*/ 223 h 223"/>
                  <a:gd name="T6" fmla="*/ 169 w 264"/>
                  <a:gd name="T7" fmla="*/ 142 h 223"/>
                  <a:gd name="T8" fmla="*/ 57 w 264"/>
                  <a:gd name="T9" fmla="*/ 54 h 223"/>
                  <a:gd name="T10" fmla="*/ 0 w 264"/>
                  <a:gd name="T11" fmla="*/ 0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4" h="223">
                    <a:moveTo>
                      <a:pt x="0" y="0"/>
                    </a:moveTo>
                    <a:cubicBezTo>
                      <a:pt x="21" y="22"/>
                      <a:pt x="43" y="46"/>
                      <a:pt x="66" y="68"/>
                    </a:cubicBezTo>
                    <a:cubicBezTo>
                      <a:pt x="165" y="165"/>
                      <a:pt x="264" y="223"/>
                      <a:pt x="264" y="223"/>
                    </a:cubicBezTo>
                    <a:cubicBezTo>
                      <a:pt x="264" y="223"/>
                      <a:pt x="225" y="193"/>
                      <a:pt x="169" y="142"/>
                    </a:cubicBezTo>
                    <a:cubicBezTo>
                      <a:pt x="134" y="117"/>
                      <a:pt x="94" y="87"/>
                      <a:pt x="57" y="54"/>
                    </a:cubicBezTo>
                    <a:cubicBezTo>
                      <a:pt x="39" y="37"/>
                      <a:pt x="19" y="18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77"/>
              <p:cNvSpPr>
                <a:spLocks/>
              </p:cNvSpPr>
              <p:nvPr/>
            </p:nvSpPr>
            <p:spPr bwMode="auto">
              <a:xfrm>
                <a:off x="704137" y="1570404"/>
                <a:ext cx="830033" cy="816109"/>
              </a:xfrm>
              <a:custGeom>
                <a:avLst/>
                <a:gdLst>
                  <a:gd name="T0" fmla="*/ 0 w 350"/>
                  <a:gd name="T1" fmla="*/ 0 h 344"/>
                  <a:gd name="T2" fmla="*/ 49 w 350"/>
                  <a:gd name="T3" fmla="*/ 76 h 344"/>
                  <a:gd name="T4" fmla="*/ 151 w 350"/>
                  <a:gd name="T5" fmla="*/ 183 h 344"/>
                  <a:gd name="T6" fmla="*/ 350 w 350"/>
                  <a:gd name="T7" fmla="*/ 344 h 344"/>
                  <a:gd name="T8" fmla="*/ 350 w 350"/>
                  <a:gd name="T9" fmla="*/ 344 h 344"/>
                  <a:gd name="T10" fmla="*/ 216 w 350"/>
                  <a:gd name="T11" fmla="*/ 219 h 344"/>
                  <a:gd name="T12" fmla="*/ 180 w 350"/>
                  <a:gd name="T13" fmla="*/ 186 h 344"/>
                  <a:gd name="T14" fmla="*/ 0 w 350"/>
                  <a:gd name="T15" fmla="*/ 0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0" h="344">
                    <a:moveTo>
                      <a:pt x="0" y="0"/>
                    </a:moveTo>
                    <a:cubicBezTo>
                      <a:pt x="0" y="0"/>
                      <a:pt x="19" y="32"/>
                      <a:pt x="49" y="76"/>
                    </a:cubicBezTo>
                    <a:cubicBezTo>
                      <a:pt x="78" y="108"/>
                      <a:pt x="114" y="147"/>
                      <a:pt x="151" y="183"/>
                    </a:cubicBezTo>
                    <a:cubicBezTo>
                      <a:pt x="253" y="280"/>
                      <a:pt x="350" y="344"/>
                      <a:pt x="350" y="344"/>
                    </a:cubicBezTo>
                    <a:cubicBezTo>
                      <a:pt x="350" y="344"/>
                      <a:pt x="350" y="344"/>
                      <a:pt x="350" y="344"/>
                    </a:cubicBezTo>
                    <a:cubicBezTo>
                      <a:pt x="350" y="344"/>
                      <a:pt x="291" y="292"/>
                      <a:pt x="216" y="219"/>
                    </a:cubicBezTo>
                    <a:cubicBezTo>
                      <a:pt x="204" y="209"/>
                      <a:pt x="192" y="198"/>
                      <a:pt x="180" y="186"/>
                    </a:cubicBezTo>
                    <a:cubicBezTo>
                      <a:pt x="86" y="99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78"/>
              <p:cNvSpPr>
                <a:spLocks/>
              </p:cNvSpPr>
              <p:nvPr/>
            </p:nvSpPr>
            <p:spPr bwMode="auto">
              <a:xfrm>
                <a:off x="820018" y="1750963"/>
                <a:ext cx="714152" cy="652169"/>
              </a:xfrm>
              <a:custGeom>
                <a:avLst/>
                <a:gdLst>
                  <a:gd name="T0" fmla="*/ 0 w 301"/>
                  <a:gd name="T1" fmla="*/ 0 h 275"/>
                  <a:gd name="T2" fmla="*/ 0 w 301"/>
                  <a:gd name="T3" fmla="*/ 0 h 275"/>
                  <a:gd name="T4" fmla="*/ 102 w 301"/>
                  <a:gd name="T5" fmla="*/ 107 h 275"/>
                  <a:gd name="T6" fmla="*/ 297 w 301"/>
                  <a:gd name="T7" fmla="*/ 275 h 275"/>
                  <a:gd name="T8" fmla="*/ 301 w 301"/>
                  <a:gd name="T9" fmla="*/ 268 h 275"/>
                  <a:gd name="T10" fmla="*/ 102 w 301"/>
                  <a:gd name="T11" fmla="*/ 107 h 275"/>
                  <a:gd name="T12" fmla="*/ 0 w 301"/>
                  <a:gd name="T13" fmla="*/ 0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1" h="275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9" y="32"/>
                      <a:pt x="65" y="71"/>
                      <a:pt x="102" y="107"/>
                    </a:cubicBezTo>
                    <a:cubicBezTo>
                      <a:pt x="182" y="183"/>
                      <a:pt x="265" y="249"/>
                      <a:pt x="297" y="275"/>
                    </a:cubicBezTo>
                    <a:cubicBezTo>
                      <a:pt x="301" y="268"/>
                      <a:pt x="301" y="268"/>
                      <a:pt x="301" y="268"/>
                    </a:cubicBezTo>
                    <a:cubicBezTo>
                      <a:pt x="301" y="268"/>
                      <a:pt x="204" y="204"/>
                      <a:pt x="102" y="107"/>
                    </a:cubicBezTo>
                    <a:cubicBezTo>
                      <a:pt x="65" y="71"/>
                      <a:pt x="29" y="32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79"/>
              <p:cNvSpPr>
                <a:spLocks/>
              </p:cNvSpPr>
              <p:nvPr/>
            </p:nvSpPr>
            <p:spPr bwMode="auto">
              <a:xfrm>
                <a:off x="820018" y="1750963"/>
                <a:ext cx="704720" cy="654415"/>
              </a:xfrm>
              <a:custGeom>
                <a:avLst/>
                <a:gdLst>
                  <a:gd name="T0" fmla="*/ 0 w 297"/>
                  <a:gd name="T1" fmla="*/ 0 h 276"/>
                  <a:gd name="T2" fmla="*/ 108 w 297"/>
                  <a:gd name="T3" fmla="*/ 129 h 276"/>
                  <a:gd name="T4" fmla="*/ 193 w 297"/>
                  <a:gd name="T5" fmla="*/ 209 h 276"/>
                  <a:gd name="T6" fmla="*/ 296 w 297"/>
                  <a:gd name="T7" fmla="*/ 276 h 276"/>
                  <a:gd name="T8" fmla="*/ 297 w 297"/>
                  <a:gd name="T9" fmla="*/ 275 h 276"/>
                  <a:gd name="T10" fmla="*/ 102 w 297"/>
                  <a:gd name="T11" fmla="*/ 107 h 276"/>
                  <a:gd name="T12" fmla="*/ 0 w 297"/>
                  <a:gd name="T13" fmla="*/ 0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7" h="276">
                    <a:moveTo>
                      <a:pt x="0" y="0"/>
                    </a:moveTo>
                    <a:cubicBezTo>
                      <a:pt x="28" y="39"/>
                      <a:pt x="65" y="87"/>
                      <a:pt x="108" y="129"/>
                    </a:cubicBezTo>
                    <a:cubicBezTo>
                      <a:pt x="139" y="159"/>
                      <a:pt x="168" y="186"/>
                      <a:pt x="193" y="209"/>
                    </a:cubicBezTo>
                    <a:cubicBezTo>
                      <a:pt x="237" y="241"/>
                      <a:pt x="276" y="264"/>
                      <a:pt x="296" y="276"/>
                    </a:cubicBezTo>
                    <a:cubicBezTo>
                      <a:pt x="297" y="275"/>
                      <a:pt x="297" y="275"/>
                      <a:pt x="297" y="275"/>
                    </a:cubicBezTo>
                    <a:cubicBezTo>
                      <a:pt x="265" y="249"/>
                      <a:pt x="182" y="183"/>
                      <a:pt x="102" y="107"/>
                    </a:cubicBezTo>
                    <a:cubicBezTo>
                      <a:pt x="65" y="71"/>
                      <a:pt x="29" y="32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80"/>
              <p:cNvSpPr>
                <a:spLocks/>
              </p:cNvSpPr>
              <p:nvPr/>
            </p:nvSpPr>
            <p:spPr bwMode="auto">
              <a:xfrm>
                <a:off x="1278153" y="2246378"/>
                <a:ext cx="244339" cy="192237"/>
              </a:xfrm>
              <a:custGeom>
                <a:avLst/>
                <a:gdLst>
                  <a:gd name="T0" fmla="*/ 0 w 103"/>
                  <a:gd name="T1" fmla="*/ 0 h 81"/>
                  <a:gd name="T2" fmla="*/ 95 w 103"/>
                  <a:gd name="T3" fmla="*/ 81 h 81"/>
                  <a:gd name="T4" fmla="*/ 103 w 103"/>
                  <a:gd name="T5" fmla="*/ 67 h 81"/>
                  <a:gd name="T6" fmla="*/ 0 w 103"/>
                  <a:gd name="T7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3" h="81">
                    <a:moveTo>
                      <a:pt x="0" y="0"/>
                    </a:moveTo>
                    <a:cubicBezTo>
                      <a:pt x="56" y="51"/>
                      <a:pt x="95" y="81"/>
                      <a:pt x="95" y="81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83" y="55"/>
                      <a:pt x="44" y="32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81"/>
              <p:cNvSpPr>
                <a:spLocks/>
              </p:cNvSpPr>
              <p:nvPr/>
            </p:nvSpPr>
            <p:spPr bwMode="auto">
              <a:xfrm>
                <a:off x="846069" y="1675056"/>
                <a:ext cx="752330" cy="697084"/>
              </a:xfrm>
              <a:custGeom>
                <a:avLst/>
                <a:gdLst>
                  <a:gd name="T0" fmla="*/ 0 w 317"/>
                  <a:gd name="T1" fmla="*/ 0 h 294"/>
                  <a:gd name="T2" fmla="*/ 100 w 317"/>
                  <a:gd name="T3" fmla="*/ 119 h 294"/>
                  <a:gd name="T4" fmla="*/ 156 w 317"/>
                  <a:gd name="T5" fmla="*/ 175 h 294"/>
                  <a:gd name="T6" fmla="*/ 317 w 317"/>
                  <a:gd name="T7" fmla="*/ 294 h 294"/>
                  <a:gd name="T8" fmla="*/ 115 w 317"/>
                  <a:gd name="T9" fmla="*/ 125 h 294"/>
                  <a:gd name="T10" fmla="*/ 0 w 317"/>
                  <a:gd name="T11" fmla="*/ 0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7" h="294">
                    <a:moveTo>
                      <a:pt x="0" y="0"/>
                    </a:moveTo>
                    <a:cubicBezTo>
                      <a:pt x="24" y="34"/>
                      <a:pt x="59" y="78"/>
                      <a:pt x="100" y="119"/>
                    </a:cubicBezTo>
                    <a:cubicBezTo>
                      <a:pt x="119" y="139"/>
                      <a:pt x="138" y="158"/>
                      <a:pt x="156" y="175"/>
                    </a:cubicBezTo>
                    <a:cubicBezTo>
                      <a:pt x="243" y="250"/>
                      <a:pt x="317" y="294"/>
                      <a:pt x="317" y="294"/>
                    </a:cubicBezTo>
                    <a:cubicBezTo>
                      <a:pt x="317" y="294"/>
                      <a:pt x="214" y="224"/>
                      <a:pt x="115" y="125"/>
                    </a:cubicBezTo>
                    <a:cubicBezTo>
                      <a:pt x="71" y="81"/>
                      <a:pt x="31" y="35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82"/>
              <p:cNvSpPr>
                <a:spLocks/>
              </p:cNvSpPr>
              <p:nvPr/>
            </p:nvSpPr>
            <p:spPr bwMode="auto">
              <a:xfrm>
                <a:off x="704137" y="1542107"/>
                <a:ext cx="512033" cy="547965"/>
              </a:xfrm>
              <a:custGeom>
                <a:avLst/>
                <a:gdLst>
                  <a:gd name="T0" fmla="*/ 14 w 216"/>
                  <a:gd name="T1" fmla="*/ 0 h 231"/>
                  <a:gd name="T2" fmla="*/ 0 w 216"/>
                  <a:gd name="T3" fmla="*/ 12 h 231"/>
                  <a:gd name="T4" fmla="*/ 180 w 216"/>
                  <a:gd name="T5" fmla="*/ 198 h 231"/>
                  <a:gd name="T6" fmla="*/ 216 w 216"/>
                  <a:gd name="T7" fmla="*/ 231 h 231"/>
                  <a:gd name="T8" fmla="*/ 160 w 216"/>
                  <a:gd name="T9" fmla="*/ 175 h 231"/>
                  <a:gd name="T10" fmla="*/ 60 w 216"/>
                  <a:gd name="T11" fmla="*/ 56 h 231"/>
                  <a:gd name="T12" fmla="*/ 14 w 216"/>
                  <a:gd name="T13" fmla="*/ 0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6" h="231">
                    <a:moveTo>
                      <a:pt x="14" y="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86" y="111"/>
                      <a:pt x="180" y="198"/>
                    </a:cubicBezTo>
                    <a:cubicBezTo>
                      <a:pt x="192" y="210"/>
                      <a:pt x="204" y="221"/>
                      <a:pt x="216" y="231"/>
                    </a:cubicBezTo>
                    <a:cubicBezTo>
                      <a:pt x="198" y="214"/>
                      <a:pt x="179" y="195"/>
                      <a:pt x="160" y="175"/>
                    </a:cubicBezTo>
                    <a:cubicBezTo>
                      <a:pt x="119" y="134"/>
                      <a:pt x="84" y="90"/>
                      <a:pt x="60" y="56"/>
                    </a:cubicBezTo>
                    <a:cubicBezTo>
                      <a:pt x="39" y="31"/>
                      <a:pt x="23" y="11"/>
                      <a:pt x="14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83"/>
              <p:cNvSpPr>
                <a:spLocks/>
              </p:cNvSpPr>
              <p:nvPr/>
            </p:nvSpPr>
            <p:spPr bwMode="auto">
              <a:xfrm>
                <a:off x="723001" y="1523243"/>
                <a:ext cx="16619" cy="18864"/>
              </a:xfrm>
              <a:custGeom>
                <a:avLst/>
                <a:gdLst>
                  <a:gd name="T0" fmla="*/ 0 w 7"/>
                  <a:gd name="T1" fmla="*/ 0 h 8"/>
                  <a:gd name="T2" fmla="*/ 6 w 7"/>
                  <a:gd name="T3" fmla="*/ 8 h 8"/>
                  <a:gd name="T4" fmla="*/ 7 w 7"/>
                  <a:gd name="T5" fmla="*/ 8 h 8"/>
                  <a:gd name="T6" fmla="*/ 0 w 7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8">
                    <a:moveTo>
                      <a:pt x="0" y="0"/>
                    </a:moveTo>
                    <a:cubicBezTo>
                      <a:pt x="0" y="0"/>
                      <a:pt x="2" y="3"/>
                      <a:pt x="6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2" y="3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84"/>
              <p:cNvSpPr>
                <a:spLocks/>
              </p:cNvSpPr>
              <p:nvPr/>
            </p:nvSpPr>
            <p:spPr bwMode="auto">
              <a:xfrm>
                <a:off x="1548543" y="2229759"/>
                <a:ext cx="92525" cy="71415"/>
              </a:xfrm>
              <a:custGeom>
                <a:avLst/>
                <a:gdLst>
                  <a:gd name="T0" fmla="*/ 1 w 39"/>
                  <a:gd name="T1" fmla="*/ 0 h 30"/>
                  <a:gd name="T2" fmla="*/ 0 w 39"/>
                  <a:gd name="T3" fmla="*/ 2 h 30"/>
                  <a:gd name="T4" fmla="*/ 39 w 39"/>
                  <a:gd name="T5" fmla="*/ 30 h 30"/>
                  <a:gd name="T6" fmla="*/ 39 w 39"/>
                  <a:gd name="T7" fmla="*/ 30 h 30"/>
                  <a:gd name="T8" fmla="*/ 1 w 39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0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4" y="20"/>
                      <a:pt x="39" y="30"/>
                      <a:pt x="39" y="30"/>
                    </a:cubicBezTo>
                    <a:cubicBezTo>
                      <a:pt x="39" y="30"/>
                      <a:pt x="39" y="30"/>
                      <a:pt x="39" y="30"/>
                    </a:cubicBezTo>
                    <a:cubicBezTo>
                      <a:pt x="39" y="30"/>
                      <a:pt x="25" y="19"/>
                      <a:pt x="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85"/>
              <p:cNvSpPr>
                <a:spLocks/>
              </p:cNvSpPr>
              <p:nvPr/>
            </p:nvSpPr>
            <p:spPr bwMode="auto">
              <a:xfrm>
                <a:off x="1548543" y="2229759"/>
                <a:ext cx="2246" cy="4941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2 h 2"/>
                  <a:gd name="T4" fmla="*/ 0 w 1"/>
                  <a:gd name="T5" fmla="*/ 2 h 2"/>
                  <a:gd name="T6" fmla="*/ 1 w 1"/>
                  <a:gd name="T7" fmla="*/ 0 h 2"/>
                  <a:gd name="T8" fmla="*/ 1 w 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86"/>
              <p:cNvSpPr>
                <a:spLocks/>
              </p:cNvSpPr>
              <p:nvPr/>
            </p:nvSpPr>
            <p:spPr bwMode="auto">
              <a:xfrm>
                <a:off x="798908" y="1603641"/>
                <a:ext cx="842160" cy="768499"/>
              </a:xfrm>
              <a:custGeom>
                <a:avLst/>
                <a:gdLst>
                  <a:gd name="T0" fmla="*/ 0 w 355"/>
                  <a:gd name="T1" fmla="*/ 0 h 324"/>
                  <a:gd name="T2" fmla="*/ 20 w 355"/>
                  <a:gd name="T3" fmla="*/ 30 h 324"/>
                  <a:gd name="T4" fmla="*/ 135 w 355"/>
                  <a:gd name="T5" fmla="*/ 155 h 324"/>
                  <a:gd name="T6" fmla="*/ 337 w 355"/>
                  <a:gd name="T7" fmla="*/ 324 h 324"/>
                  <a:gd name="T8" fmla="*/ 355 w 355"/>
                  <a:gd name="T9" fmla="*/ 294 h 324"/>
                  <a:gd name="T10" fmla="*/ 316 w 355"/>
                  <a:gd name="T11" fmla="*/ 266 h 324"/>
                  <a:gd name="T12" fmla="*/ 308 w 355"/>
                  <a:gd name="T13" fmla="*/ 274 h 324"/>
                  <a:gd name="T14" fmla="*/ 140 w 355"/>
                  <a:gd name="T15" fmla="*/ 137 h 324"/>
                  <a:gd name="T16" fmla="*/ 0 w 355"/>
                  <a:gd name="T17" fmla="*/ 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5" h="324">
                    <a:moveTo>
                      <a:pt x="0" y="0"/>
                    </a:moveTo>
                    <a:cubicBezTo>
                      <a:pt x="6" y="9"/>
                      <a:pt x="13" y="19"/>
                      <a:pt x="20" y="30"/>
                    </a:cubicBezTo>
                    <a:cubicBezTo>
                      <a:pt x="51" y="65"/>
                      <a:pt x="91" y="111"/>
                      <a:pt x="135" y="155"/>
                    </a:cubicBezTo>
                    <a:cubicBezTo>
                      <a:pt x="234" y="254"/>
                      <a:pt x="337" y="324"/>
                      <a:pt x="337" y="324"/>
                    </a:cubicBezTo>
                    <a:cubicBezTo>
                      <a:pt x="355" y="294"/>
                      <a:pt x="355" y="294"/>
                      <a:pt x="355" y="294"/>
                    </a:cubicBezTo>
                    <a:cubicBezTo>
                      <a:pt x="355" y="294"/>
                      <a:pt x="340" y="284"/>
                      <a:pt x="316" y="266"/>
                    </a:cubicBezTo>
                    <a:cubicBezTo>
                      <a:pt x="308" y="274"/>
                      <a:pt x="308" y="274"/>
                      <a:pt x="308" y="274"/>
                    </a:cubicBezTo>
                    <a:cubicBezTo>
                      <a:pt x="308" y="274"/>
                      <a:pt x="243" y="231"/>
                      <a:pt x="140" y="137"/>
                    </a:cubicBezTo>
                    <a:cubicBezTo>
                      <a:pt x="83" y="86"/>
                      <a:pt x="32" y="34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87"/>
              <p:cNvSpPr>
                <a:spLocks/>
              </p:cNvSpPr>
              <p:nvPr/>
            </p:nvSpPr>
            <p:spPr bwMode="auto">
              <a:xfrm>
                <a:off x="1529678" y="2234700"/>
                <a:ext cx="18864" cy="18864"/>
              </a:xfrm>
              <a:custGeom>
                <a:avLst/>
                <a:gdLst>
                  <a:gd name="T0" fmla="*/ 8 w 8"/>
                  <a:gd name="T1" fmla="*/ 0 h 8"/>
                  <a:gd name="T2" fmla="*/ 0 w 8"/>
                  <a:gd name="T3" fmla="*/ 8 h 8"/>
                  <a:gd name="T4" fmla="*/ 0 w 8"/>
                  <a:gd name="T5" fmla="*/ 8 h 8"/>
                  <a:gd name="T6" fmla="*/ 0 w 8"/>
                  <a:gd name="T7" fmla="*/ 8 h 8"/>
                  <a:gd name="T8" fmla="*/ 8 w 8"/>
                  <a:gd name="T9" fmla="*/ 0 h 8"/>
                  <a:gd name="T10" fmla="*/ 8 w 8"/>
                  <a:gd name="T1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8" y="0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88"/>
              <p:cNvSpPr>
                <a:spLocks/>
              </p:cNvSpPr>
              <p:nvPr/>
            </p:nvSpPr>
            <p:spPr bwMode="auto">
              <a:xfrm>
                <a:off x="736925" y="1542107"/>
                <a:ext cx="109144" cy="132949"/>
              </a:xfrm>
              <a:custGeom>
                <a:avLst/>
                <a:gdLst>
                  <a:gd name="T0" fmla="*/ 1 w 46"/>
                  <a:gd name="T1" fmla="*/ 0 h 56"/>
                  <a:gd name="T2" fmla="*/ 0 w 46"/>
                  <a:gd name="T3" fmla="*/ 0 h 56"/>
                  <a:gd name="T4" fmla="*/ 46 w 46"/>
                  <a:gd name="T5" fmla="*/ 56 h 56"/>
                  <a:gd name="T6" fmla="*/ 26 w 46"/>
                  <a:gd name="T7" fmla="*/ 26 h 56"/>
                  <a:gd name="T8" fmla="*/ 1 w 46"/>
                  <a:gd name="T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56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" y="11"/>
                      <a:pt x="25" y="31"/>
                      <a:pt x="46" y="56"/>
                    </a:cubicBezTo>
                    <a:cubicBezTo>
                      <a:pt x="39" y="45"/>
                      <a:pt x="32" y="35"/>
                      <a:pt x="26" y="26"/>
                    </a:cubicBezTo>
                    <a:cubicBezTo>
                      <a:pt x="15" y="15"/>
                      <a:pt x="7" y="6"/>
                      <a:pt x="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89"/>
              <p:cNvSpPr>
                <a:spLocks/>
              </p:cNvSpPr>
              <p:nvPr/>
            </p:nvSpPr>
            <p:spPr bwMode="auto">
              <a:xfrm>
                <a:off x="917484" y="1594209"/>
                <a:ext cx="16619" cy="16619"/>
              </a:xfrm>
              <a:custGeom>
                <a:avLst/>
                <a:gdLst>
                  <a:gd name="T0" fmla="*/ 0 w 7"/>
                  <a:gd name="T1" fmla="*/ 0 h 7"/>
                  <a:gd name="T2" fmla="*/ 7 w 7"/>
                  <a:gd name="T3" fmla="*/ 7 h 7"/>
                  <a:gd name="T4" fmla="*/ 7 w 7"/>
                  <a:gd name="T5" fmla="*/ 7 h 7"/>
                  <a:gd name="T6" fmla="*/ 0 w 7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7">
                    <a:moveTo>
                      <a:pt x="0" y="0"/>
                    </a:moveTo>
                    <a:cubicBezTo>
                      <a:pt x="2" y="2"/>
                      <a:pt x="4" y="4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4" y="4"/>
                      <a:pt x="2" y="2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90"/>
              <p:cNvSpPr>
                <a:spLocks/>
              </p:cNvSpPr>
              <p:nvPr/>
            </p:nvSpPr>
            <p:spPr bwMode="auto">
              <a:xfrm>
                <a:off x="793967" y="1463955"/>
                <a:ext cx="249279" cy="308118"/>
              </a:xfrm>
              <a:custGeom>
                <a:avLst/>
                <a:gdLst>
                  <a:gd name="T0" fmla="*/ 0 w 105"/>
                  <a:gd name="T1" fmla="*/ 0 h 130"/>
                  <a:gd name="T2" fmla="*/ 105 w 105"/>
                  <a:gd name="T3" fmla="*/ 130 h 130"/>
                  <a:gd name="T4" fmla="*/ 59 w 105"/>
                  <a:gd name="T5" fmla="*/ 62 h 130"/>
                  <a:gd name="T6" fmla="*/ 52 w 105"/>
                  <a:gd name="T7" fmla="*/ 55 h 130"/>
                  <a:gd name="T8" fmla="*/ 0 w 105"/>
                  <a:gd name="T9" fmla="*/ 0 h 130"/>
                  <a:gd name="T10" fmla="*/ 0 w 105"/>
                  <a:gd name="T11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5" h="130">
                    <a:moveTo>
                      <a:pt x="0" y="0"/>
                    </a:moveTo>
                    <a:cubicBezTo>
                      <a:pt x="0" y="0"/>
                      <a:pt x="45" y="63"/>
                      <a:pt x="105" y="130"/>
                    </a:cubicBezTo>
                    <a:cubicBezTo>
                      <a:pt x="86" y="104"/>
                      <a:pt x="71" y="81"/>
                      <a:pt x="59" y="62"/>
                    </a:cubicBezTo>
                    <a:cubicBezTo>
                      <a:pt x="56" y="59"/>
                      <a:pt x="54" y="57"/>
                      <a:pt x="52" y="55"/>
                    </a:cubicBezTo>
                    <a:cubicBezTo>
                      <a:pt x="20" y="23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Oval 91"/>
              <p:cNvSpPr>
                <a:spLocks noChangeArrowheads="1"/>
              </p:cNvSpPr>
              <p:nvPr/>
            </p:nvSpPr>
            <p:spPr bwMode="auto">
              <a:xfrm>
                <a:off x="1598399" y="2170471"/>
                <a:ext cx="449" cy="44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92"/>
              <p:cNvSpPr>
                <a:spLocks/>
              </p:cNvSpPr>
              <p:nvPr/>
            </p:nvSpPr>
            <p:spPr bwMode="auto">
              <a:xfrm>
                <a:off x="1550789" y="2170471"/>
                <a:ext cx="47610" cy="59288"/>
              </a:xfrm>
              <a:custGeom>
                <a:avLst/>
                <a:gdLst>
                  <a:gd name="T0" fmla="*/ 20 w 20"/>
                  <a:gd name="T1" fmla="*/ 0 h 25"/>
                  <a:gd name="T2" fmla="*/ 0 w 20"/>
                  <a:gd name="T3" fmla="*/ 25 h 25"/>
                  <a:gd name="T4" fmla="*/ 0 w 20"/>
                  <a:gd name="T5" fmla="*/ 25 h 25"/>
                  <a:gd name="T6" fmla="*/ 20 w 20"/>
                  <a:gd name="T7" fmla="*/ 0 h 25"/>
                  <a:gd name="T8" fmla="*/ 20 w 20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5">
                    <a:moveTo>
                      <a:pt x="20" y="0"/>
                    </a:move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93"/>
              <p:cNvSpPr>
                <a:spLocks/>
              </p:cNvSpPr>
              <p:nvPr/>
            </p:nvSpPr>
            <p:spPr bwMode="auto">
              <a:xfrm>
                <a:off x="723001" y="1463955"/>
                <a:ext cx="503050" cy="514728"/>
              </a:xfrm>
              <a:custGeom>
                <a:avLst/>
                <a:gdLst>
                  <a:gd name="T0" fmla="*/ 30 w 212"/>
                  <a:gd name="T1" fmla="*/ 0 h 217"/>
                  <a:gd name="T2" fmla="*/ 0 w 212"/>
                  <a:gd name="T3" fmla="*/ 25 h 217"/>
                  <a:gd name="T4" fmla="*/ 7 w 212"/>
                  <a:gd name="T5" fmla="*/ 33 h 217"/>
                  <a:gd name="T6" fmla="*/ 13 w 212"/>
                  <a:gd name="T7" fmla="*/ 28 h 217"/>
                  <a:gd name="T8" fmla="*/ 182 w 212"/>
                  <a:gd name="T9" fmla="*/ 191 h 217"/>
                  <a:gd name="T10" fmla="*/ 212 w 212"/>
                  <a:gd name="T11" fmla="*/ 217 h 217"/>
                  <a:gd name="T12" fmla="*/ 181 w 212"/>
                  <a:gd name="T13" fmla="*/ 184 h 217"/>
                  <a:gd name="T14" fmla="*/ 135 w 212"/>
                  <a:gd name="T15" fmla="*/ 130 h 217"/>
                  <a:gd name="T16" fmla="*/ 30 w 212"/>
                  <a:gd name="T17" fmla="*/ 0 h 217"/>
                  <a:gd name="T18" fmla="*/ 30 w 212"/>
                  <a:gd name="T19" fmla="*/ 0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2" h="217">
                    <a:moveTo>
                      <a:pt x="30" y="0"/>
                    </a:move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2" y="28"/>
                      <a:pt x="7" y="33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3" y="28"/>
                      <a:pt x="85" y="105"/>
                      <a:pt x="182" y="191"/>
                    </a:cubicBezTo>
                    <a:cubicBezTo>
                      <a:pt x="192" y="200"/>
                      <a:pt x="202" y="209"/>
                      <a:pt x="212" y="217"/>
                    </a:cubicBezTo>
                    <a:cubicBezTo>
                      <a:pt x="202" y="207"/>
                      <a:pt x="192" y="196"/>
                      <a:pt x="181" y="184"/>
                    </a:cubicBezTo>
                    <a:cubicBezTo>
                      <a:pt x="164" y="166"/>
                      <a:pt x="149" y="147"/>
                      <a:pt x="135" y="130"/>
                    </a:cubicBezTo>
                    <a:cubicBezTo>
                      <a:pt x="75" y="63"/>
                      <a:pt x="30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94"/>
              <p:cNvSpPr>
                <a:spLocks/>
              </p:cNvSpPr>
              <p:nvPr/>
            </p:nvSpPr>
            <p:spPr bwMode="auto">
              <a:xfrm>
                <a:off x="1548543" y="2229759"/>
                <a:ext cx="2246" cy="4941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2 h 2"/>
                  <a:gd name="T4" fmla="*/ 0 w 1"/>
                  <a:gd name="T5" fmla="*/ 2 h 2"/>
                  <a:gd name="T6" fmla="*/ 1 w 1"/>
                  <a:gd name="T7" fmla="*/ 0 h 2"/>
                  <a:gd name="T8" fmla="*/ 1 w 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95"/>
              <p:cNvSpPr>
                <a:spLocks/>
              </p:cNvSpPr>
              <p:nvPr/>
            </p:nvSpPr>
            <p:spPr bwMode="auto">
              <a:xfrm>
                <a:off x="1226052" y="1978683"/>
                <a:ext cx="322491" cy="274881"/>
              </a:xfrm>
              <a:custGeom>
                <a:avLst/>
                <a:gdLst>
                  <a:gd name="T0" fmla="*/ 0 w 136"/>
                  <a:gd name="T1" fmla="*/ 0 h 116"/>
                  <a:gd name="T2" fmla="*/ 128 w 136"/>
                  <a:gd name="T3" fmla="*/ 116 h 116"/>
                  <a:gd name="T4" fmla="*/ 128 w 136"/>
                  <a:gd name="T5" fmla="*/ 116 h 116"/>
                  <a:gd name="T6" fmla="*/ 136 w 136"/>
                  <a:gd name="T7" fmla="*/ 108 h 116"/>
                  <a:gd name="T8" fmla="*/ 136 w 136"/>
                  <a:gd name="T9" fmla="*/ 108 h 116"/>
                  <a:gd name="T10" fmla="*/ 128 w 136"/>
                  <a:gd name="T11" fmla="*/ 116 h 116"/>
                  <a:gd name="T12" fmla="*/ 0 w 136"/>
                  <a:gd name="T13" fmla="*/ 0 h 116"/>
                  <a:gd name="T14" fmla="*/ 0 w 136"/>
                  <a:gd name="T15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6" h="116">
                    <a:moveTo>
                      <a:pt x="0" y="0"/>
                    </a:moveTo>
                    <a:cubicBezTo>
                      <a:pt x="77" y="80"/>
                      <a:pt x="128" y="116"/>
                      <a:pt x="128" y="116"/>
                    </a:cubicBezTo>
                    <a:cubicBezTo>
                      <a:pt x="128" y="116"/>
                      <a:pt x="128" y="116"/>
                      <a:pt x="128" y="116"/>
                    </a:cubicBezTo>
                    <a:cubicBezTo>
                      <a:pt x="136" y="108"/>
                      <a:pt x="136" y="108"/>
                      <a:pt x="136" y="108"/>
                    </a:cubicBezTo>
                    <a:cubicBezTo>
                      <a:pt x="136" y="108"/>
                      <a:pt x="136" y="108"/>
                      <a:pt x="136" y="108"/>
                    </a:cubicBezTo>
                    <a:cubicBezTo>
                      <a:pt x="128" y="116"/>
                      <a:pt x="128" y="116"/>
                      <a:pt x="128" y="116"/>
                    </a:cubicBezTo>
                    <a:cubicBezTo>
                      <a:pt x="128" y="116"/>
                      <a:pt x="77" y="8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96"/>
              <p:cNvSpPr>
                <a:spLocks/>
              </p:cNvSpPr>
              <p:nvPr/>
            </p:nvSpPr>
            <p:spPr bwMode="auto">
              <a:xfrm>
                <a:off x="739620" y="1529980"/>
                <a:ext cx="59288" cy="73661"/>
              </a:xfrm>
              <a:custGeom>
                <a:avLst/>
                <a:gdLst>
                  <a:gd name="T0" fmla="*/ 6 w 25"/>
                  <a:gd name="T1" fmla="*/ 0 h 31"/>
                  <a:gd name="T2" fmla="*/ 0 w 25"/>
                  <a:gd name="T3" fmla="*/ 5 h 31"/>
                  <a:gd name="T4" fmla="*/ 25 w 25"/>
                  <a:gd name="T5" fmla="*/ 31 h 31"/>
                  <a:gd name="T6" fmla="*/ 6 w 25"/>
                  <a:gd name="T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" h="31">
                    <a:moveTo>
                      <a:pt x="6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6" y="11"/>
                      <a:pt x="14" y="20"/>
                      <a:pt x="25" y="31"/>
                    </a:cubicBezTo>
                    <a:cubicBezTo>
                      <a:pt x="13" y="12"/>
                      <a:pt x="6" y="0"/>
                      <a:pt x="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97"/>
              <p:cNvSpPr>
                <a:spLocks noEditPoints="1"/>
              </p:cNvSpPr>
              <p:nvPr/>
            </p:nvSpPr>
            <p:spPr bwMode="auto">
              <a:xfrm>
                <a:off x="1380111" y="1985420"/>
                <a:ext cx="218288" cy="185051"/>
              </a:xfrm>
              <a:custGeom>
                <a:avLst/>
                <a:gdLst>
                  <a:gd name="T0" fmla="*/ 75 w 92"/>
                  <a:gd name="T1" fmla="*/ 64 h 78"/>
                  <a:gd name="T2" fmla="*/ 86 w 92"/>
                  <a:gd name="T3" fmla="*/ 73 h 78"/>
                  <a:gd name="T4" fmla="*/ 92 w 92"/>
                  <a:gd name="T5" fmla="*/ 78 h 78"/>
                  <a:gd name="T6" fmla="*/ 92 w 92"/>
                  <a:gd name="T7" fmla="*/ 77 h 78"/>
                  <a:gd name="T8" fmla="*/ 75 w 92"/>
                  <a:gd name="T9" fmla="*/ 64 h 78"/>
                  <a:gd name="T10" fmla="*/ 2 w 92"/>
                  <a:gd name="T11" fmla="*/ 0 h 78"/>
                  <a:gd name="T12" fmla="*/ 0 w 92"/>
                  <a:gd name="T13" fmla="*/ 0 h 78"/>
                  <a:gd name="T14" fmla="*/ 35 w 92"/>
                  <a:gd name="T15" fmla="*/ 30 h 78"/>
                  <a:gd name="T16" fmla="*/ 2 w 92"/>
                  <a:gd name="T17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" h="78">
                    <a:moveTo>
                      <a:pt x="75" y="64"/>
                    </a:moveTo>
                    <a:cubicBezTo>
                      <a:pt x="80" y="68"/>
                      <a:pt x="84" y="71"/>
                      <a:pt x="86" y="73"/>
                    </a:cubicBezTo>
                    <a:cubicBezTo>
                      <a:pt x="90" y="76"/>
                      <a:pt x="91" y="77"/>
                      <a:pt x="92" y="78"/>
                    </a:cubicBezTo>
                    <a:cubicBezTo>
                      <a:pt x="92" y="77"/>
                      <a:pt x="92" y="77"/>
                      <a:pt x="92" y="77"/>
                    </a:cubicBezTo>
                    <a:cubicBezTo>
                      <a:pt x="92" y="77"/>
                      <a:pt x="87" y="73"/>
                      <a:pt x="75" y="64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3" y="11"/>
                      <a:pt x="24" y="21"/>
                      <a:pt x="35" y="30"/>
                    </a:cubicBezTo>
                    <a:cubicBezTo>
                      <a:pt x="25" y="21"/>
                      <a:pt x="14" y="11"/>
                      <a:pt x="2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98"/>
              <p:cNvSpPr>
                <a:spLocks/>
              </p:cNvSpPr>
              <p:nvPr/>
            </p:nvSpPr>
            <p:spPr bwMode="auto">
              <a:xfrm>
                <a:off x="1154636" y="1767582"/>
                <a:ext cx="229966" cy="217839"/>
              </a:xfrm>
              <a:custGeom>
                <a:avLst/>
                <a:gdLst>
                  <a:gd name="T0" fmla="*/ 0 w 97"/>
                  <a:gd name="T1" fmla="*/ 0 h 92"/>
                  <a:gd name="T2" fmla="*/ 26 w 97"/>
                  <a:gd name="T3" fmla="*/ 29 h 92"/>
                  <a:gd name="T4" fmla="*/ 95 w 97"/>
                  <a:gd name="T5" fmla="*/ 92 h 92"/>
                  <a:gd name="T6" fmla="*/ 97 w 97"/>
                  <a:gd name="T7" fmla="*/ 92 h 92"/>
                  <a:gd name="T8" fmla="*/ 45 w 97"/>
                  <a:gd name="T9" fmla="*/ 42 h 92"/>
                  <a:gd name="T10" fmla="*/ 31 w 97"/>
                  <a:gd name="T11" fmla="*/ 29 h 92"/>
                  <a:gd name="T12" fmla="*/ 0 w 97"/>
                  <a:gd name="T13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" h="92">
                    <a:moveTo>
                      <a:pt x="0" y="0"/>
                    </a:moveTo>
                    <a:cubicBezTo>
                      <a:pt x="9" y="11"/>
                      <a:pt x="18" y="21"/>
                      <a:pt x="26" y="29"/>
                    </a:cubicBezTo>
                    <a:cubicBezTo>
                      <a:pt x="50" y="52"/>
                      <a:pt x="74" y="73"/>
                      <a:pt x="95" y="92"/>
                    </a:cubicBezTo>
                    <a:cubicBezTo>
                      <a:pt x="97" y="92"/>
                      <a:pt x="97" y="92"/>
                      <a:pt x="97" y="92"/>
                    </a:cubicBezTo>
                    <a:cubicBezTo>
                      <a:pt x="81" y="78"/>
                      <a:pt x="64" y="61"/>
                      <a:pt x="45" y="42"/>
                    </a:cubicBezTo>
                    <a:cubicBezTo>
                      <a:pt x="40" y="37"/>
                      <a:pt x="36" y="33"/>
                      <a:pt x="31" y="29"/>
                    </a:cubicBezTo>
                    <a:cubicBezTo>
                      <a:pt x="20" y="19"/>
                      <a:pt x="10" y="9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99"/>
              <p:cNvSpPr>
                <a:spLocks/>
              </p:cNvSpPr>
              <p:nvPr/>
            </p:nvSpPr>
            <p:spPr bwMode="auto">
              <a:xfrm>
                <a:off x="860442" y="1473387"/>
                <a:ext cx="723584" cy="685406"/>
              </a:xfrm>
              <a:custGeom>
                <a:avLst/>
                <a:gdLst>
                  <a:gd name="T0" fmla="*/ 0 w 305"/>
                  <a:gd name="T1" fmla="*/ 0 h 289"/>
                  <a:gd name="T2" fmla="*/ 31 w 305"/>
                  <a:gd name="T3" fmla="*/ 58 h 289"/>
                  <a:gd name="T4" fmla="*/ 176 w 305"/>
                  <a:gd name="T5" fmla="*/ 189 h 289"/>
                  <a:gd name="T6" fmla="*/ 305 w 305"/>
                  <a:gd name="T7" fmla="*/ 289 h 289"/>
                  <a:gd name="T8" fmla="*/ 294 w 305"/>
                  <a:gd name="T9" fmla="*/ 280 h 289"/>
                  <a:gd name="T10" fmla="*/ 254 w 305"/>
                  <a:gd name="T11" fmla="*/ 246 h 289"/>
                  <a:gd name="T12" fmla="*/ 219 w 305"/>
                  <a:gd name="T13" fmla="*/ 216 h 289"/>
                  <a:gd name="T14" fmla="*/ 150 w 305"/>
                  <a:gd name="T15" fmla="*/ 153 h 289"/>
                  <a:gd name="T16" fmla="*/ 124 w 305"/>
                  <a:gd name="T17" fmla="*/ 124 h 289"/>
                  <a:gd name="T18" fmla="*/ 0 w 305"/>
                  <a:gd name="T19" fmla="*/ 0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5" h="289">
                    <a:moveTo>
                      <a:pt x="0" y="0"/>
                    </a:moveTo>
                    <a:cubicBezTo>
                      <a:pt x="0" y="0"/>
                      <a:pt x="9" y="23"/>
                      <a:pt x="31" y="58"/>
                    </a:cubicBezTo>
                    <a:cubicBezTo>
                      <a:pt x="70" y="97"/>
                      <a:pt x="123" y="147"/>
                      <a:pt x="176" y="189"/>
                    </a:cubicBezTo>
                    <a:cubicBezTo>
                      <a:pt x="261" y="255"/>
                      <a:pt x="294" y="280"/>
                      <a:pt x="305" y="289"/>
                    </a:cubicBezTo>
                    <a:cubicBezTo>
                      <a:pt x="303" y="287"/>
                      <a:pt x="299" y="284"/>
                      <a:pt x="294" y="280"/>
                    </a:cubicBezTo>
                    <a:cubicBezTo>
                      <a:pt x="285" y="273"/>
                      <a:pt x="271" y="262"/>
                      <a:pt x="254" y="246"/>
                    </a:cubicBezTo>
                    <a:cubicBezTo>
                      <a:pt x="243" y="237"/>
                      <a:pt x="232" y="227"/>
                      <a:pt x="219" y="216"/>
                    </a:cubicBezTo>
                    <a:cubicBezTo>
                      <a:pt x="198" y="197"/>
                      <a:pt x="174" y="176"/>
                      <a:pt x="150" y="153"/>
                    </a:cubicBezTo>
                    <a:cubicBezTo>
                      <a:pt x="142" y="145"/>
                      <a:pt x="133" y="135"/>
                      <a:pt x="124" y="124"/>
                    </a:cubicBezTo>
                    <a:cubicBezTo>
                      <a:pt x="44" y="49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100"/>
              <p:cNvSpPr>
                <a:spLocks/>
              </p:cNvSpPr>
              <p:nvPr/>
            </p:nvSpPr>
            <p:spPr bwMode="auto">
              <a:xfrm>
                <a:off x="1584026" y="2158793"/>
                <a:ext cx="14373" cy="11678"/>
              </a:xfrm>
              <a:custGeom>
                <a:avLst/>
                <a:gdLst>
                  <a:gd name="T0" fmla="*/ 0 w 6"/>
                  <a:gd name="T1" fmla="*/ 0 h 5"/>
                  <a:gd name="T2" fmla="*/ 6 w 6"/>
                  <a:gd name="T3" fmla="*/ 5 h 5"/>
                  <a:gd name="T4" fmla="*/ 6 w 6"/>
                  <a:gd name="T5" fmla="*/ 5 h 5"/>
                  <a:gd name="T6" fmla="*/ 0 w 6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5">
                    <a:moveTo>
                      <a:pt x="0" y="0"/>
                    </a:moveTo>
                    <a:cubicBezTo>
                      <a:pt x="3" y="2"/>
                      <a:pt x="5" y="4"/>
                      <a:pt x="6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4"/>
                      <a:pt x="4" y="3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101"/>
              <p:cNvSpPr>
                <a:spLocks/>
              </p:cNvSpPr>
              <p:nvPr/>
            </p:nvSpPr>
            <p:spPr bwMode="auto">
              <a:xfrm>
                <a:off x="934103" y="1610828"/>
                <a:ext cx="664296" cy="618932"/>
              </a:xfrm>
              <a:custGeom>
                <a:avLst/>
                <a:gdLst>
                  <a:gd name="T0" fmla="*/ 0 w 280"/>
                  <a:gd name="T1" fmla="*/ 0 h 261"/>
                  <a:gd name="T2" fmla="*/ 46 w 280"/>
                  <a:gd name="T3" fmla="*/ 68 h 261"/>
                  <a:gd name="T4" fmla="*/ 103 w 280"/>
                  <a:gd name="T5" fmla="*/ 126 h 261"/>
                  <a:gd name="T6" fmla="*/ 260 w 280"/>
                  <a:gd name="T7" fmla="*/ 261 h 261"/>
                  <a:gd name="T8" fmla="*/ 280 w 280"/>
                  <a:gd name="T9" fmla="*/ 236 h 261"/>
                  <a:gd name="T10" fmla="*/ 274 w 280"/>
                  <a:gd name="T11" fmla="*/ 231 h 261"/>
                  <a:gd name="T12" fmla="*/ 145 w 280"/>
                  <a:gd name="T13" fmla="*/ 131 h 261"/>
                  <a:gd name="T14" fmla="*/ 0 w 280"/>
                  <a:gd name="T15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0" h="261">
                    <a:moveTo>
                      <a:pt x="0" y="0"/>
                    </a:moveTo>
                    <a:cubicBezTo>
                      <a:pt x="12" y="19"/>
                      <a:pt x="27" y="42"/>
                      <a:pt x="46" y="68"/>
                    </a:cubicBezTo>
                    <a:cubicBezTo>
                      <a:pt x="64" y="87"/>
                      <a:pt x="84" y="107"/>
                      <a:pt x="103" y="126"/>
                    </a:cubicBezTo>
                    <a:cubicBezTo>
                      <a:pt x="165" y="185"/>
                      <a:pt x="223" y="233"/>
                      <a:pt x="260" y="261"/>
                    </a:cubicBezTo>
                    <a:cubicBezTo>
                      <a:pt x="280" y="236"/>
                      <a:pt x="280" y="236"/>
                      <a:pt x="280" y="236"/>
                    </a:cubicBezTo>
                    <a:cubicBezTo>
                      <a:pt x="279" y="235"/>
                      <a:pt x="277" y="233"/>
                      <a:pt x="274" y="231"/>
                    </a:cubicBezTo>
                    <a:cubicBezTo>
                      <a:pt x="263" y="222"/>
                      <a:pt x="230" y="197"/>
                      <a:pt x="145" y="131"/>
                    </a:cubicBezTo>
                    <a:cubicBezTo>
                      <a:pt x="92" y="89"/>
                      <a:pt x="39" y="39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102"/>
              <p:cNvSpPr>
                <a:spLocks/>
              </p:cNvSpPr>
              <p:nvPr/>
            </p:nvSpPr>
            <p:spPr bwMode="auto">
              <a:xfrm>
                <a:off x="1043247" y="1772073"/>
                <a:ext cx="507542" cy="462627"/>
              </a:xfrm>
              <a:custGeom>
                <a:avLst/>
                <a:gdLst>
                  <a:gd name="T0" fmla="*/ 0 w 214"/>
                  <a:gd name="T1" fmla="*/ 0 h 195"/>
                  <a:gd name="T2" fmla="*/ 46 w 214"/>
                  <a:gd name="T3" fmla="*/ 54 h 195"/>
                  <a:gd name="T4" fmla="*/ 77 w 214"/>
                  <a:gd name="T5" fmla="*/ 87 h 195"/>
                  <a:gd name="T6" fmla="*/ 213 w 214"/>
                  <a:gd name="T7" fmla="*/ 195 h 195"/>
                  <a:gd name="T8" fmla="*/ 214 w 214"/>
                  <a:gd name="T9" fmla="*/ 193 h 195"/>
                  <a:gd name="T10" fmla="*/ 57 w 214"/>
                  <a:gd name="T11" fmla="*/ 58 h 195"/>
                  <a:gd name="T12" fmla="*/ 0 w 214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4" h="195">
                    <a:moveTo>
                      <a:pt x="0" y="0"/>
                    </a:moveTo>
                    <a:cubicBezTo>
                      <a:pt x="14" y="17"/>
                      <a:pt x="29" y="36"/>
                      <a:pt x="46" y="54"/>
                    </a:cubicBezTo>
                    <a:cubicBezTo>
                      <a:pt x="57" y="66"/>
                      <a:pt x="67" y="77"/>
                      <a:pt x="77" y="87"/>
                    </a:cubicBezTo>
                    <a:cubicBezTo>
                      <a:pt x="130" y="133"/>
                      <a:pt x="180" y="170"/>
                      <a:pt x="213" y="195"/>
                    </a:cubicBezTo>
                    <a:cubicBezTo>
                      <a:pt x="214" y="193"/>
                      <a:pt x="214" y="193"/>
                      <a:pt x="214" y="193"/>
                    </a:cubicBezTo>
                    <a:cubicBezTo>
                      <a:pt x="177" y="165"/>
                      <a:pt x="119" y="117"/>
                      <a:pt x="57" y="58"/>
                    </a:cubicBezTo>
                    <a:cubicBezTo>
                      <a:pt x="38" y="39"/>
                      <a:pt x="18" y="19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103"/>
              <p:cNvSpPr>
                <a:spLocks/>
              </p:cNvSpPr>
              <p:nvPr/>
            </p:nvSpPr>
            <p:spPr bwMode="auto">
              <a:xfrm>
                <a:off x="1226052" y="1978683"/>
                <a:ext cx="322491" cy="274881"/>
              </a:xfrm>
              <a:custGeom>
                <a:avLst/>
                <a:gdLst>
                  <a:gd name="T0" fmla="*/ 0 w 136"/>
                  <a:gd name="T1" fmla="*/ 0 h 116"/>
                  <a:gd name="T2" fmla="*/ 128 w 136"/>
                  <a:gd name="T3" fmla="*/ 116 h 116"/>
                  <a:gd name="T4" fmla="*/ 136 w 136"/>
                  <a:gd name="T5" fmla="*/ 108 h 116"/>
                  <a:gd name="T6" fmla="*/ 0 w 136"/>
                  <a:gd name="T7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6" h="116">
                    <a:moveTo>
                      <a:pt x="0" y="0"/>
                    </a:moveTo>
                    <a:cubicBezTo>
                      <a:pt x="77" y="80"/>
                      <a:pt x="128" y="116"/>
                      <a:pt x="128" y="116"/>
                    </a:cubicBezTo>
                    <a:cubicBezTo>
                      <a:pt x="136" y="108"/>
                      <a:pt x="136" y="108"/>
                      <a:pt x="136" y="108"/>
                    </a:cubicBezTo>
                    <a:cubicBezTo>
                      <a:pt x="103" y="83"/>
                      <a:pt x="53" y="46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04"/>
              <p:cNvSpPr>
                <a:spLocks/>
              </p:cNvSpPr>
              <p:nvPr/>
            </p:nvSpPr>
            <p:spPr bwMode="auto">
              <a:xfrm>
                <a:off x="931857" y="1416345"/>
                <a:ext cx="673728" cy="728075"/>
              </a:xfrm>
              <a:custGeom>
                <a:avLst/>
                <a:gdLst>
                  <a:gd name="T0" fmla="*/ 0 w 284"/>
                  <a:gd name="T1" fmla="*/ 0 h 307"/>
                  <a:gd name="T2" fmla="*/ 129 w 284"/>
                  <a:gd name="T3" fmla="*/ 179 h 307"/>
                  <a:gd name="T4" fmla="*/ 139 w 284"/>
                  <a:gd name="T5" fmla="*/ 190 h 307"/>
                  <a:gd name="T6" fmla="*/ 284 w 284"/>
                  <a:gd name="T7" fmla="*/ 307 h 307"/>
                  <a:gd name="T8" fmla="*/ 140 w 284"/>
                  <a:gd name="T9" fmla="*/ 179 h 307"/>
                  <a:gd name="T10" fmla="*/ 11 w 284"/>
                  <a:gd name="T11" fmla="*/ 13 h 307"/>
                  <a:gd name="T12" fmla="*/ 0 w 284"/>
                  <a:gd name="T13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4" h="307">
                    <a:moveTo>
                      <a:pt x="0" y="0"/>
                    </a:moveTo>
                    <a:cubicBezTo>
                      <a:pt x="0" y="0"/>
                      <a:pt x="42" y="90"/>
                      <a:pt x="129" y="179"/>
                    </a:cubicBezTo>
                    <a:cubicBezTo>
                      <a:pt x="133" y="183"/>
                      <a:pt x="136" y="186"/>
                      <a:pt x="139" y="190"/>
                    </a:cubicBezTo>
                    <a:cubicBezTo>
                      <a:pt x="198" y="242"/>
                      <a:pt x="251" y="283"/>
                      <a:pt x="284" y="307"/>
                    </a:cubicBezTo>
                    <a:cubicBezTo>
                      <a:pt x="252" y="283"/>
                      <a:pt x="198" y="239"/>
                      <a:pt x="140" y="179"/>
                    </a:cubicBezTo>
                    <a:cubicBezTo>
                      <a:pt x="63" y="99"/>
                      <a:pt x="16" y="21"/>
                      <a:pt x="11" y="13"/>
                    </a:cubicBezTo>
                    <a:cubicBezTo>
                      <a:pt x="3" y="4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05"/>
              <p:cNvSpPr>
                <a:spLocks/>
              </p:cNvSpPr>
              <p:nvPr/>
            </p:nvSpPr>
            <p:spPr bwMode="auto">
              <a:xfrm>
                <a:off x="860442" y="1416345"/>
                <a:ext cx="401093" cy="450499"/>
              </a:xfrm>
              <a:custGeom>
                <a:avLst/>
                <a:gdLst>
                  <a:gd name="T0" fmla="*/ 30 w 169"/>
                  <a:gd name="T1" fmla="*/ 0 h 190"/>
                  <a:gd name="T2" fmla="*/ 0 w 169"/>
                  <a:gd name="T3" fmla="*/ 24 h 190"/>
                  <a:gd name="T4" fmla="*/ 155 w 169"/>
                  <a:gd name="T5" fmla="*/ 177 h 190"/>
                  <a:gd name="T6" fmla="*/ 169 w 169"/>
                  <a:gd name="T7" fmla="*/ 190 h 190"/>
                  <a:gd name="T8" fmla="*/ 159 w 169"/>
                  <a:gd name="T9" fmla="*/ 179 h 190"/>
                  <a:gd name="T10" fmla="*/ 30 w 169"/>
                  <a:gd name="T11" fmla="*/ 0 h 190"/>
                  <a:gd name="T12" fmla="*/ 30 w 169"/>
                  <a:gd name="T13" fmla="*/ 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9" h="190">
                    <a:moveTo>
                      <a:pt x="30" y="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55" y="86"/>
                      <a:pt x="155" y="177"/>
                    </a:cubicBezTo>
                    <a:cubicBezTo>
                      <a:pt x="160" y="181"/>
                      <a:pt x="164" y="185"/>
                      <a:pt x="169" y="190"/>
                    </a:cubicBezTo>
                    <a:cubicBezTo>
                      <a:pt x="166" y="186"/>
                      <a:pt x="163" y="183"/>
                      <a:pt x="159" y="179"/>
                    </a:cubicBezTo>
                    <a:cubicBezTo>
                      <a:pt x="72" y="90"/>
                      <a:pt x="30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06"/>
              <p:cNvSpPr>
                <a:spLocks/>
              </p:cNvSpPr>
              <p:nvPr/>
            </p:nvSpPr>
            <p:spPr bwMode="auto">
              <a:xfrm>
                <a:off x="1531924" y="1969251"/>
                <a:ext cx="206161" cy="158551"/>
              </a:xfrm>
              <a:custGeom>
                <a:avLst/>
                <a:gdLst>
                  <a:gd name="T0" fmla="*/ 0 w 87"/>
                  <a:gd name="T1" fmla="*/ 0 h 67"/>
                  <a:gd name="T2" fmla="*/ 87 w 87"/>
                  <a:gd name="T3" fmla="*/ 67 h 67"/>
                  <a:gd name="T4" fmla="*/ 0 w 87"/>
                  <a:gd name="T5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7" h="67">
                    <a:moveTo>
                      <a:pt x="0" y="0"/>
                    </a:moveTo>
                    <a:cubicBezTo>
                      <a:pt x="50" y="43"/>
                      <a:pt x="87" y="67"/>
                      <a:pt x="87" y="67"/>
                    </a:cubicBezTo>
                    <a:cubicBezTo>
                      <a:pt x="87" y="67"/>
                      <a:pt x="52" y="42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07"/>
              <p:cNvSpPr>
                <a:spLocks/>
              </p:cNvSpPr>
              <p:nvPr/>
            </p:nvSpPr>
            <p:spPr bwMode="auto">
              <a:xfrm>
                <a:off x="957908" y="1444641"/>
                <a:ext cx="574016" cy="524610"/>
              </a:xfrm>
              <a:custGeom>
                <a:avLst/>
                <a:gdLst>
                  <a:gd name="T0" fmla="*/ 0 w 242"/>
                  <a:gd name="T1" fmla="*/ 0 h 221"/>
                  <a:gd name="T2" fmla="*/ 0 w 242"/>
                  <a:gd name="T3" fmla="*/ 1 h 221"/>
                  <a:gd name="T4" fmla="*/ 140 w 242"/>
                  <a:gd name="T5" fmla="*/ 135 h 221"/>
                  <a:gd name="T6" fmla="*/ 242 w 242"/>
                  <a:gd name="T7" fmla="*/ 221 h 221"/>
                  <a:gd name="T8" fmla="*/ 185 w 242"/>
                  <a:gd name="T9" fmla="*/ 169 h 221"/>
                  <a:gd name="T10" fmla="*/ 152 w 242"/>
                  <a:gd name="T11" fmla="*/ 141 h 221"/>
                  <a:gd name="T12" fmla="*/ 0 w 242"/>
                  <a:gd name="T13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2" h="22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20" y="22"/>
                      <a:pt x="65" y="69"/>
                      <a:pt x="140" y="135"/>
                    </a:cubicBezTo>
                    <a:cubicBezTo>
                      <a:pt x="178" y="168"/>
                      <a:pt x="212" y="197"/>
                      <a:pt x="242" y="221"/>
                    </a:cubicBezTo>
                    <a:cubicBezTo>
                      <a:pt x="224" y="205"/>
                      <a:pt x="205" y="188"/>
                      <a:pt x="185" y="169"/>
                    </a:cubicBezTo>
                    <a:cubicBezTo>
                      <a:pt x="174" y="160"/>
                      <a:pt x="163" y="151"/>
                      <a:pt x="152" y="141"/>
                    </a:cubicBezTo>
                    <a:cubicBezTo>
                      <a:pt x="58" y="61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108"/>
              <p:cNvSpPr>
                <a:spLocks/>
              </p:cNvSpPr>
              <p:nvPr/>
            </p:nvSpPr>
            <p:spPr bwMode="auto">
              <a:xfrm>
                <a:off x="1605585" y="2144420"/>
                <a:ext cx="78152" cy="54797"/>
              </a:xfrm>
              <a:custGeom>
                <a:avLst/>
                <a:gdLst>
                  <a:gd name="T0" fmla="*/ 0 w 33"/>
                  <a:gd name="T1" fmla="*/ 0 h 23"/>
                  <a:gd name="T2" fmla="*/ 33 w 33"/>
                  <a:gd name="T3" fmla="*/ 23 h 23"/>
                  <a:gd name="T4" fmla="*/ 0 w 33"/>
                  <a:gd name="T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3" h="23">
                    <a:moveTo>
                      <a:pt x="0" y="0"/>
                    </a:moveTo>
                    <a:cubicBezTo>
                      <a:pt x="20" y="16"/>
                      <a:pt x="33" y="23"/>
                      <a:pt x="33" y="23"/>
                    </a:cubicBezTo>
                    <a:cubicBezTo>
                      <a:pt x="33" y="23"/>
                      <a:pt x="20" y="15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9"/>
              <p:cNvSpPr>
                <a:spLocks/>
              </p:cNvSpPr>
              <p:nvPr/>
            </p:nvSpPr>
            <p:spPr bwMode="auto">
              <a:xfrm>
                <a:off x="957908" y="1447336"/>
                <a:ext cx="780177" cy="751881"/>
              </a:xfrm>
              <a:custGeom>
                <a:avLst/>
                <a:gdLst>
                  <a:gd name="T0" fmla="*/ 0 w 329"/>
                  <a:gd name="T1" fmla="*/ 0 h 317"/>
                  <a:gd name="T2" fmla="*/ 129 w 329"/>
                  <a:gd name="T3" fmla="*/ 166 h 317"/>
                  <a:gd name="T4" fmla="*/ 273 w 329"/>
                  <a:gd name="T5" fmla="*/ 294 h 317"/>
                  <a:gd name="T6" fmla="*/ 306 w 329"/>
                  <a:gd name="T7" fmla="*/ 317 h 317"/>
                  <a:gd name="T8" fmla="*/ 306 w 329"/>
                  <a:gd name="T9" fmla="*/ 317 h 317"/>
                  <a:gd name="T10" fmla="*/ 329 w 329"/>
                  <a:gd name="T11" fmla="*/ 287 h 317"/>
                  <a:gd name="T12" fmla="*/ 242 w 329"/>
                  <a:gd name="T13" fmla="*/ 220 h 317"/>
                  <a:gd name="T14" fmla="*/ 140 w 329"/>
                  <a:gd name="T15" fmla="*/ 134 h 317"/>
                  <a:gd name="T16" fmla="*/ 0 w 329"/>
                  <a:gd name="T17" fmla="*/ 0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9" h="317">
                    <a:moveTo>
                      <a:pt x="0" y="0"/>
                    </a:moveTo>
                    <a:cubicBezTo>
                      <a:pt x="5" y="8"/>
                      <a:pt x="52" y="86"/>
                      <a:pt x="129" y="166"/>
                    </a:cubicBezTo>
                    <a:cubicBezTo>
                      <a:pt x="187" y="226"/>
                      <a:pt x="241" y="270"/>
                      <a:pt x="273" y="294"/>
                    </a:cubicBezTo>
                    <a:cubicBezTo>
                      <a:pt x="293" y="309"/>
                      <a:pt x="306" y="317"/>
                      <a:pt x="306" y="317"/>
                    </a:cubicBezTo>
                    <a:cubicBezTo>
                      <a:pt x="306" y="317"/>
                      <a:pt x="306" y="317"/>
                      <a:pt x="306" y="317"/>
                    </a:cubicBezTo>
                    <a:cubicBezTo>
                      <a:pt x="329" y="287"/>
                      <a:pt x="329" y="287"/>
                      <a:pt x="329" y="287"/>
                    </a:cubicBezTo>
                    <a:cubicBezTo>
                      <a:pt x="329" y="287"/>
                      <a:pt x="292" y="263"/>
                      <a:pt x="242" y="220"/>
                    </a:cubicBezTo>
                    <a:cubicBezTo>
                      <a:pt x="212" y="196"/>
                      <a:pt x="178" y="167"/>
                      <a:pt x="140" y="134"/>
                    </a:cubicBezTo>
                    <a:cubicBezTo>
                      <a:pt x="65" y="68"/>
                      <a:pt x="20" y="21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10"/>
              <p:cNvSpPr>
                <a:spLocks/>
              </p:cNvSpPr>
              <p:nvPr/>
            </p:nvSpPr>
            <p:spPr bwMode="auto">
              <a:xfrm>
                <a:off x="1031120" y="1375921"/>
                <a:ext cx="33237" cy="45364"/>
              </a:xfrm>
              <a:custGeom>
                <a:avLst/>
                <a:gdLst>
                  <a:gd name="T0" fmla="*/ 0 w 14"/>
                  <a:gd name="T1" fmla="*/ 0 h 19"/>
                  <a:gd name="T2" fmla="*/ 11 w 14"/>
                  <a:gd name="T3" fmla="*/ 19 h 19"/>
                  <a:gd name="T4" fmla="*/ 14 w 14"/>
                  <a:gd name="T5" fmla="*/ 16 h 19"/>
                  <a:gd name="T6" fmla="*/ 0 w 14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9">
                    <a:moveTo>
                      <a:pt x="0" y="0"/>
                    </a:moveTo>
                    <a:cubicBezTo>
                      <a:pt x="0" y="0"/>
                      <a:pt x="4" y="7"/>
                      <a:pt x="11" y="19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5" y="6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111"/>
              <p:cNvSpPr>
                <a:spLocks/>
              </p:cNvSpPr>
              <p:nvPr/>
            </p:nvSpPr>
            <p:spPr bwMode="auto">
              <a:xfrm>
                <a:off x="1138018" y="1549294"/>
                <a:ext cx="552906" cy="507542"/>
              </a:xfrm>
              <a:custGeom>
                <a:avLst/>
                <a:gdLst>
                  <a:gd name="T0" fmla="*/ 0 w 233"/>
                  <a:gd name="T1" fmla="*/ 0 h 214"/>
                  <a:gd name="T2" fmla="*/ 68 w 233"/>
                  <a:gd name="T3" fmla="*/ 82 h 214"/>
                  <a:gd name="T4" fmla="*/ 109 w 233"/>
                  <a:gd name="T5" fmla="*/ 125 h 214"/>
                  <a:gd name="T6" fmla="*/ 233 w 233"/>
                  <a:gd name="T7" fmla="*/ 214 h 214"/>
                  <a:gd name="T8" fmla="*/ 80 w 233"/>
                  <a:gd name="T9" fmla="*/ 84 h 214"/>
                  <a:gd name="T10" fmla="*/ 0 w 233"/>
                  <a:gd name="T11" fmla="*/ 0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3" h="214">
                    <a:moveTo>
                      <a:pt x="0" y="0"/>
                    </a:moveTo>
                    <a:cubicBezTo>
                      <a:pt x="17" y="23"/>
                      <a:pt x="39" y="51"/>
                      <a:pt x="68" y="82"/>
                    </a:cubicBezTo>
                    <a:cubicBezTo>
                      <a:pt x="82" y="97"/>
                      <a:pt x="95" y="111"/>
                      <a:pt x="109" y="125"/>
                    </a:cubicBezTo>
                    <a:cubicBezTo>
                      <a:pt x="179" y="181"/>
                      <a:pt x="233" y="214"/>
                      <a:pt x="233" y="214"/>
                    </a:cubicBezTo>
                    <a:cubicBezTo>
                      <a:pt x="233" y="214"/>
                      <a:pt x="158" y="163"/>
                      <a:pt x="80" y="84"/>
                    </a:cubicBezTo>
                    <a:cubicBezTo>
                      <a:pt x="46" y="49"/>
                      <a:pt x="19" y="21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112"/>
              <p:cNvSpPr>
                <a:spLocks/>
              </p:cNvSpPr>
              <p:nvPr/>
            </p:nvSpPr>
            <p:spPr bwMode="auto">
              <a:xfrm>
                <a:off x="957908" y="1375921"/>
                <a:ext cx="438822" cy="469813"/>
              </a:xfrm>
              <a:custGeom>
                <a:avLst/>
                <a:gdLst>
                  <a:gd name="T0" fmla="*/ 31 w 185"/>
                  <a:gd name="T1" fmla="*/ 0 h 198"/>
                  <a:gd name="T2" fmla="*/ 0 w 185"/>
                  <a:gd name="T3" fmla="*/ 29 h 198"/>
                  <a:gd name="T4" fmla="*/ 152 w 185"/>
                  <a:gd name="T5" fmla="*/ 170 h 198"/>
                  <a:gd name="T6" fmla="*/ 185 w 185"/>
                  <a:gd name="T7" fmla="*/ 198 h 198"/>
                  <a:gd name="T8" fmla="*/ 144 w 185"/>
                  <a:gd name="T9" fmla="*/ 155 h 198"/>
                  <a:gd name="T10" fmla="*/ 76 w 185"/>
                  <a:gd name="T11" fmla="*/ 73 h 198"/>
                  <a:gd name="T12" fmla="*/ 35 w 185"/>
                  <a:gd name="T13" fmla="*/ 26 h 198"/>
                  <a:gd name="T14" fmla="*/ 35 w 185"/>
                  <a:gd name="T15" fmla="*/ 26 h 198"/>
                  <a:gd name="T16" fmla="*/ 35 w 185"/>
                  <a:gd name="T17" fmla="*/ 26 h 198"/>
                  <a:gd name="T18" fmla="*/ 35 w 185"/>
                  <a:gd name="T19" fmla="*/ 26 h 198"/>
                  <a:gd name="T20" fmla="*/ 35 w 185"/>
                  <a:gd name="T21" fmla="*/ 26 h 198"/>
                  <a:gd name="T22" fmla="*/ 42 w 185"/>
                  <a:gd name="T23" fmla="*/ 19 h 198"/>
                  <a:gd name="T24" fmla="*/ 31 w 185"/>
                  <a:gd name="T25" fmla="*/ 0 h 198"/>
                  <a:gd name="T26" fmla="*/ 31 w 185"/>
                  <a:gd name="T27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5" h="198">
                    <a:moveTo>
                      <a:pt x="31" y="0"/>
                    </a:move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58" y="90"/>
                      <a:pt x="152" y="170"/>
                    </a:cubicBezTo>
                    <a:cubicBezTo>
                      <a:pt x="163" y="180"/>
                      <a:pt x="174" y="189"/>
                      <a:pt x="185" y="198"/>
                    </a:cubicBezTo>
                    <a:cubicBezTo>
                      <a:pt x="171" y="184"/>
                      <a:pt x="158" y="170"/>
                      <a:pt x="144" y="155"/>
                    </a:cubicBezTo>
                    <a:cubicBezTo>
                      <a:pt x="115" y="124"/>
                      <a:pt x="93" y="96"/>
                      <a:pt x="76" y="73"/>
                    </a:cubicBezTo>
                    <a:cubicBezTo>
                      <a:pt x="48" y="41"/>
                      <a:pt x="35" y="26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42" y="19"/>
                      <a:pt x="42" y="19"/>
                      <a:pt x="42" y="19"/>
                    </a:cubicBezTo>
                    <a:cubicBezTo>
                      <a:pt x="35" y="7"/>
                      <a:pt x="31" y="0"/>
                      <a:pt x="31" y="0"/>
                    </a:cubicBezTo>
                    <a:cubicBezTo>
                      <a:pt x="31" y="0"/>
                      <a:pt x="31" y="0"/>
                      <a:pt x="3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113"/>
              <p:cNvSpPr>
                <a:spLocks/>
              </p:cNvSpPr>
              <p:nvPr/>
            </p:nvSpPr>
            <p:spPr bwMode="auto">
              <a:xfrm>
                <a:off x="1482068" y="1810251"/>
                <a:ext cx="251525" cy="185051"/>
              </a:xfrm>
              <a:custGeom>
                <a:avLst/>
                <a:gdLst>
                  <a:gd name="T0" fmla="*/ 0 w 106"/>
                  <a:gd name="T1" fmla="*/ 0 h 78"/>
                  <a:gd name="T2" fmla="*/ 106 w 106"/>
                  <a:gd name="T3" fmla="*/ 78 h 78"/>
                  <a:gd name="T4" fmla="*/ 106 w 106"/>
                  <a:gd name="T5" fmla="*/ 78 h 78"/>
                  <a:gd name="T6" fmla="*/ 46 w 106"/>
                  <a:gd name="T7" fmla="*/ 31 h 78"/>
                  <a:gd name="T8" fmla="*/ 0 w 106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78">
                    <a:moveTo>
                      <a:pt x="0" y="0"/>
                    </a:moveTo>
                    <a:cubicBezTo>
                      <a:pt x="60" y="48"/>
                      <a:pt x="106" y="78"/>
                      <a:pt x="106" y="78"/>
                    </a:cubicBezTo>
                    <a:cubicBezTo>
                      <a:pt x="106" y="78"/>
                      <a:pt x="106" y="78"/>
                      <a:pt x="106" y="78"/>
                    </a:cubicBezTo>
                    <a:cubicBezTo>
                      <a:pt x="106" y="78"/>
                      <a:pt x="83" y="62"/>
                      <a:pt x="46" y="31"/>
                    </a:cubicBezTo>
                    <a:cubicBezTo>
                      <a:pt x="32" y="23"/>
                      <a:pt x="16" y="12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114"/>
              <p:cNvSpPr>
                <a:spLocks/>
              </p:cNvSpPr>
              <p:nvPr/>
            </p:nvSpPr>
            <p:spPr bwMode="auto">
              <a:xfrm>
                <a:off x="1100289" y="1492251"/>
                <a:ext cx="633305" cy="564584"/>
              </a:xfrm>
              <a:custGeom>
                <a:avLst/>
                <a:gdLst>
                  <a:gd name="T0" fmla="*/ 0 w 267"/>
                  <a:gd name="T1" fmla="*/ 0 h 238"/>
                  <a:gd name="T2" fmla="*/ 16 w 267"/>
                  <a:gd name="T3" fmla="*/ 24 h 238"/>
                  <a:gd name="T4" fmla="*/ 96 w 267"/>
                  <a:gd name="T5" fmla="*/ 108 h 238"/>
                  <a:gd name="T6" fmla="*/ 249 w 267"/>
                  <a:gd name="T7" fmla="*/ 238 h 238"/>
                  <a:gd name="T8" fmla="*/ 267 w 267"/>
                  <a:gd name="T9" fmla="*/ 212 h 238"/>
                  <a:gd name="T10" fmla="*/ 161 w 267"/>
                  <a:gd name="T11" fmla="*/ 134 h 238"/>
                  <a:gd name="T12" fmla="*/ 117 w 267"/>
                  <a:gd name="T13" fmla="*/ 101 h 238"/>
                  <a:gd name="T14" fmla="*/ 0 w 267"/>
                  <a:gd name="T15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7" h="238">
                    <a:moveTo>
                      <a:pt x="0" y="0"/>
                    </a:moveTo>
                    <a:cubicBezTo>
                      <a:pt x="5" y="7"/>
                      <a:pt x="10" y="15"/>
                      <a:pt x="16" y="24"/>
                    </a:cubicBezTo>
                    <a:cubicBezTo>
                      <a:pt x="35" y="45"/>
                      <a:pt x="62" y="73"/>
                      <a:pt x="96" y="108"/>
                    </a:cubicBezTo>
                    <a:cubicBezTo>
                      <a:pt x="174" y="187"/>
                      <a:pt x="249" y="238"/>
                      <a:pt x="249" y="238"/>
                    </a:cubicBezTo>
                    <a:cubicBezTo>
                      <a:pt x="267" y="212"/>
                      <a:pt x="267" y="212"/>
                      <a:pt x="267" y="212"/>
                    </a:cubicBezTo>
                    <a:cubicBezTo>
                      <a:pt x="267" y="212"/>
                      <a:pt x="221" y="182"/>
                      <a:pt x="161" y="134"/>
                    </a:cubicBezTo>
                    <a:cubicBezTo>
                      <a:pt x="147" y="124"/>
                      <a:pt x="132" y="113"/>
                      <a:pt x="117" y="101"/>
                    </a:cubicBezTo>
                    <a:cubicBezTo>
                      <a:pt x="61" y="55"/>
                      <a:pt x="22" y="21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115"/>
              <p:cNvSpPr>
                <a:spLocks/>
              </p:cNvSpPr>
              <p:nvPr/>
            </p:nvSpPr>
            <p:spPr bwMode="auto">
              <a:xfrm>
                <a:off x="1041001" y="1437904"/>
                <a:ext cx="97017" cy="111390"/>
              </a:xfrm>
              <a:custGeom>
                <a:avLst/>
                <a:gdLst>
                  <a:gd name="T0" fmla="*/ 0 w 41"/>
                  <a:gd name="T1" fmla="*/ 0 h 47"/>
                  <a:gd name="T2" fmla="*/ 41 w 41"/>
                  <a:gd name="T3" fmla="*/ 47 h 47"/>
                  <a:gd name="T4" fmla="*/ 25 w 41"/>
                  <a:gd name="T5" fmla="*/ 23 h 47"/>
                  <a:gd name="T6" fmla="*/ 0 w 41"/>
                  <a:gd name="T7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" h="47">
                    <a:moveTo>
                      <a:pt x="0" y="0"/>
                    </a:moveTo>
                    <a:cubicBezTo>
                      <a:pt x="0" y="0"/>
                      <a:pt x="13" y="15"/>
                      <a:pt x="41" y="47"/>
                    </a:cubicBezTo>
                    <a:cubicBezTo>
                      <a:pt x="35" y="38"/>
                      <a:pt x="30" y="30"/>
                      <a:pt x="25" y="23"/>
                    </a:cubicBezTo>
                    <a:cubicBezTo>
                      <a:pt x="8" y="8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116"/>
              <p:cNvSpPr>
                <a:spLocks/>
              </p:cNvSpPr>
              <p:nvPr/>
            </p:nvSpPr>
            <p:spPr bwMode="auto">
              <a:xfrm>
                <a:off x="1100289" y="1380862"/>
                <a:ext cx="609499" cy="571771"/>
              </a:xfrm>
              <a:custGeom>
                <a:avLst/>
                <a:gdLst>
                  <a:gd name="T0" fmla="*/ 0 w 257"/>
                  <a:gd name="T1" fmla="*/ 0 h 241"/>
                  <a:gd name="T2" fmla="*/ 121 w 257"/>
                  <a:gd name="T3" fmla="*/ 135 h 241"/>
                  <a:gd name="T4" fmla="*/ 207 w 257"/>
                  <a:gd name="T5" fmla="*/ 212 h 241"/>
                  <a:gd name="T6" fmla="*/ 257 w 257"/>
                  <a:gd name="T7" fmla="*/ 241 h 241"/>
                  <a:gd name="T8" fmla="*/ 132 w 257"/>
                  <a:gd name="T9" fmla="*/ 143 h 241"/>
                  <a:gd name="T10" fmla="*/ 70 w 257"/>
                  <a:gd name="T11" fmla="*/ 69 h 241"/>
                  <a:gd name="T12" fmla="*/ 0 w 257"/>
                  <a:gd name="T13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7" h="241">
                    <a:moveTo>
                      <a:pt x="0" y="0"/>
                    </a:moveTo>
                    <a:cubicBezTo>
                      <a:pt x="0" y="0"/>
                      <a:pt x="45" y="62"/>
                      <a:pt x="121" y="135"/>
                    </a:cubicBezTo>
                    <a:cubicBezTo>
                      <a:pt x="154" y="166"/>
                      <a:pt x="183" y="192"/>
                      <a:pt x="207" y="212"/>
                    </a:cubicBezTo>
                    <a:cubicBezTo>
                      <a:pt x="237" y="230"/>
                      <a:pt x="257" y="241"/>
                      <a:pt x="257" y="241"/>
                    </a:cubicBezTo>
                    <a:cubicBezTo>
                      <a:pt x="257" y="241"/>
                      <a:pt x="196" y="206"/>
                      <a:pt x="132" y="143"/>
                    </a:cubicBezTo>
                    <a:cubicBezTo>
                      <a:pt x="104" y="116"/>
                      <a:pt x="84" y="90"/>
                      <a:pt x="70" y="69"/>
                    </a:cubicBezTo>
                    <a:cubicBezTo>
                      <a:pt x="24" y="28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117"/>
              <p:cNvSpPr>
                <a:spLocks/>
              </p:cNvSpPr>
              <p:nvPr/>
            </p:nvSpPr>
            <p:spPr bwMode="auto">
              <a:xfrm>
                <a:off x="1064357" y="1380862"/>
                <a:ext cx="526855" cy="502601"/>
              </a:xfrm>
              <a:custGeom>
                <a:avLst/>
                <a:gdLst>
                  <a:gd name="T0" fmla="*/ 15 w 222"/>
                  <a:gd name="T1" fmla="*/ 0 h 212"/>
                  <a:gd name="T2" fmla="*/ 0 w 222"/>
                  <a:gd name="T3" fmla="*/ 14 h 212"/>
                  <a:gd name="T4" fmla="*/ 117 w 222"/>
                  <a:gd name="T5" fmla="*/ 132 h 212"/>
                  <a:gd name="T6" fmla="*/ 176 w 222"/>
                  <a:gd name="T7" fmla="*/ 181 h 212"/>
                  <a:gd name="T8" fmla="*/ 222 w 222"/>
                  <a:gd name="T9" fmla="*/ 212 h 212"/>
                  <a:gd name="T10" fmla="*/ 136 w 222"/>
                  <a:gd name="T11" fmla="*/ 135 h 212"/>
                  <a:gd name="T12" fmla="*/ 15 w 222"/>
                  <a:gd name="T13" fmla="*/ 0 h 212"/>
                  <a:gd name="T14" fmla="*/ 15 w 222"/>
                  <a:gd name="T15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2" h="212">
                    <a:moveTo>
                      <a:pt x="15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20" y="37"/>
                      <a:pt x="61" y="82"/>
                      <a:pt x="117" y="132"/>
                    </a:cubicBezTo>
                    <a:cubicBezTo>
                      <a:pt x="137" y="150"/>
                      <a:pt x="157" y="167"/>
                      <a:pt x="176" y="181"/>
                    </a:cubicBezTo>
                    <a:cubicBezTo>
                      <a:pt x="192" y="193"/>
                      <a:pt x="208" y="204"/>
                      <a:pt x="222" y="212"/>
                    </a:cubicBezTo>
                    <a:cubicBezTo>
                      <a:pt x="198" y="192"/>
                      <a:pt x="169" y="166"/>
                      <a:pt x="136" y="135"/>
                    </a:cubicBezTo>
                    <a:cubicBezTo>
                      <a:pt x="60" y="62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118"/>
              <p:cNvSpPr>
                <a:spLocks/>
              </p:cNvSpPr>
              <p:nvPr/>
            </p:nvSpPr>
            <p:spPr bwMode="auto">
              <a:xfrm>
                <a:off x="1057620" y="1414099"/>
                <a:ext cx="424449" cy="396152"/>
              </a:xfrm>
              <a:custGeom>
                <a:avLst/>
                <a:gdLst>
                  <a:gd name="T0" fmla="*/ 3 w 179"/>
                  <a:gd name="T1" fmla="*/ 0 h 167"/>
                  <a:gd name="T2" fmla="*/ 0 w 179"/>
                  <a:gd name="T3" fmla="*/ 3 h 167"/>
                  <a:gd name="T4" fmla="*/ 18 w 179"/>
                  <a:gd name="T5" fmla="*/ 33 h 167"/>
                  <a:gd name="T6" fmla="*/ 135 w 179"/>
                  <a:gd name="T7" fmla="*/ 134 h 167"/>
                  <a:gd name="T8" fmla="*/ 179 w 179"/>
                  <a:gd name="T9" fmla="*/ 167 h 167"/>
                  <a:gd name="T10" fmla="*/ 120 w 179"/>
                  <a:gd name="T11" fmla="*/ 118 h 167"/>
                  <a:gd name="T12" fmla="*/ 3 w 179"/>
                  <a:gd name="T13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9" h="167">
                    <a:moveTo>
                      <a:pt x="3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4" y="11"/>
                      <a:pt x="10" y="21"/>
                      <a:pt x="18" y="33"/>
                    </a:cubicBezTo>
                    <a:cubicBezTo>
                      <a:pt x="40" y="54"/>
                      <a:pt x="79" y="88"/>
                      <a:pt x="135" y="134"/>
                    </a:cubicBezTo>
                    <a:cubicBezTo>
                      <a:pt x="150" y="146"/>
                      <a:pt x="165" y="157"/>
                      <a:pt x="179" y="167"/>
                    </a:cubicBezTo>
                    <a:cubicBezTo>
                      <a:pt x="160" y="153"/>
                      <a:pt x="140" y="136"/>
                      <a:pt x="120" y="118"/>
                    </a:cubicBezTo>
                    <a:cubicBezTo>
                      <a:pt x="64" y="68"/>
                      <a:pt x="23" y="23"/>
                      <a:pt x="3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119"/>
              <p:cNvSpPr>
                <a:spLocks/>
              </p:cNvSpPr>
              <p:nvPr/>
            </p:nvSpPr>
            <p:spPr bwMode="auto">
              <a:xfrm>
                <a:off x="1041001" y="1421285"/>
                <a:ext cx="59288" cy="70966"/>
              </a:xfrm>
              <a:custGeom>
                <a:avLst/>
                <a:gdLst>
                  <a:gd name="T0" fmla="*/ 7 w 25"/>
                  <a:gd name="T1" fmla="*/ 0 h 30"/>
                  <a:gd name="T2" fmla="*/ 0 w 25"/>
                  <a:gd name="T3" fmla="*/ 7 h 30"/>
                  <a:gd name="T4" fmla="*/ 25 w 25"/>
                  <a:gd name="T5" fmla="*/ 30 h 30"/>
                  <a:gd name="T6" fmla="*/ 7 w 25"/>
                  <a:gd name="T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" h="30">
                    <a:moveTo>
                      <a:pt x="7" y="0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8" y="15"/>
                      <a:pt x="25" y="30"/>
                    </a:cubicBezTo>
                    <a:cubicBezTo>
                      <a:pt x="17" y="18"/>
                      <a:pt x="11" y="8"/>
                      <a:pt x="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120"/>
              <p:cNvSpPr>
                <a:spLocks/>
              </p:cNvSpPr>
              <p:nvPr/>
            </p:nvSpPr>
            <p:spPr bwMode="auto">
              <a:xfrm>
                <a:off x="1206738" y="1449582"/>
                <a:ext cx="534042" cy="450499"/>
              </a:xfrm>
              <a:custGeom>
                <a:avLst/>
                <a:gdLst>
                  <a:gd name="T0" fmla="*/ 0 w 225"/>
                  <a:gd name="T1" fmla="*/ 0 h 190"/>
                  <a:gd name="T2" fmla="*/ 25 w 225"/>
                  <a:gd name="T3" fmla="*/ 40 h 190"/>
                  <a:gd name="T4" fmla="*/ 94 w 225"/>
                  <a:gd name="T5" fmla="*/ 99 h 190"/>
                  <a:gd name="T6" fmla="*/ 225 w 225"/>
                  <a:gd name="T7" fmla="*/ 190 h 190"/>
                  <a:gd name="T8" fmla="*/ 225 w 225"/>
                  <a:gd name="T9" fmla="*/ 190 h 190"/>
                  <a:gd name="T10" fmla="*/ 177 w 225"/>
                  <a:gd name="T11" fmla="*/ 152 h 190"/>
                  <a:gd name="T12" fmla="*/ 86 w 225"/>
                  <a:gd name="T13" fmla="*/ 90 h 190"/>
                  <a:gd name="T14" fmla="*/ 0 w 225"/>
                  <a:gd name="T15" fmla="*/ 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5" h="190">
                    <a:moveTo>
                      <a:pt x="0" y="0"/>
                    </a:moveTo>
                    <a:cubicBezTo>
                      <a:pt x="0" y="0"/>
                      <a:pt x="7" y="16"/>
                      <a:pt x="25" y="40"/>
                    </a:cubicBezTo>
                    <a:cubicBezTo>
                      <a:pt x="44" y="58"/>
                      <a:pt x="67" y="78"/>
                      <a:pt x="94" y="99"/>
                    </a:cubicBezTo>
                    <a:cubicBezTo>
                      <a:pt x="172" y="161"/>
                      <a:pt x="225" y="190"/>
                      <a:pt x="225" y="190"/>
                    </a:cubicBezTo>
                    <a:cubicBezTo>
                      <a:pt x="225" y="190"/>
                      <a:pt x="225" y="190"/>
                      <a:pt x="225" y="190"/>
                    </a:cubicBezTo>
                    <a:cubicBezTo>
                      <a:pt x="225" y="190"/>
                      <a:pt x="208" y="179"/>
                      <a:pt x="177" y="152"/>
                    </a:cubicBezTo>
                    <a:cubicBezTo>
                      <a:pt x="167" y="147"/>
                      <a:pt x="123" y="125"/>
                      <a:pt x="86" y="90"/>
                    </a:cubicBezTo>
                    <a:cubicBezTo>
                      <a:pt x="22" y="32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121"/>
              <p:cNvSpPr>
                <a:spLocks/>
              </p:cNvSpPr>
              <p:nvPr/>
            </p:nvSpPr>
            <p:spPr bwMode="auto">
              <a:xfrm>
                <a:off x="1266026" y="1544353"/>
                <a:ext cx="474754" cy="408279"/>
              </a:xfrm>
              <a:custGeom>
                <a:avLst/>
                <a:gdLst>
                  <a:gd name="T0" fmla="*/ 0 w 200"/>
                  <a:gd name="T1" fmla="*/ 0 h 172"/>
                  <a:gd name="T2" fmla="*/ 62 w 200"/>
                  <a:gd name="T3" fmla="*/ 74 h 172"/>
                  <a:gd name="T4" fmla="*/ 187 w 200"/>
                  <a:gd name="T5" fmla="*/ 172 h 172"/>
                  <a:gd name="T6" fmla="*/ 200 w 200"/>
                  <a:gd name="T7" fmla="*/ 150 h 172"/>
                  <a:gd name="T8" fmla="*/ 69 w 200"/>
                  <a:gd name="T9" fmla="*/ 59 h 172"/>
                  <a:gd name="T10" fmla="*/ 0 w 200"/>
                  <a:gd name="T11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0" h="172">
                    <a:moveTo>
                      <a:pt x="0" y="0"/>
                    </a:moveTo>
                    <a:cubicBezTo>
                      <a:pt x="14" y="21"/>
                      <a:pt x="34" y="47"/>
                      <a:pt x="62" y="74"/>
                    </a:cubicBezTo>
                    <a:cubicBezTo>
                      <a:pt x="126" y="137"/>
                      <a:pt x="187" y="172"/>
                      <a:pt x="187" y="172"/>
                    </a:cubicBezTo>
                    <a:cubicBezTo>
                      <a:pt x="200" y="150"/>
                      <a:pt x="200" y="150"/>
                      <a:pt x="200" y="150"/>
                    </a:cubicBezTo>
                    <a:cubicBezTo>
                      <a:pt x="200" y="150"/>
                      <a:pt x="147" y="121"/>
                      <a:pt x="69" y="59"/>
                    </a:cubicBezTo>
                    <a:cubicBezTo>
                      <a:pt x="42" y="38"/>
                      <a:pt x="19" y="18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122"/>
              <p:cNvSpPr>
                <a:spLocks/>
              </p:cNvSpPr>
              <p:nvPr/>
            </p:nvSpPr>
            <p:spPr bwMode="auto">
              <a:xfrm>
                <a:off x="1266026" y="1392540"/>
                <a:ext cx="367856" cy="419957"/>
              </a:xfrm>
              <a:custGeom>
                <a:avLst/>
                <a:gdLst>
                  <a:gd name="T0" fmla="*/ 0 w 155"/>
                  <a:gd name="T1" fmla="*/ 0 h 177"/>
                  <a:gd name="T2" fmla="*/ 88 w 155"/>
                  <a:gd name="T3" fmla="*/ 118 h 177"/>
                  <a:gd name="T4" fmla="*/ 152 w 155"/>
                  <a:gd name="T5" fmla="*/ 176 h 177"/>
                  <a:gd name="T6" fmla="*/ 155 w 155"/>
                  <a:gd name="T7" fmla="*/ 177 h 177"/>
                  <a:gd name="T8" fmla="*/ 108 w 155"/>
                  <a:gd name="T9" fmla="*/ 127 h 177"/>
                  <a:gd name="T10" fmla="*/ 77 w 155"/>
                  <a:gd name="T11" fmla="*/ 85 h 177"/>
                  <a:gd name="T12" fmla="*/ 0 w 155"/>
                  <a:gd name="T13" fmla="*/ 0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5" h="177">
                    <a:moveTo>
                      <a:pt x="0" y="0"/>
                    </a:moveTo>
                    <a:cubicBezTo>
                      <a:pt x="0" y="0"/>
                      <a:pt x="28" y="58"/>
                      <a:pt x="88" y="118"/>
                    </a:cubicBezTo>
                    <a:cubicBezTo>
                      <a:pt x="114" y="142"/>
                      <a:pt x="135" y="162"/>
                      <a:pt x="152" y="176"/>
                    </a:cubicBezTo>
                    <a:cubicBezTo>
                      <a:pt x="154" y="177"/>
                      <a:pt x="155" y="177"/>
                      <a:pt x="155" y="177"/>
                    </a:cubicBezTo>
                    <a:cubicBezTo>
                      <a:pt x="155" y="177"/>
                      <a:pt x="140" y="165"/>
                      <a:pt x="108" y="127"/>
                    </a:cubicBezTo>
                    <a:cubicBezTo>
                      <a:pt x="95" y="111"/>
                      <a:pt x="85" y="97"/>
                      <a:pt x="77" y="85"/>
                    </a:cubicBezTo>
                    <a:cubicBezTo>
                      <a:pt x="20" y="32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123"/>
              <p:cNvSpPr>
                <a:spLocks/>
              </p:cNvSpPr>
              <p:nvPr/>
            </p:nvSpPr>
            <p:spPr bwMode="auto">
              <a:xfrm>
                <a:off x="1206738" y="1392540"/>
                <a:ext cx="419957" cy="417711"/>
              </a:xfrm>
              <a:custGeom>
                <a:avLst/>
                <a:gdLst>
                  <a:gd name="T0" fmla="*/ 25 w 177"/>
                  <a:gd name="T1" fmla="*/ 0 h 176"/>
                  <a:gd name="T2" fmla="*/ 0 w 177"/>
                  <a:gd name="T3" fmla="*/ 24 h 176"/>
                  <a:gd name="T4" fmla="*/ 86 w 177"/>
                  <a:gd name="T5" fmla="*/ 114 h 176"/>
                  <a:gd name="T6" fmla="*/ 177 w 177"/>
                  <a:gd name="T7" fmla="*/ 176 h 176"/>
                  <a:gd name="T8" fmla="*/ 113 w 177"/>
                  <a:gd name="T9" fmla="*/ 118 h 176"/>
                  <a:gd name="T10" fmla="*/ 25 w 177"/>
                  <a:gd name="T11" fmla="*/ 0 h 176"/>
                  <a:gd name="T12" fmla="*/ 25 w 177"/>
                  <a:gd name="T13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7" h="176">
                    <a:moveTo>
                      <a:pt x="25" y="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22" y="56"/>
                      <a:pt x="86" y="114"/>
                    </a:cubicBezTo>
                    <a:cubicBezTo>
                      <a:pt x="123" y="149"/>
                      <a:pt x="167" y="171"/>
                      <a:pt x="177" y="176"/>
                    </a:cubicBezTo>
                    <a:cubicBezTo>
                      <a:pt x="160" y="162"/>
                      <a:pt x="139" y="142"/>
                      <a:pt x="113" y="118"/>
                    </a:cubicBezTo>
                    <a:cubicBezTo>
                      <a:pt x="53" y="58"/>
                      <a:pt x="25" y="0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124"/>
              <p:cNvSpPr>
                <a:spLocks/>
              </p:cNvSpPr>
              <p:nvPr/>
            </p:nvSpPr>
            <p:spPr bwMode="auto">
              <a:xfrm>
                <a:off x="1387297" y="1477879"/>
                <a:ext cx="284762" cy="277576"/>
              </a:xfrm>
              <a:custGeom>
                <a:avLst/>
                <a:gdLst>
                  <a:gd name="T0" fmla="*/ 0 w 120"/>
                  <a:gd name="T1" fmla="*/ 0 h 117"/>
                  <a:gd name="T2" fmla="*/ 26 w 120"/>
                  <a:gd name="T3" fmla="*/ 49 h 117"/>
                  <a:gd name="T4" fmla="*/ 35 w 120"/>
                  <a:gd name="T5" fmla="*/ 57 h 117"/>
                  <a:gd name="T6" fmla="*/ 120 w 120"/>
                  <a:gd name="T7" fmla="*/ 117 h 117"/>
                  <a:gd name="T8" fmla="*/ 120 w 120"/>
                  <a:gd name="T9" fmla="*/ 117 h 117"/>
                  <a:gd name="T10" fmla="*/ 78 w 120"/>
                  <a:gd name="T11" fmla="*/ 78 h 117"/>
                  <a:gd name="T12" fmla="*/ 57 w 120"/>
                  <a:gd name="T13" fmla="*/ 60 h 117"/>
                  <a:gd name="T14" fmla="*/ 0 w 120"/>
                  <a:gd name="T15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0" h="117">
                    <a:moveTo>
                      <a:pt x="0" y="0"/>
                    </a:moveTo>
                    <a:cubicBezTo>
                      <a:pt x="0" y="0"/>
                      <a:pt x="7" y="19"/>
                      <a:pt x="26" y="49"/>
                    </a:cubicBezTo>
                    <a:cubicBezTo>
                      <a:pt x="29" y="51"/>
                      <a:pt x="32" y="54"/>
                      <a:pt x="35" y="57"/>
                    </a:cubicBezTo>
                    <a:cubicBezTo>
                      <a:pt x="76" y="93"/>
                      <a:pt x="120" y="117"/>
                      <a:pt x="120" y="117"/>
                    </a:cubicBezTo>
                    <a:cubicBezTo>
                      <a:pt x="120" y="117"/>
                      <a:pt x="120" y="117"/>
                      <a:pt x="120" y="117"/>
                    </a:cubicBezTo>
                    <a:cubicBezTo>
                      <a:pt x="120" y="117"/>
                      <a:pt x="102" y="104"/>
                      <a:pt x="78" y="78"/>
                    </a:cubicBezTo>
                    <a:cubicBezTo>
                      <a:pt x="72" y="73"/>
                      <a:pt x="65" y="67"/>
                      <a:pt x="57" y="60"/>
                    </a:cubicBezTo>
                    <a:cubicBezTo>
                      <a:pt x="21" y="26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125"/>
              <p:cNvSpPr>
                <a:spLocks/>
              </p:cNvSpPr>
              <p:nvPr/>
            </p:nvSpPr>
            <p:spPr bwMode="auto">
              <a:xfrm>
                <a:off x="1448831" y="1594209"/>
                <a:ext cx="223229" cy="218288"/>
              </a:xfrm>
              <a:custGeom>
                <a:avLst/>
                <a:gdLst>
                  <a:gd name="T0" fmla="*/ 0 w 94"/>
                  <a:gd name="T1" fmla="*/ 0 h 92"/>
                  <a:gd name="T2" fmla="*/ 31 w 94"/>
                  <a:gd name="T3" fmla="*/ 42 h 92"/>
                  <a:gd name="T4" fmla="*/ 78 w 94"/>
                  <a:gd name="T5" fmla="*/ 92 h 92"/>
                  <a:gd name="T6" fmla="*/ 94 w 94"/>
                  <a:gd name="T7" fmla="*/ 68 h 92"/>
                  <a:gd name="T8" fmla="*/ 9 w 94"/>
                  <a:gd name="T9" fmla="*/ 8 h 92"/>
                  <a:gd name="T10" fmla="*/ 0 w 94"/>
                  <a:gd name="T11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4" h="92">
                    <a:moveTo>
                      <a:pt x="0" y="0"/>
                    </a:moveTo>
                    <a:cubicBezTo>
                      <a:pt x="8" y="12"/>
                      <a:pt x="18" y="26"/>
                      <a:pt x="31" y="42"/>
                    </a:cubicBezTo>
                    <a:cubicBezTo>
                      <a:pt x="63" y="80"/>
                      <a:pt x="78" y="92"/>
                      <a:pt x="78" y="92"/>
                    </a:cubicBezTo>
                    <a:cubicBezTo>
                      <a:pt x="94" y="68"/>
                      <a:pt x="94" y="68"/>
                      <a:pt x="94" y="68"/>
                    </a:cubicBezTo>
                    <a:cubicBezTo>
                      <a:pt x="94" y="68"/>
                      <a:pt x="50" y="44"/>
                      <a:pt x="9" y="8"/>
                    </a:cubicBezTo>
                    <a:cubicBezTo>
                      <a:pt x="6" y="5"/>
                      <a:pt x="3" y="2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126"/>
              <p:cNvSpPr>
                <a:spLocks/>
              </p:cNvSpPr>
              <p:nvPr/>
            </p:nvSpPr>
            <p:spPr bwMode="auto">
              <a:xfrm>
                <a:off x="1415594" y="1454073"/>
                <a:ext cx="227720" cy="242093"/>
              </a:xfrm>
              <a:custGeom>
                <a:avLst/>
                <a:gdLst>
                  <a:gd name="T0" fmla="*/ 0 w 96"/>
                  <a:gd name="T1" fmla="*/ 0 h 102"/>
                  <a:gd name="T2" fmla="*/ 40 w 96"/>
                  <a:gd name="T3" fmla="*/ 58 h 102"/>
                  <a:gd name="T4" fmla="*/ 66 w 96"/>
                  <a:gd name="T5" fmla="*/ 88 h 102"/>
                  <a:gd name="T6" fmla="*/ 84 w 96"/>
                  <a:gd name="T7" fmla="*/ 102 h 102"/>
                  <a:gd name="T8" fmla="*/ 96 w 96"/>
                  <a:gd name="T9" fmla="*/ 86 h 102"/>
                  <a:gd name="T10" fmla="*/ 51 w 96"/>
                  <a:gd name="T11" fmla="*/ 47 h 102"/>
                  <a:gd name="T12" fmla="*/ 0 w 96"/>
                  <a:gd name="T13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" h="102">
                    <a:moveTo>
                      <a:pt x="0" y="0"/>
                    </a:moveTo>
                    <a:cubicBezTo>
                      <a:pt x="0" y="0"/>
                      <a:pt x="21" y="35"/>
                      <a:pt x="40" y="58"/>
                    </a:cubicBezTo>
                    <a:cubicBezTo>
                      <a:pt x="49" y="70"/>
                      <a:pt x="58" y="79"/>
                      <a:pt x="66" y="88"/>
                    </a:cubicBezTo>
                    <a:cubicBezTo>
                      <a:pt x="77" y="98"/>
                      <a:pt x="84" y="102"/>
                      <a:pt x="84" y="102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96" y="86"/>
                      <a:pt x="81" y="75"/>
                      <a:pt x="51" y="47"/>
                    </a:cubicBezTo>
                    <a:cubicBezTo>
                      <a:pt x="28" y="26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127"/>
              <p:cNvSpPr>
                <a:spLocks/>
              </p:cNvSpPr>
              <p:nvPr/>
            </p:nvSpPr>
            <p:spPr bwMode="auto">
              <a:xfrm>
                <a:off x="1387297" y="1454073"/>
                <a:ext cx="185051" cy="208856"/>
              </a:xfrm>
              <a:custGeom>
                <a:avLst/>
                <a:gdLst>
                  <a:gd name="T0" fmla="*/ 12 w 78"/>
                  <a:gd name="T1" fmla="*/ 0 h 88"/>
                  <a:gd name="T2" fmla="*/ 0 w 78"/>
                  <a:gd name="T3" fmla="*/ 10 h 88"/>
                  <a:gd name="T4" fmla="*/ 57 w 78"/>
                  <a:gd name="T5" fmla="*/ 70 h 88"/>
                  <a:gd name="T6" fmla="*/ 78 w 78"/>
                  <a:gd name="T7" fmla="*/ 88 h 88"/>
                  <a:gd name="T8" fmla="*/ 52 w 78"/>
                  <a:gd name="T9" fmla="*/ 58 h 88"/>
                  <a:gd name="T10" fmla="*/ 12 w 78"/>
                  <a:gd name="T11" fmla="*/ 0 h 88"/>
                  <a:gd name="T12" fmla="*/ 12 w 78"/>
                  <a:gd name="T13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88">
                    <a:moveTo>
                      <a:pt x="12" y="0"/>
                    </a:move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21" y="36"/>
                      <a:pt x="57" y="70"/>
                    </a:cubicBezTo>
                    <a:cubicBezTo>
                      <a:pt x="65" y="77"/>
                      <a:pt x="72" y="83"/>
                      <a:pt x="78" y="88"/>
                    </a:cubicBezTo>
                    <a:cubicBezTo>
                      <a:pt x="70" y="79"/>
                      <a:pt x="61" y="70"/>
                      <a:pt x="52" y="58"/>
                    </a:cubicBezTo>
                    <a:cubicBezTo>
                      <a:pt x="33" y="35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655992" y="1203516"/>
              <a:ext cx="259080" cy="540000"/>
            </a:xfrm>
            <a:custGeom>
              <a:avLst/>
              <a:gdLst>
                <a:gd name="T0" fmla="*/ 31 w 31"/>
                <a:gd name="T1" fmla="*/ 86 h 93"/>
                <a:gd name="T2" fmla="*/ 30 w 31"/>
                <a:gd name="T3" fmla="*/ 91 h 93"/>
                <a:gd name="T4" fmla="*/ 26 w 31"/>
                <a:gd name="T5" fmla="*/ 93 h 93"/>
                <a:gd name="T6" fmla="*/ 17 w 31"/>
                <a:gd name="T7" fmla="*/ 88 h 93"/>
                <a:gd name="T8" fmla="*/ 10 w 31"/>
                <a:gd name="T9" fmla="*/ 82 h 93"/>
                <a:gd name="T10" fmla="*/ 11 w 31"/>
                <a:gd name="T11" fmla="*/ 80 h 93"/>
                <a:gd name="T12" fmla="*/ 11 w 31"/>
                <a:gd name="T13" fmla="*/ 79 h 93"/>
                <a:gd name="T14" fmla="*/ 11 w 31"/>
                <a:gd name="T15" fmla="*/ 34 h 93"/>
                <a:gd name="T16" fmla="*/ 6 w 31"/>
                <a:gd name="T17" fmla="*/ 30 h 93"/>
                <a:gd name="T18" fmla="*/ 0 w 31"/>
                <a:gd name="T19" fmla="*/ 27 h 93"/>
                <a:gd name="T20" fmla="*/ 0 w 31"/>
                <a:gd name="T21" fmla="*/ 24 h 93"/>
                <a:gd name="T22" fmla="*/ 2 w 31"/>
                <a:gd name="T23" fmla="*/ 19 h 93"/>
                <a:gd name="T24" fmla="*/ 6 w 31"/>
                <a:gd name="T25" fmla="*/ 13 h 93"/>
                <a:gd name="T26" fmla="*/ 9 w 31"/>
                <a:gd name="T27" fmla="*/ 5 h 93"/>
                <a:gd name="T28" fmla="*/ 15 w 31"/>
                <a:gd name="T29" fmla="*/ 0 h 93"/>
                <a:gd name="T30" fmla="*/ 24 w 31"/>
                <a:gd name="T31" fmla="*/ 3 h 93"/>
                <a:gd name="T32" fmla="*/ 29 w 31"/>
                <a:gd name="T33" fmla="*/ 10 h 93"/>
                <a:gd name="T34" fmla="*/ 29 w 31"/>
                <a:gd name="T35" fmla="*/ 81 h 93"/>
                <a:gd name="T36" fmla="*/ 30 w 31"/>
                <a:gd name="T37" fmla="*/ 83 h 93"/>
                <a:gd name="T38" fmla="*/ 31 w 31"/>
                <a:gd name="T39" fmla="*/ 8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1" h="93">
                  <a:moveTo>
                    <a:pt x="31" y="86"/>
                  </a:moveTo>
                  <a:cubicBezTo>
                    <a:pt x="31" y="88"/>
                    <a:pt x="31" y="90"/>
                    <a:pt x="30" y="91"/>
                  </a:cubicBezTo>
                  <a:cubicBezTo>
                    <a:pt x="29" y="92"/>
                    <a:pt x="27" y="93"/>
                    <a:pt x="26" y="93"/>
                  </a:cubicBezTo>
                  <a:cubicBezTo>
                    <a:pt x="24" y="93"/>
                    <a:pt x="22" y="91"/>
                    <a:pt x="17" y="88"/>
                  </a:cubicBezTo>
                  <a:cubicBezTo>
                    <a:pt x="13" y="86"/>
                    <a:pt x="11" y="83"/>
                    <a:pt x="10" y="82"/>
                  </a:cubicBezTo>
                  <a:cubicBezTo>
                    <a:pt x="10" y="82"/>
                    <a:pt x="11" y="81"/>
                    <a:pt x="11" y="80"/>
                  </a:cubicBezTo>
                  <a:cubicBezTo>
                    <a:pt x="11" y="80"/>
                    <a:pt x="11" y="79"/>
                    <a:pt x="11" y="79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2"/>
                    <a:pt x="10" y="31"/>
                    <a:pt x="6" y="30"/>
                  </a:cubicBezTo>
                  <a:cubicBezTo>
                    <a:pt x="3" y="29"/>
                    <a:pt x="1" y="28"/>
                    <a:pt x="0" y="27"/>
                  </a:cubicBezTo>
                  <a:cubicBezTo>
                    <a:pt x="0" y="26"/>
                    <a:pt x="0" y="25"/>
                    <a:pt x="0" y="24"/>
                  </a:cubicBezTo>
                  <a:cubicBezTo>
                    <a:pt x="0" y="23"/>
                    <a:pt x="1" y="21"/>
                    <a:pt x="2" y="19"/>
                  </a:cubicBezTo>
                  <a:cubicBezTo>
                    <a:pt x="4" y="16"/>
                    <a:pt x="6" y="14"/>
                    <a:pt x="6" y="13"/>
                  </a:cubicBezTo>
                  <a:cubicBezTo>
                    <a:pt x="7" y="10"/>
                    <a:pt x="8" y="8"/>
                    <a:pt x="9" y="5"/>
                  </a:cubicBezTo>
                  <a:cubicBezTo>
                    <a:pt x="10" y="2"/>
                    <a:pt x="12" y="0"/>
                    <a:pt x="15" y="0"/>
                  </a:cubicBezTo>
                  <a:cubicBezTo>
                    <a:pt x="18" y="0"/>
                    <a:pt x="21" y="1"/>
                    <a:pt x="24" y="3"/>
                  </a:cubicBezTo>
                  <a:cubicBezTo>
                    <a:pt x="28" y="5"/>
                    <a:pt x="29" y="7"/>
                    <a:pt x="29" y="10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1"/>
                    <a:pt x="30" y="82"/>
                    <a:pt x="30" y="83"/>
                  </a:cubicBezTo>
                  <a:cubicBezTo>
                    <a:pt x="31" y="85"/>
                    <a:pt x="31" y="86"/>
                    <a:pt x="31" y="8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1620271" y="2764774"/>
            <a:ext cx="560638" cy="640267"/>
            <a:chOff x="1620271" y="2764774"/>
            <a:chExt cx="560638" cy="640267"/>
          </a:xfrm>
        </p:grpSpPr>
        <p:grpSp>
          <p:nvGrpSpPr>
            <p:cNvPr id="130" name="Group 129"/>
            <p:cNvGrpSpPr/>
            <p:nvPr/>
          </p:nvGrpSpPr>
          <p:grpSpPr>
            <a:xfrm>
              <a:off x="1620271" y="2764774"/>
              <a:ext cx="560638" cy="640267"/>
              <a:chOff x="506959" y="1375921"/>
              <a:chExt cx="1233821" cy="1264363"/>
            </a:xfrm>
            <a:solidFill>
              <a:srgbClr val="FFC000"/>
            </a:solidFill>
          </p:grpSpPr>
          <p:sp>
            <p:nvSpPr>
              <p:cNvPr id="132" name="Freeform 131"/>
              <p:cNvSpPr>
                <a:spLocks/>
              </p:cNvSpPr>
              <p:nvPr/>
            </p:nvSpPr>
            <p:spPr bwMode="auto">
              <a:xfrm>
                <a:off x="734679" y="1712785"/>
                <a:ext cx="735711" cy="623872"/>
              </a:xfrm>
              <a:custGeom>
                <a:avLst/>
                <a:gdLst>
                  <a:gd name="T0" fmla="*/ 0 w 1638"/>
                  <a:gd name="T1" fmla="*/ 0 h 1389"/>
                  <a:gd name="T2" fmla="*/ 58 w 1638"/>
                  <a:gd name="T3" fmla="*/ 1299 h 1389"/>
                  <a:gd name="T4" fmla="*/ 1511 w 1638"/>
                  <a:gd name="T5" fmla="*/ 1389 h 1389"/>
                  <a:gd name="T6" fmla="*/ 1537 w 1638"/>
                  <a:gd name="T7" fmla="*/ 1199 h 1389"/>
                  <a:gd name="T8" fmla="*/ 1379 w 1638"/>
                  <a:gd name="T9" fmla="*/ 634 h 1389"/>
                  <a:gd name="T10" fmla="*/ 1638 w 1638"/>
                  <a:gd name="T11" fmla="*/ 534 h 1389"/>
                  <a:gd name="T12" fmla="*/ 1173 w 1638"/>
                  <a:gd name="T13" fmla="*/ 79 h 1389"/>
                  <a:gd name="T14" fmla="*/ 0 w 1638"/>
                  <a:gd name="T15" fmla="*/ 0 h 1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38" h="1389">
                    <a:moveTo>
                      <a:pt x="0" y="0"/>
                    </a:moveTo>
                    <a:lnTo>
                      <a:pt x="58" y="1299"/>
                    </a:lnTo>
                    <a:lnTo>
                      <a:pt x="1511" y="1389"/>
                    </a:lnTo>
                    <a:lnTo>
                      <a:pt x="1537" y="1199"/>
                    </a:lnTo>
                    <a:lnTo>
                      <a:pt x="1379" y="634"/>
                    </a:lnTo>
                    <a:lnTo>
                      <a:pt x="1638" y="534"/>
                    </a:lnTo>
                    <a:lnTo>
                      <a:pt x="1173" y="7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132"/>
              <p:cNvSpPr>
                <a:spLocks/>
              </p:cNvSpPr>
              <p:nvPr/>
            </p:nvSpPr>
            <p:spPr bwMode="auto">
              <a:xfrm>
                <a:off x="734679" y="1712785"/>
                <a:ext cx="735711" cy="623872"/>
              </a:xfrm>
              <a:custGeom>
                <a:avLst/>
                <a:gdLst>
                  <a:gd name="T0" fmla="*/ 0 w 1638"/>
                  <a:gd name="T1" fmla="*/ 0 h 1389"/>
                  <a:gd name="T2" fmla="*/ 58 w 1638"/>
                  <a:gd name="T3" fmla="*/ 1299 h 1389"/>
                  <a:gd name="T4" fmla="*/ 1511 w 1638"/>
                  <a:gd name="T5" fmla="*/ 1389 h 1389"/>
                  <a:gd name="T6" fmla="*/ 1537 w 1638"/>
                  <a:gd name="T7" fmla="*/ 1199 h 1389"/>
                  <a:gd name="T8" fmla="*/ 1379 w 1638"/>
                  <a:gd name="T9" fmla="*/ 634 h 1389"/>
                  <a:gd name="T10" fmla="*/ 1638 w 1638"/>
                  <a:gd name="T11" fmla="*/ 534 h 1389"/>
                  <a:gd name="T12" fmla="*/ 1173 w 1638"/>
                  <a:gd name="T13" fmla="*/ 79 h 1389"/>
                  <a:gd name="T14" fmla="*/ 0 w 1638"/>
                  <a:gd name="T15" fmla="*/ 0 h 1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38" h="1389">
                    <a:moveTo>
                      <a:pt x="0" y="0"/>
                    </a:moveTo>
                    <a:lnTo>
                      <a:pt x="58" y="1299"/>
                    </a:lnTo>
                    <a:lnTo>
                      <a:pt x="1511" y="1389"/>
                    </a:lnTo>
                    <a:lnTo>
                      <a:pt x="1537" y="1199"/>
                    </a:lnTo>
                    <a:lnTo>
                      <a:pt x="1379" y="634"/>
                    </a:lnTo>
                    <a:lnTo>
                      <a:pt x="1638" y="534"/>
                    </a:lnTo>
                    <a:lnTo>
                      <a:pt x="1173" y="79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133"/>
              <p:cNvSpPr>
                <a:spLocks/>
              </p:cNvSpPr>
              <p:nvPr/>
            </p:nvSpPr>
            <p:spPr bwMode="auto">
              <a:xfrm>
                <a:off x="599484" y="2296234"/>
                <a:ext cx="299135" cy="280271"/>
              </a:xfrm>
              <a:custGeom>
                <a:avLst/>
                <a:gdLst>
                  <a:gd name="T0" fmla="*/ 115 w 126"/>
                  <a:gd name="T1" fmla="*/ 118 h 118"/>
                  <a:gd name="T2" fmla="*/ 126 w 126"/>
                  <a:gd name="T3" fmla="*/ 106 h 118"/>
                  <a:gd name="T4" fmla="*/ 66 w 126"/>
                  <a:gd name="T5" fmla="*/ 56 h 118"/>
                  <a:gd name="T6" fmla="*/ 19 w 126"/>
                  <a:gd name="T7" fmla="*/ 0 h 118"/>
                  <a:gd name="T8" fmla="*/ 0 w 126"/>
                  <a:gd name="T9" fmla="*/ 13 h 118"/>
                  <a:gd name="T10" fmla="*/ 51 w 126"/>
                  <a:gd name="T11" fmla="*/ 70 h 118"/>
                  <a:gd name="T12" fmla="*/ 115 w 126"/>
                  <a:gd name="T13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118">
                    <a:moveTo>
                      <a:pt x="115" y="118"/>
                    </a:moveTo>
                    <a:cubicBezTo>
                      <a:pt x="126" y="106"/>
                      <a:pt x="126" y="106"/>
                      <a:pt x="126" y="106"/>
                    </a:cubicBezTo>
                    <a:cubicBezTo>
                      <a:pt x="126" y="106"/>
                      <a:pt x="87" y="78"/>
                      <a:pt x="66" y="56"/>
                    </a:cubicBezTo>
                    <a:cubicBezTo>
                      <a:pt x="43" y="31"/>
                      <a:pt x="19" y="0"/>
                      <a:pt x="19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3"/>
                      <a:pt x="35" y="55"/>
                      <a:pt x="51" y="70"/>
                    </a:cubicBezTo>
                    <a:cubicBezTo>
                      <a:pt x="85" y="104"/>
                      <a:pt x="115" y="118"/>
                      <a:pt x="115" y="1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Freeform 134"/>
              <p:cNvSpPr>
                <a:spLocks/>
              </p:cNvSpPr>
              <p:nvPr/>
            </p:nvSpPr>
            <p:spPr bwMode="auto">
              <a:xfrm>
                <a:off x="509205" y="2071208"/>
                <a:ext cx="389415" cy="505296"/>
              </a:xfrm>
              <a:custGeom>
                <a:avLst/>
                <a:gdLst>
                  <a:gd name="T0" fmla="*/ 153 w 164"/>
                  <a:gd name="T1" fmla="*/ 213 h 213"/>
                  <a:gd name="T2" fmla="*/ 164 w 164"/>
                  <a:gd name="T3" fmla="*/ 201 h 213"/>
                  <a:gd name="T4" fmla="*/ 82 w 164"/>
                  <a:gd name="T5" fmla="*/ 101 h 213"/>
                  <a:gd name="T6" fmla="*/ 20 w 164"/>
                  <a:gd name="T7" fmla="*/ 0 h 213"/>
                  <a:gd name="T8" fmla="*/ 0 w 164"/>
                  <a:gd name="T9" fmla="*/ 14 h 213"/>
                  <a:gd name="T10" fmla="*/ 52 w 164"/>
                  <a:gd name="T11" fmla="*/ 100 h 213"/>
                  <a:gd name="T12" fmla="*/ 153 w 164"/>
                  <a:gd name="T13" fmla="*/ 213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4" h="213">
                    <a:moveTo>
                      <a:pt x="153" y="213"/>
                    </a:moveTo>
                    <a:cubicBezTo>
                      <a:pt x="164" y="201"/>
                      <a:pt x="164" y="201"/>
                      <a:pt x="164" y="201"/>
                    </a:cubicBezTo>
                    <a:cubicBezTo>
                      <a:pt x="164" y="201"/>
                      <a:pt x="119" y="153"/>
                      <a:pt x="82" y="101"/>
                    </a:cubicBezTo>
                    <a:cubicBezTo>
                      <a:pt x="45" y="51"/>
                      <a:pt x="20" y="0"/>
                      <a:pt x="20" y="0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35" y="77"/>
                      <a:pt x="52" y="100"/>
                    </a:cubicBezTo>
                    <a:cubicBezTo>
                      <a:pt x="102" y="166"/>
                      <a:pt x="153" y="213"/>
                      <a:pt x="153" y="21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135"/>
              <p:cNvSpPr>
                <a:spLocks/>
              </p:cNvSpPr>
              <p:nvPr/>
            </p:nvSpPr>
            <p:spPr bwMode="auto">
              <a:xfrm>
                <a:off x="509205" y="2071208"/>
                <a:ext cx="631059" cy="569076"/>
              </a:xfrm>
              <a:custGeom>
                <a:avLst/>
                <a:gdLst>
                  <a:gd name="T0" fmla="*/ 244 w 266"/>
                  <a:gd name="T1" fmla="*/ 240 h 240"/>
                  <a:gd name="T2" fmla="*/ 266 w 266"/>
                  <a:gd name="T3" fmla="*/ 210 h 240"/>
                  <a:gd name="T4" fmla="*/ 119 w 266"/>
                  <a:gd name="T5" fmla="*/ 101 h 240"/>
                  <a:gd name="T6" fmla="*/ 20 w 266"/>
                  <a:gd name="T7" fmla="*/ 0 h 240"/>
                  <a:gd name="T8" fmla="*/ 0 w 266"/>
                  <a:gd name="T9" fmla="*/ 14 h 240"/>
                  <a:gd name="T10" fmla="*/ 109 w 266"/>
                  <a:gd name="T11" fmla="*/ 139 h 240"/>
                  <a:gd name="T12" fmla="*/ 244 w 266"/>
                  <a:gd name="T13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6" h="240">
                    <a:moveTo>
                      <a:pt x="244" y="240"/>
                    </a:moveTo>
                    <a:cubicBezTo>
                      <a:pt x="266" y="210"/>
                      <a:pt x="266" y="210"/>
                      <a:pt x="266" y="210"/>
                    </a:cubicBezTo>
                    <a:cubicBezTo>
                      <a:pt x="266" y="210"/>
                      <a:pt x="211" y="181"/>
                      <a:pt x="119" y="101"/>
                    </a:cubicBezTo>
                    <a:cubicBezTo>
                      <a:pt x="71" y="60"/>
                      <a:pt x="20" y="0"/>
                      <a:pt x="20" y="0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49" y="80"/>
                      <a:pt x="109" y="139"/>
                    </a:cubicBezTo>
                    <a:cubicBezTo>
                      <a:pt x="178" y="207"/>
                      <a:pt x="244" y="240"/>
                      <a:pt x="244" y="24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Freeform 136"/>
              <p:cNvSpPr>
                <a:spLocks/>
              </p:cNvSpPr>
              <p:nvPr/>
            </p:nvSpPr>
            <p:spPr bwMode="auto">
              <a:xfrm>
                <a:off x="506959" y="1933319"/>
                <a:ext cx="633305" cy="706965"/>
              </a:xfrm>
              <a:custGeom>
                <a:avLst/>
                <a:gdLst>
                  <a:gd name="T0" fmla="*/ 245 w 267"/>
                  <a:gd name="T1" fmla="*/ 298 h 298"/>
                  <a:gd name="T2" fmla="*/ 267 w 267"/>
                  <a:gd name="T3" fmla="*/ 268 h 298"/>
                  <a:gd name="T4" fmla="*/ 132 w 267"/>
                  <a:gd name="T5" fmla="*/ 125 h 298"/>
                  <a:gd name="T6" fmla="*/ 23 w 267"/>
                  <a:gd name="T7" fmla="*/ 0 h 298"/>
                  <a:gd name="T8" fmla="*/ 0 w 267"/>
                  <a:gd name="T9" fmla="*/ 18 h 298"/>
                  <a:gd name="T10" fmla="*/ 125 w 267"/>
                  <a:gd name="T11" fmla="*/ 178 h 298"/>
                  <a:gd name="T12" fmla="*/ 245 w 267"/>
                  <a:gd name="T13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7" h="298">
                    <a:moveTo>
                      <a:pt x="245" y="298"/>
                    </a:moveTo>
                    <a:cubicBezTo>
                      <a:pt x="267" y="268"/>
                      <a:pt x="267" y="268"/>
                      <a:pt x="267" y="268"/>
                    </a:cubicBezTo>
                    <a:cubicBezTo>
                      <a:pt x="267" y="268"/>
                      <a:pt x="221" y="223"/>
                      <a:pt x="132" y="125"/>
                    </a:cubicBezTo>
                    <a:cubicBezTo>
                      <a:pt x="80" y="68"/>
                      <a:pt x="23" y="0"/>
                      <a:pt x="23" y="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8"/>
                      <a:pt x="49" y="87"/>
                      <a:pt x="125" y="178"/>
                    </a:cubicBezTo>
                    <a:cubicBezTo>
                      <a:pt x="188" y="253"/>
                      <a:pt x="245" y="298"/>
                      <a:pt x="245" y="29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Freeform 137"/>
              <p:cNvSpPr>
                <a:spLocks/>
              </p:cNvSpPr>
              <p:nvPr/>
            </p:nvSpPr>
            <p:spPr bwMode="auto">
              <a:xfrm>
                <a:off x="506959" y="1933319"/>
                <a:ext cx="790059" cy="673728"/>
              </a:xfrm>
              <a:custGeom>
                <a:avLst/>
                <a:gdLst>
                  <a:gd name="T0" fmla="*/ 313 w 333"/>
                  <a:gd name="T1" fmla="*/ 284 h 284"/>
                  <a:gd name="T2" fmla="*/ 333 w 333"/>
                  <a:gd name="T3" fmla="*/ 258 h 284"/>
                  <a:gd name="T4" fmla="*/ 148 w 333"/>
                  <a:gd name="T5" fmla="*/ 123 h 284"/>
                  <a:gd name="T6" fmla="*/ 23 w 333"/>
                  <a:gd name="T7" fmla="*/ 0 h 284"/>
                  <a:gd name="T8" fmla="*/ 0 w 333"/>
                  <a:gd name="T9" fmla="*/ 18 h 284"/>
                  <a:gd name="T10" fmla="*/ 146 w 333"/>
                  <a:gd name="T11" fmla="*/ 167 h 284"/>
                  <a:gd name="T12" fmla="*/ 313 w 333"/>
                  <a:gd name="T13" fmla="*/ 284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3" h="284">
                    <a:moveTo>
                      <a:pt x="313" y="284"/>
                    </a:moveTo>
                    <a:cubicBezTo>
                      <a:pt x="333" y="258"/>
                      <a:pt x="333" y="258"/>
                      <a:pt x="333" y="258"/>
                    </a:cubicBezTo>
                    <a:cubicBezTo>
                      <a:pt x="333" y="258"/>
                      <a:pt x="230" y="195"/>
                      <a:pt x="148" y="123"/>
                    </a:cubicBezTo>
                    <a:cubicBezTo>
                      <a:pt x="91" y="72"/>
                      <a:pt x="23" y="0"/>
                      <a:pt x="23" y="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8"/>
                      <a:pt x="56" y="90"/>
                      <a:pt x="146" y="167"/>
                    </a:cubicBezTo>
                    <a:cubicBezTo>
                      <a:pt x="213" y="223"/>
                      <a:pt x="313" y="284"/>
                      <a:pt x="313" y="28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Freeform 138"/>
              <p:cNvSpPr>
                <a:spLocks/>
              </p:cNvSpPr>
              <p:nvPr/>
            </p:nvSpPr>
            <p:spPr bwMode="auto">
              <a:xfrm>
                <a:off x="519086" y="1764887"/>
                <a:ext cx="777932" cy="842160"/>
              </a:xfrm>
              <a:custGeom>
                <a:avLst/>
                <a:gdLst>
                  <a:gd name="T0" fmla="*/ 308 w 328"/>
                  <a:gd name="T1" fmla="*/ 355 h 355"/>
                  <a:gd name="T2" fmla="*/ 328 w 328"/>
                  <a:gd name="T3" fmla="*/ 329 h 355"/>
                  <a:gd name="T4" fmla="*/ 165 w 328"/>
                  <a:gd name="T5" fmla="*/ 164 h 355"/>
                  <a:gd name="T6" fmla="*/ 36 w 328"/>
                  <a:gd name="T7" fmla="*/ 0 h 355"/>
                  <a:gd name="T8" fmla="*/ 0 w 328"/>
                  <a:gd name="T9" fmla="*/ 28 h 355"/>
                  <a:gd name="T10" fmla="*/ 150 w 328"/>
                  <a:gd name="T11" fmla="*/ 210 h 355"/>
                  <a:gd name="T12" fmla="*/ 308 w 328"/>
                  <a:gd name="T13" fmla="*/ 355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8" h="355">
                    <a:moveTo>
                      <a:pt x="308" y="355"/>
                    </a:moveTo>
                    <a:cubicBezTo>
                      <a:pt x="328" y="329"/>
                      <a:pt x="328" y="329"/>
                      <a:pt x="328" y="329"/>
                    </a:cubicBezTo>
                    <a:cubicBezTo>
                      <a:pt x="328" y="329"/>
                      <a:pt x="257" y="264"/>
                      <a:pt x="165" y="164"/>
                    </a:cubicBezTo>
                    <a:cubicBezTo>
                      <a:pt x="103" y="97"/>
                      <a:pt x="36" y="0"/>
                      <a:pt x="36" y="0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69" y="124"/>
                      <a:pt x="150" y="210"/>
                    </a:cubicBezTo>
                    <a:cubicBezTo>
                      <a:pt x="218" y="282"/>
                      <a:pt x="308" y="355"/>
                      <a:pt x="308" y="35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Freeform 139"/>
              <p:cNvSpPr>
                <a:spLocks/>
              </p:cNvSpPr>
              <p:nvPr/>
            </p:nvSpPr>
            <p:spPr bwMode="auto">
              <a:xfrm>
                <a:off x="519086" y="1764887"/>
                <a:ext cx="884830" cy="813864"/>
              </a:xfrm>
              <a:custGeom>
                <a:avLst/>
                <a:gdLst>
                  <a:gd name="T0" fmla="*/ 356 w 373"/>
                  <a:gd name="T1" fmla="*/ 343 h 343"/>
                  <a:gd name="T2" fmla="*/ 373 w 373"/>
                  <a:gd name="T3" fmla="*/ 314 h 343"/>
                  <a:gd name="T4" fmla="*/ 176 w 373"/>
                  <a:gd name="T5" fmla="*/ 153 h 343"/>
                  <a:gd name="T6" fmla="*/ 36 w 373"/>
                  <a:gd name="T7" fmla="*/ 0 h 343"/>
                  <a:gd name="T8" fmla="*/ 0 w 373"/>
                  <a:gd name="T9" fmla="*/ 28 h 343"/>
                  <a:gd name="T10" fmla="*/ 156 w 373"/>
                  <a:gd name="T11" fmla="*/ 196 h 343"/>
                  <a:gd name="T12" fmla="*/ 356 w 373"/>
                  <a:gd name="T13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3" h="343">
                    <a:moveTo>
                      <a:pt x="356" y="343"/>
                    </a:moveTo>
                    <a:cubicBezTo>
                      <a:pt x="373" y="314"/>
                      <a:pt x="373" y="314"/>
                      <a:pt x="373" y="314"/>
                    </a:cubicBezTo>
                    <a:cubicBezTo>
                      <a:pt x="373" y="314"/>
                      <a:pt x="276" y="254"/>
                      <a:pt x="176" y="153"/>
                    </a:cubicBezTo>
                    <a:cubicBezTo>
                      <a:pt x="112" y="89"/>
                      <a:pt x="36" y="0"/>
                      <a:pt x="36" y="0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74" y="112"/>
                      <a:pt x="156" y="196"/>
                    </a:cubicBezTo>
                    <a:cubicBezTo>
                      <a:pt x="248" y="290"/>
                      <a:pt x="356" y="343"/>
                      <a:pt x="356" y="34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140"/>
              <p:cNvSpPr>
                <a:spLocks/>
              </p:cNvSpPr>
              <p:nvPr/>
            </p:nvSpPr>
            <p:spPr bwMode="auto">
              <a:xfrm>
                <a:off x="561756" y="1649005"/>
                <a:ext cx="842160" cy="929745"/>
              </a:xfrm>
              <a:custGeom>
                <a:avLst/>
                <a:gdLst>
                  <a:gd name="T0" fmla="*/ 338 w 355"/>
                  <a:gd name="T1" fmla="*/ 392 h 392"/>
                  <a:gd name="T2" fmla="*/ 355 w 355"/>
                  <a:gd name="T3" fmla="*/ 363 h 392"/>
                  <a:gd name="T4" fmla="*/ 164 w 355"/>
                  <a:gd name="T5" fmla="*/ 181 h 392"/>
                  <a:gd name="T6" fmla="*/ 26 w 355"/>
                  <a:gd name="T7" fmla="*/ 0 h 392"/>
                  <a:gd name="T8" fmla="*/ 0 w 355"/>
                  <a:gd name="T9" fmla="*/ 20 h 392"/>
                  <a:gd name="T10" fmla="*/ 146 w 355"/>
                  <a:gd name="T11" fmla="*/ 215 h 392"/>
                  <a:gd name="T12" fmla="*/ 338 w 355"/>
                  <a:gd name="T13" fmla="*/ 392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5" h="392">
                    <a:moveTo>
                      <a:pt x="338" y="392"/>
                    </a:moveTo>
                    <a:cubicBezTo>
                      <a:pt x="355" y="363"/>
                      <a:pt x="355" y="363"/>
                      <a:pt x="355" y="363"/>
                    </a:cubicBezTo>
                    <a:cubicBezTo>
                      <a:pt x="355" y="363"/>
                      <a:pt x="262" y="285"/>
                      <a:pt x="164" y="181"/>
                    </a:cubicBezTo>
                    <a:cubicBezTo>
                      <a:pt x="98" y="110"/>
                      <a:pt x="26" y="0"/>
                      <a:pt x="26" y="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68" y="126"/>
                      <a:pt x="146" y="215"/>
                    </a:cubicBezTo>
                    <a:cubicBezTo>
                      <a:pt x="236" y="317"/>
                      <a:pt x="338" y="392"/>
                      <a:pt x="338" y="39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141"/>
              <p:cNvSpPr>
                <a:spLocks/>
              </p:cNvSpPr>
              <p:nvPr/>
            </p:nvSpPr>
            <p:spPr bwMode="auto">
              <a:xfrm>
                <a:off x="561756" y="1649005"/>
                <a:ext cx="996220" cy="846652"/>
              </a:xfrm>
              <a:custGeom>
                <a:avLst/>
                <a:gdLst>
                  <a:gd name="T0" fmla="*/ 404 w 420"/>
                  <a:gd name="T1" fmla="*/ 357 h 357"/>
                  <a:gd name="T2" fmla="*/ 420 w 420"/>
                  <a:gd name="T3" fmla="*/ 328 h 357"/>
                  <a:gd name="T4" fmla="*/ 190 w 420"/>
                  <a:gd name="T5" fmla="*/ 164 h 357"/>
                  <a:gd name="T6" fmla="*/ 26 w 420"/>
                  <a:gd name="T7" fmla="*/ 0 h 357"/>
                  <a:gd name="T8" fmla="*/ 0 w 420"/>
                  <a:gd name="T9" fmla="*/ 20 h 357"/>
                  <a:gd name="T10" fmla="*/ 176 w 420"/>
                  <a:gd name="T11" fmla="*/ 207 h 357"/>
                  <a:gd name="T12" fmla="*/ 404 w 420"/>
                  <a:gd name="T13" fmla="*/ 357 h 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357">
                    <a:moveTo>
                      <a:pt x="404" y="357"/>
                    </a:moveTo>
                    <a:cubicBezTo>
                      <a:pt x="420" y="328"/>
                      <a:pt x="420" y="328"/>
                      <a:pt x="420" y="328"/>
                    </a:cubicBezTo>
                    <a:cubicBezTo>
                      <a:pt x="420" y="328"/>
                      <a:pt x="296" y="259"/>
                      <a:pt x="190" y="164"/>
                    </a:cubicBezTo>
                    <a:cubicBezTo>
                      <a:pt x="114" y="95"/>
                      <a:pt x="26" y="0"/>
                      <a:pt x="26" y="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83" y="120"/>
                      <a:pt x="176" y="207"/>
                    </a:cubicBezTo>
                    <a:cubicBezTo>
                      <a:pt x="276" y="300"/>
                      <a:pt x="404" y="357"/>
                      <a:pt x="404" y="35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Freeform 142"/>
              <p:cNvSpPr>
                <a:spLocks/>
              </p:cNvSpPr>
              <p:nvPr/>
            </p:nvSpPr>
            <p:spPr bwMode="auto">
              <a:xfrm>
                <a:off x="623289" y="1570404"/>
                <a:ext cx="934686" cy="925253"/>
              </a:xfrm>
              <a:custGeom>
                <a:avLst/>
                <a:gdLst>
                  <a:gd name="T0" fmla="*/ 378 w 394"/>
                  <a:gd name="T1" fmla="*/ 390 h 390"/>
                  <a:gd name="T2" fmla="*/ 394 w 394"/>
                  <a:gd name="T3" fmla="*/ 361 h 390"/>
                  <a:gd name="T4" fmla="*/ 185 w 394"/>
                  <a:gd name="T5" fmla="*/ 183 h 390"/>
                  <a:gd name="T6" fmla="*/ 20 w 394"/>
                  <a:gd name="T7" fmla="*/ 0 h 390"/>
                  <a:gd name="T8" fmla="*/ 0 w 394"/>
                  <a:gd name="T9" fmla="*/ 16 h 390"/>
                  <a:gd name="T10" fmla="*/ 157 w 394"/>
                  <a:gd name="T11" fmla="*/ 221 h 390"/>
                  <a:gd name="T12" fmla="*/ 378 w 394"/>
                  <a:gd name="T13" fmla="*/ 39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4" h="390">
                    <a:moveTo>
                      <a:pt x="378" y="390"/>
                    </a:moveTo>
                    <a:cubicBezTo>
                      <a:pt x="394" y="361"/>
                      <a:pt x="394" y="361"/>
                      <a:pt x="394" y="361"/>
                    </a:cubicBezTo>
                    <a:cubicBezTo>
                      <a:pt x="394" y="361"/>
                      <a:pt x="287" y="280"/>
                      <a:pt x="185" y="183"/>
                    </a:cubicBezTo>
                    <a:cubicBezTo>
                      <a:pt x="98" y="100"/>
                      <a:pt x="20" y="0"/>
                      <a:pt x="20" y="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66" y="132"/>
                      <a:pt x="157" y="221"/>
                    </a:cubicBezTo>
                    <a:cubicBezTo>
                      <a:pt x="256" y="318"/>
                      <a:pt x="378" y="390"/>
                      <a:pt x="378" y="39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143"/>
              <p:cNvSpPr>
                <a:spLocks/>
              </p:cNvSpPr>
              <p:nvPr/>
            </p:nvSpPr>
            <p:spPr bwMode="auto">
              <a:xfrm>
                <a:off x="623289" y="1570404"/>
                <a:ext cx="910881" cy="868211"/>
              </a:xfrm>
              <a:custGeom>
                <a:avLst/>
                <a:gdLst>
                  <a:gd name="T0" fmla="*/ 371 w 384"/>
                  <a:gd name="T1" fmla="*/ 366 h 366"/>
                  <a:gd name="T2" fmla="*/ 384 w 384"/>
                  <a:gd name="T3" fmla="*/ 344 h 366"/>
                  <a:gd name="T4" fmla="*/ 185 w 384"/>
                  <a:gd name="T5" fmla="*/ 183 h 366"/>
                  <a:gd name="T6" fmla="*/ 20 w 384"/>
                  <a:gd name="T7" fmla="*/ 0 h 366"/>
                  <a:gd name="T8" fmla="*/ 0 w 384"/>
                  <a:gd name="T9" fmla="*/ 16 h 366"/>
                  <a:gd name="T10" fmla="*/ 173 w 384"/>
                  <a:gd name="T11" fmla="*/ 211 h 366"/>
                  <a:gd name="T12" fmla="*/ 371 w 384"/>
                  <a:gd name="T13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4" h="366">
                    <a:moveTo>
                      <a:pt x="371" y="366"/>
                    </a:moveTo>
                    <a:cubicBezTo>
                      <a:pt x="384" y="344"/>
                      <a:pt x="384" y="344"/>
                      <a:pt x="384" y="344"/>
                    </a:cubicBezTo>
                    <a:cubicBezTo>
                      <a:pt x="384" y="344"/>
                      <a:pt x="287" y="280"/>
                      <a:pt x="185" y="183"/>
                    </a:cubicBezTo>
                    <a:cubicBezTo>
                      <a:pt x="98" y="100"/>
                      <a:pt x="20" y="0"/>
                      <a:pt x="20" y="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82" y="122"/>
                      <a:pt x="173" y="211"/>
                    </a:cubicBezTo>
                    <a:cubicBezTo>
                      <a:pt x="272" y="308"/>
                      <a:pt x="371" y="366"/>
                      <a:pt x="371" y="36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Freeform 144"/>
              <p:cNvSpPr>
                <a:spLocks/>
              </p:cNvSpPr>
              <p:nvPr/>
            </p:nvSpPr>
            <p:spPr bwMode="auto">
              <a:xfrm>
                <a:off x="704137" y="1529980"/>
                <a:ext cx="830033" cy="908635"/>
              </a:xfrm>
              <a:custGeom>
                <a:avLst/>
                <a:gdLst>
                  <a:gd name="T0" fmla="*/ 337 w 350"/>
                  <a:gd name="T1" fmla="*/ 383 h 383"/>
                  <a:gd name="T2" fmla="*/ 350 w 350"/>
                  <a:gd name="T3" fmla="*/ 361 h 383"/>
                  <a:gd name="T4" fmla="*/ 160 w 350"/>
                  <a:gd name="T5" fmla="*/ 180 h 383"/>
                  <a:gd name="T6" fmla="*/ 21 w 350"/>
                  <a:gd name="T7" fmla="*/ 0 h 383"/>
                  <a:gd name="T8" fmla="*/ 0 w 350"/>
                  <a:gd name="T9" fmla="*/ 17 h 383"/>
                  <a:gd name="T10" fmla="*/ 157 w 350"/>
                  <a:gd name="T11" fmla="*/ 222 h 383"/>
                  <a:gd name="T12" fmla="*/ 337 w 350"/>
                  <a:gd name="T13" fmla="*/ 383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0" h="383">
                    <a:moveTo>
                      <a:pt x="337" y="383"/>
                    </a:moveTo>
                    <a:cubicBezTo>
                      <a:pt x="350" y="361"/>
                      <a:pt x="350" y="361"/>
                      <a:pt x="350" y="361"/>
                    </a:cubicBezTo>
                    <a:cubicBezTo>
                      <a:pt x="350" y="361"/>
                      <a:pt x="258" y="280"/>
                      <a:pt x="160" y="180"/>
                    </a:cubicBezTo>
                    <a:cubicBezTo>
                      <a:pt x="75" y="95"/>
                      <a:pt x="21" y="0"/>
                      <a:pt x="21" y="0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7"/>
                      <a:pt x="67" y="133"/>
                      <a:pt x="157" y="222"/>
                    </a:cubicBezTo>
                    <a:cubicBezTo>
                      <a:pt x="256" y="320"/>
                      <a:pt x="337" y="383"/>
                      <a:pt x="337" y="38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Freeform 145"/>
              <p:cNvSpPr>
                <a:spLocks/>
              </p:cNvSpPr>
              <p:nvPr/>
            </p:nvSpPr>
            <p:spPr bwMode="auto">
              <a:xfrm>
                <a:off x="704137" y="1529980"/>
                <a:ext cx="936931" cy="842160"/>
              </a:xfrm>
              <a:custGeom>
                <a:avLst/>
                <a:gdLst>
                  <a:gd name="T0" fmla="*/ 377 w 395"/>
                  <a:gd name="T1" fmla="*/ 355 h 355"/>
                  <a:gd name="T2" fmla="*/ 395 w 395"/>
                  <a:gd name="T3" fmla="*/ 325 h 355"/>
                  <a:gd name="T4" fmla="*/ 190 w 395"/>
                  <a:gd name="T5" fmla="*/ 163 h 355"/>
                  <a:gd name="T6" fmla="*/ 21 w 395"/>
                  <a:gd name="T7" fmla="*/ 0 h 355"/>
                  <a:gd name="T8" fmla="*/ 0 w 395"/>
                  <a:gd name="T9" fmla="*/ 17 h 355"/>
                  <a:gd name="T10" fmla="*/ 180 w 395"/>
                  <a:gd name="T11" fmla="*/ 203 h 355"/>
                  <a:gd name="T12" fmla="*/ 377 w 395"/>
                  <a:gd name="T13" fmla="*/ 355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5" h="355">
                    <a:moveTo>
                      <a:pt x="377" y="355"/>
                    </a:moveTo>
                    <a:cubicBezTo>
                      <a:pt x="395" y="325"/>
                      <a:pt x="395" y="325"/>
                      <a:pt x="395" y="325"/>
                    </a:cubicBezTo>
                    <a:cubicBezTo>
                      <a:pt x="395" y="325"/>
                      <a:pt x="295" y="256"/>
                      <a:pt x="190" y="163"/>
                    </a:cubicBezTo>
                    <a:cubicBezTo>
                      <a:pt x="93" y="77"/>
                      <a:pt x="21" y="0"/>
                      <a:pt x="21" y="0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7"/>
                      <a:pt x="86" y="116"/>
                      <a:pt x="180" y="203"/>
                    </a:cubicBezTo>
                    <a:cubicBezTo>
                      <a:pt x="281" y="298"/>
                      <a:pt x="377" y="355"/>
                      <a:pt x="377" y="35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Freeform 146"/>
              <p:cNvSpPr>
                <a:spLocks/>
              </p:cNvSpPr>
              <p:nvPr/>
            </p:nvSpPr>
            <p:spPr bwMode="auto">
              <a:xfrm>
                <a:off x="723001" y="1463955"/>
                <a:ext cx="918067" cy="908185"/>
              </a:xfrm>
              <a:custGeom>
                <a:avLst/>
                <a:gdLst>
                  <a:gd name="T0" fmla="*/ 369 w 387"/>
                  <a:gd name="T1" fmla="*/ 383 h 383"/>
                  <a:gd name="T2" fmla="*/ 387 w 387"/>
                  <a:gd name="T3" fmla="*/ 353 h 383"/>
                  <a:gd name="T4" fmla="*/ 192 w 387"/>
                  <a:gd name="T5" fmla="*/ 188 h 383"/>
                  <a:gd name="T6" fmla="*/ 30 w 387"/>
                  <a:gd name="T7" fmla="*/ 0 h 383"/>
                  <a:gd name="T8" fmla="*/ 0 w 387"/>
                  <a:gd name="T9" fmla="*/ 25 h 383"/>
                  <a:gd name="T10" fmla="*/ 167 w 387"/>
                  <a:gd name="T11" fmla="*/ 214 h 383"/>
                  <a:gd name="T12" fmla="*/ 369 w 387"/>
                  <a:gd name="T13" fmla="*/ 383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7" h="383">
                    <a:moveTo>
                      <a:pt x="369" y="383"/>
                    </a:moveTo>
                    <a:cubicBezTo>
                      <a:pt x="387" y="353"/>
                      <a:pt x="387" y="353"/>
                      <a:pt x="387" y="353"/>
                    </a:cubicBezTo>
                    <a:cubicBezTo>
                      <a:pt x="387" y="353"/>
                      <a:pt x="295" y="285"/>
                      <a:pt x="192" y="188"/>
                    </a:cubicBezTo>
                    <a:cubicBezTo>
                      <a:pt x="105" y="105"/>
                      <a:pt x="30" y="0"/>
                      <a:pt x="30" y="0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77" y="124"/>
                      <a:pt x="167" y="214"/>
                    </a:cubicBezTo>
                    <a:cubicBezTo>
                      <a:pt x="266" y="313"/>
                      <a:pt x="369" y="383"/>
                      <a:pt x="369" y="38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Freeform 147"/>
              <p:cNvSpPr>
                <a:spLocks/>
              </p:cNvSpPr>
              <p:nvPr/>
            </p:nvSpPr>
            <p:spPr bwMode="auto">
              <a:xfrm>
                <a:off x="860442" y="1416345"/>
                <a:ext cx="740203" cy="837219"/>
              </a:xfrm>
              <a:custGeom>
                <a:avLst/>
                <a:gdLst>
                  <a:gd name="T0" fmla="*/ 282 w 312"/>
                  <a:gd name="T1" fmla="*/ 353 h 353"/>
                  <a:gd name="T2" fmla="*/ 312 w 312"/>
                  <a:gd name="T3" fmla="*/ 318 h 353"/>
                  <a:gd name="T4" fmla="*/ 150 w 312"/>
                  <a:gd name="T5" fmla="*/ 177 h 353"/>
                  <a:gd name="T6" fmla="*/ 30 w 312"/>
                  <a:gd name="T7" fmla="*/ 0 h 353"/>
                  <a:gd name="T8" fmla="*/ 0 w 312"/>
                  <a:gd name="T9" fmla="*/ 24 h 353"/>
                  <a:gd name="T10" fmla="*/ 123 w 312"/>
                  <a:gd name="T11" fmla="*/ 204 h 353"/>
                  <a:gd name="T12" fmla="*/ 282 w 312"/>
                  <a:gd name="T13" fmla="*/ 353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2" h="353">
                    <a:moveTo>
                      <a:pt x="282" y="353"/>
                    </a:moveTo>
                    <a:cubicBezTo>
                      <a:pt x="312" y="318"/>
                      <a:pt x="312" y="318"/>
                      <a:pt x="312" y="318"/>
                    </a:cubicBezTo>
                    <a:cubicBezTo>
                      <a:pt x="312" y="318"/>
                      <a:pt x="232" y="255"/>
                      <a:pt x="150" y="177"/>
                    </a:cubicBezTo>
                    <a:cubicBezTo>
                      <a:pt x="92" y="121"/>
                      <a:pt x="30" y="0"/>
                      <a:pt x="30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37" y="109"/>
                      <a:pt x="123" y="204"/>
                    </a:cubicBezTo>
                    <a:cubicBezTo>
                      <a:pt x="217" y="307"/>
                      <a:pt x="282" y="353"/>
                      <a:pt x="282" y="35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Freeform 148"/>
              <p:cNvSpPr>
                <a:spLocks/>
              </p:cNvSpPr>
              <p:nvPr/>
            </p:nvSpPr>
            <p:spPr bwMode="auto">
              <a:xfrm>
                <a:off x="860442" y="1416345"/>
                <a:ext cx="877643" cy="782872"/>
              </a:xfrm>
              <a:custGeom>
                <a:avLst/>
                <a:gdLst>
                  <a:gd name="T0" fmla="*/ 347 w 370"/>
                  <a:gd name="T1" fmla="*/ 330 h 330"/>
                  <a:gd name="T2" fmla="*/ 370 w 370"/>
                  <a:gd name="T3" fmla="*/ 300 h 330"/>
                  <a:gd name="T4" fmla="*/ 181 w 370"/>
                  <a:gd name="T5" fmla="*/ 147 h 330"/>
                  <a:gd name="T6" fmla="*/ 30 w 370"/>
                  <a:gd name="T7" fmla="*/ 0 h 330"/>
                  <a:gd name="T8" fmla="*/ 0 w 370"/>
                  <a:gd name="T9" fmla="*/ 24 h 330"/>
                  <a:gd name="T10" fmla="*/ 155 w 370"/>
                  <a:gd name="T11" fmla="*/ 177 h 330"/>
                  <a:gd name="T12" fmla="*/ 347 w 370"/>
                  <a:gd name="T13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0" h="330">
                    <a:moveTo>
                      <a:pt x="347" y="330"/>
                    </a:moveTo>
                    <a:cubicBezTo>
                      <a:pt x="370" y="300"/>
                      <a:pt x="370" y="300"/>
                      <a:pt x="370" y="300"/>
                    </a:cubicBezTo>
                    <a:cubicBezTo>
                      <a:pt x="370" y="300"/>
                      <a:pt x="284" y="238"/>
                      <a:pt x="181" y="147"/>
                    </a:cubicBezTo>
                    <a:cubicBezTo>
                      <a:pt x="76" y="54"/>
                      <a:pt x="30" y="0"/>
                      <a:pt x="30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55" y="86"/>
                      <a:pt x="155" y="177"/>
                    </a:cubicBezTo>
                    <a:cubicBezTo>
                      <a:pt x="255" y="268"/>
                      <a:pt x="347" y="330"/>
                      <a:pt x="347" y="33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Freeform 149"/>
              <p:cNvSpPr>
                <a:spLocks/>
              </p:cNvSpPr>
              <p:nvPr/>
            </p:nvSpPr>
            <p:spPr bwMode="auto">
              <a:xfrm>
                <a:off x="957908" y="1375921"/>
                <a:ext cx="780177" cy="823296"/>
              </a:xfrm>
              <a:custGeom>
                <a:avLst/>
                <a:gdLst>
                  <a:gd name="T0" fmla="*/ 306 w 329"/>
                  <a:gd name="T1" fmla="*/ 347 h 347"/>
                  <a:gd name="T2" fmla="*/ 329 w 329"/>
                  <a:gd name="T3" fmla="*/ 317 h 347"/>
                  <a:gd name="T4" fmla="*/ 144 w 329"/>
                  <a:gd name="T5" fmla="*/ 155 h 347"/>
                  <a:gd name="T6" fmla="*/ 31 w 329"/>
                  <a:gd name="T7" fmla="*/ 0 h 347"/>
                  <a:gd name="T8" fmla="*/ 0 w 329"/>
                  <a:gd name="T9" fmla="*/ 29 h 347"/>
                  <a:gd name="T10" fmla="*/ 129 w 329"/>
                  <a:gd name="T11" fmla="*/ 196 h 347"/>
                  <a:gd name="T12" fmla="*/ 306 w 329"/>
                  <a:gd name="T13" fmla="*/ 347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9" h="347">
                    <a:moveTo>
                      <a:pt x="306" y="347"/>
                    </a:moveTo>
                    <a:cubicBezTo>
                      <a:pt x="329" y="317"/>
                      <a:pt x="329" y="317"/>
                      <a:pt x="329" y="317"/>
                    </a:cubicBezTo>
                    <a:cubicBezTo>
                      <a:pt x="329" y="317"/>
                      <a:pt x="237" y="256"/>
                      <a:pt x="144" y="155"/>
                    </a:cubicBezTo>
                    <a:cubicBezTo>
                      <a:pt x="60" y="65"/>
                      <a:pt x="31" y="0"/>
                      <a:pt x="31" y="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47" y="111"/>
                      <a:pt x="129" y="196"/>
                    </a:cubicBezTo>
                    <a:cubicBezTo>
                      <a:pt x="223" y="294"/>
                      <a:pt x="306" y="347"/>
                      <a:pt x="306" y="34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Freeform 150"/>
              <p:cNvSpPr>
                <a:spLocks/>
              </p:cNvSpPr>
              <p:nvPr/>
            </p:nvSpPr>
            <p:spPr bwMode="auto">
              <a:xfrm>
                <a:off x="957908" y="1375921"/>
                <a:ext cx="775686" cy="680914"/>
              </a:xfrm>
              <a:custGeom>
                <a:avLst/>
                <a:gdLst>
                  <a:gd name="T0" fmla="*/ 309 w 327"/>
                  <a:gd name="T1" fmla="*/ 287 h 287"/>
                  <a:gd name="T2" fmla="*/ 327 w 327"/>
                  <a:gd name="T3" fmla="*/ 261 h 287"/>
                  <a:gd name="T4" fmla="*/ 162 w 327"/>
                  <a:gd name="T5" fmla="*/ 134 h 287"/>
                  <a:gd name="T6" fmla="*/ 31 w 327"/>
                  <a:gd name="T7" fmla="*/ 0 h 287"/>
                  <a:gd name="T8" fmla="*/ 0 w 327"/>
                  <a:gd name="T9" fmla="*/ 29 h 287"/>
                  <a:gd name="T10" fmla="*/ 152 w 327"/>
                  <a:gd name="T11" fmla="*/ 170 h 287"/>
                  <a:gd name="T12" fmla="*/ 309 w 327"/>
                  <a:gd name="T13" fmla="*/ 287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7" h="287">
                    <a:moveTo>
                      <a:pt x="309" y="287"/>
                    </a:moveTo>
                    <a:cubicBezTo>
                      <a:pt x="327" y="261"/>
                      <a:pt x="327" y="261"/>
                      <a:pt x="327" y="261"/>
                    </a:cubicBezTo>
                    <a:cubicBezTo>
                      <a:pt x="327" y="261"/>
                      <a:pt x="248" y="211"/>
                      <a:pt x="162" y="134"/>
                    </a:cubicBezTo>
                    <a:cubicBezTo>
                      <a:pt x="81" y="62"/>
                      <a:pt x="31" y="0"/>
                      <a:pt x="31" y="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58" y="90"/>
                      <a:pt x="152" y="170"/>
                    </a:cubicBezTo>
                    <a:cubicBezTo>
                      <a:pt x="238" y="243"/>
                      <a:pt x="309" y="287"/>
                      <a:pt x="309" y="28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Freeform 151"/>
              <p:cNvSpPr>
                <a:spLocks/>
              </p:cNvSpPr>
              <p:nvPr/>
            </p:nvSpPr>
            <p:spPr bwMode="auto">
              <a:xfrm>
                <a:off x="1041001" y="1380862"/>
                <a:ext cx="692593" cy="675974"/>
              </a:xfrm>
              <a:custGeom>
                <a:avLst/>
                <a:gdLst>
                  <a:gd name="T0" fmla="*/ 274 w 292"/>
                  <a:gd name="T1" fmla="*/ 285 h 285"/>
                  <a:gd name="T2" fmla="*/ 292 w 292"/>
                  <a:gd name="T3" fmla="*/ 259 h 285"/>
                  <a:gd name="T4" fmla="*/ 146 w 292"/>
                  <a:gd name="T5" fmla="*/ 135 h 285"/>
                  <a:gd name="T6" fmla="*/ 25 w 292"/>
                  <a:gd name="T7" fmla="*/ 0 h 285"/>
                  <a:gd name="T8" fmla="*/ 0 w 292"/>
                  <a:gd name="T9" fmla="*/ 24 h 285"/>
                  <a:gd name="T10" fmla="*/ 121 w 292"/>
                  <a:gd name="T11" fmla="*/ 155 h 285"/>
                  <a:gd name="T12" fmla="*/ 274 w 292"/>
                  <a:gd name="T13" fmla="*/ 28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2" h="285">
                    <a:moveTo>
                      <a:pt x="274" y="285"/>
                    </a:moveTo>
                    <a:cubicBezTo>
                      <a:pt x="292" y="259"/>
                      <a:pt x="292" y="259"/>
                      <a:pt x="292" y="259"/>
                    </a:cubicBezTo>
                    <a:cubicBezTo>
                      <a:pt x="292" y="259"/>
                      <a:pt x="229" y="215"/>
                      <a:pt x="146" y="135"/>
                    </a:cubicBezTo>
                    <a:cubicBezTo>
                      <a:pt x="70" y="62"/>
                      <a:pt x="25" y="0"/>
                      <a:pt x="25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35" y="67"/>
                      <a:pt x="121" y="155"/>
                    </a:cubicBezTo>
                    <a:cubicBezTo>
                      <a:pt x="199" y="234"/>
                      <a:pt x="274" y="285"/>
                      <a:pt x="274" y="28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152"/>
              <p:cNvSpPr>
                <a:spLocks/>
              </p:cNvSpPr>
              <p:nvPr/>
            </p:nvSpPr>
            <p:spPr bwMode="auto">
              <a:xfrm>
                <a:off x="1041001" y="1380862"/>
                <a:ext cx="699779" cy="571771"/>
              </a:xfrm>
              <a:custGeom>
                <a:avLst/>
                <a:gdLst>
                  <a:gd name="T0" fmla="*/ 282 w 295"/>
                  <a:gd name="T1" fmla="*/ 241 h 241"/>
                  <a:gd name="T2" fmla="*/ 295 w 295"/>
                  <a:gd name="T3" fmla="*/ 219 h 241"/>
                  <a:gd name="T4" fmla="*/ 164 w 295"/>
                  <a:gd name="T5" fmla="*/ 128 h 241"/>
                  <a:gd name="T6" fmla="*/ 25 w 295"/>
                  <a:gd name="T7" fmla="*/ 0 h 241"/>
                  <a:gd name="T8" fmla="*/ 0 w 295"/>
                  <a:gd name="T9" fmla="*/ 24 h 241"/>
                  <a:gd name="T10" fmla="*/ 142 w 295"/>
                  <a:gd name="T11" fmla="*/ 148 h 241"/>
                  <a:gd name="T12" fmla="*/ 282 w 295"/>
                  <a:gd name="T13" fmla="*/ 241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5" h="241">
                    <a:moveTo>
                      <a:pt x="282" y="241"/>
                    </a:moveTo>
                    <a:cubicBezTo>
                      <a:pt x="295" y="219"/>
                      <a:pt x="295" y="219"/>
                      <a:pt x="295" y="219"/>
                    </a:cubicBezTo>
                    <a:cubicBezTo>
                      <a:pt x="295" y="219"/>
                      <a:pt x="242" y="190"/>
                      <a:pt x="164" y="128"/>
                    </a:cubicBezTo>
                    <a:cubicBezTo>
                      <a:pt x="72" y="56"/>
                      <a:pt x="25" y="0"/>
                      <a:pt x="25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44" y="68"/>
                      <a:pt x="142" y="148"/>
                    </a:cubicBezTo>
                    <a:cubicBezTo>
                      <a:pt x="211" y="205"/>
                      <a:pt x="282" y="241"/>
                      <a:pt x="282" y="24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Freeform 153"/>
              <p:cNvSpPr>
                <a:spLocks/>
              </p:cNvSpPr>
              <p:nvPr/>
            </p:nvSpPr>
            <p:spPr bwMode="auto">
              <a:xfrm>
                <a:off x="1206738" y="1392540"/>
                <a:ext cx="534042" cy="560093"/>
              </a:xfrm>
              <a:custGeom>
                <a:avLst/>
                <a:gdLst>
                  <a:gd name="T0" fmla="*/ 212 w 225"/>
                  <a:gd name="T1" fmla="*/ 236 h 236"/>
                  <a:gd name="T2" fmla="*/ 225 w 225"/>
                  <a:gd name="T3" fmla="*/ 214 h 236"/>
                  <a:gd name="T4" fmla="*/ 113 w 225"/>
                  <a:gd name="T5" fmla="*/ 118 h 236"/>
                  <a:gd name="T6" fmla="*/ 25 w 225"/>
                  <a:gd name="T7" fmla="*/ 0 h 236"/>
                  <a:gd name="T8" fmla="*/ 0 w 225"/>
                  <a:gd name="T9" fmla="*/ 24 h 236"/>
                  <a:gd name="T10" fmla="*/ 87 w 225"/>
                  <a:gd name="T11" fmla="*/ 138 h 236"/>
                  <a:gd name="T12" fmla="*/ 212 w 225"/>
                  <a:gd name="T13" fmla="*/ 236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5" h="236">
                    <a:moveTo>
                      <a:pt x="212" y="236"/>
                    </a:moveTo>
                    <a:cubicBezTo>
                      <a:pt x="225" y="214"/>
                      <a:pt x="225" y="214"/>
                      <a:pt x="225" y="214"/>
                    </a:cubicBezTo>
                    <a:cubicBezTo>
                      <a:pt x="225" y="214"/>
                      <a:pt x="184" y="187"/>
                      <a:pt x="113" y="118"/>
                    </a:cubicBezTo>
                    <a:cubicBezTo>
                      <a:pt x="53" y="58"/>
                      <a:pt x="25" y="0"/>
                      <a:pt x="25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26" y="78"/>
                      <a:pt x="87" y="138"/>
                    </a:cubicBezTo>
                    <a:cubicBezTo>
                      <a:pt x="151" y="201"/>
                      <a:pt x="212" y="236"/>
                      <a:pt x="212" y="23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Freeform 154"/>
              <p:cNvSpPr>
                <a:spLocks/>
              </p:cNvSpPr>
              <p:nvPr/>
            </p:nvSpPr>
            <p:spPr bwMode="auto">
              <a:xfrm>
                <a:off x="1206738" y="1392540"/>
                <a:ext cx="465322" cy="419957"/>
              </a:xfrm>
              <a:custGeom>
                <a:avLst/>
                <a:gdLst>
                  <a:gd name="T0" fmla="*/ 180 w 196"/>
                  <a:gd name="T1" fmla="*/ 177 h 177"/>
                  <a:gd name="T2" fmla="*/ 196 w 196"/>
                  <a:gd name="T3" fmla="*/ 153 h 177"/>
                  <a:gd name="T4" fmla="*/ 111 w 196"/>
                  <a:gd name="T5" fmla="*/ 93 h 177"/>
                  <a:gd name="T6" fmla="*/ 25 w 196"/>
                  <a:gd name="T7" fmla="*/ 0 h 177"/>
                  <a:gd name="T8" fmla="*/ 0 w 196"/>
                  <a:gd name="T9" fmla="*/ 24 h 177"/>
                  <a:gd name="T10" fmla="*/ 86 w 196"/>
                  <a:gd name="T11" fmla="*/ 114 h 177"/>
                  <a:gd name="T12" fmla="*/ 180 w 196"/>
                  <a:gd name="T13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6" h="177">
                    <a:moveTo>
                      <a:pt x="180" y="177"/>
                    </a:moveTo>
                    <a:cubicBezTo>
                      <a:pt x="196" y="153"/>
                      <a:pt x="196" y="153"/>
                      <a:pt x="196" y="153"/>
                    </a:cubicBezTo>
                    <a:cubicBezTo>
                      <a:pt x="196" y="153"/>
                      <a:pt x="152" y="129"/>
                      <a:pt x="111" y="93"/>
                    </a:cubicBezTo>
                    <a:cubicBezTo>
                      <a:pt x="47" y="35"/>
                      <a:pt x="25" y="0"/>
                      <a:pt x="25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22" y="56"/>
                      <a:pt x="86" y="114"/>
                    </a:cubicBezTo>
                    <a:cubicBezTo>
                      <a:pt x="129" y="154"/>
                      <a:pt x="180" y="177"/>
                      <a:pt x="180" y="17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Freeform 155"/>
              <p:cNvSpPr>
                <a:spLocks/>
              </p:cNvSpPr>
              <p:nvPr/>
            </p:nvSpPr>
            <p:spPr bwMode="auto">
              <a:xfrm>
                <a:off x="1387297" y="1454073"/>
                <a:ext cx="284762" cy="358423"/>
              </a:xfrm>
              <a:custGeom>
                <a:avLst/>
                <a:gdLst>
                  <a:gd name="T0" fmla="*/ 104 w 120"/>
                  <a:gd name="T1" fmla="*/ 151 h 151"/>
                  <a:gd name="T2" fmla="*/ 120 w 120"/>
                  <a:gd name="T3" fmla="*/ 127 h 151"/>
                  <a:gd name="T4" fmla="*/ 52 w 120"/>
                  <a:gd name="T5" fmla="*/ 58 h 151"/>
                  <a:gd name="T6" fmla="*/ 12 w 120"/>
                  <a:gd name="T7" fmla="*/ 0 h 151"/>
                  <a:gd name="T8" fmla="*/ 0 w 120"/>
                  <a:gd name="T9" fmla="*/ 10 h 151"/>
                  <a:gd name="T10" fmla="*/ 57 w 120"/>
                  <a:gd name="T11" fmla="*/ 101 h 151"/>
                  <a:gd name="T12" fmla="*/ 104 w 120"/>
                  <a:gd name="T13" fmla="*/ 151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0" h="151">
                    <a:moveTo>
                      <a:pt x="104" y="151"/>
                    </a:moveTo>
                    <a:cubicBezTo>
                      <a:pt x="120" y="127"/>
                      <a:pt x="120" y="127"/>
                      <a:pt x="120" y="127"/>
                    </a:cubicBezTo>
                    <a:cubicBezTo>
                      <a:pt x="120" y="127"/>
                      <a:pt x="88" y="103"/>
                      <a:pt x="52" y="58"/>
                    </a:cubicBezTo>
                    <a:cubicBezTo>
                      <a:pt x="33" y="35"/>
                      <a:pt x="12" y="0"/>
                      <a:pt x="12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14" y="48"/>
                      <a:pt x="57" y="101"/>
                    </a:cubicBezTo>
                    <a:cubicBezTo>
                      <a:pt x="89" y="139"/>
                      <a:pt x="104" y="151"/>
                      <a:pt x="104" y="1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Freeform 156"/>
              <p:cNvSpPr>
                <a:spLocks/>
              </p:cNvSpPr>
              <p:nvPr/>
            </p:nvSpPr>
            <p:spPr bwMode="auto">
              <a:xfrm>
                <a:off x="1387297" y="1454073"/>
                <a:ext cx="256017" cy="242093"/>
              </a:xfrm>
              <a:custGeom>
                <a:avLst/>
                <a:gdLst>
                  <a:gd name="T0" fmla="*/ 96 w 108"/>
                  <a:gd name="T1" fmla="*/ 102 h 102"/>
                  <a:gd name="T2" fmla="*/ 108 w 108"/>
                  <a:gd name="T3" fmla="*/ 86 h 102"/>
                  <a:gd name="T4" fmla="*/ 63 w 108"/>
                  <a:gd name="T5" fmla="*/ 47 h 102"/>
                  <a:gd name="T6" fmla="*/ 12 w 108"/>
                  <a:gd name="T7" fmla="*/ 0 h 102"/>
                  <a:gd name="T8" fmla="*/ 0 w 108"/>
                  <a:gd name="T9" fmla="*/ 10 h 102"/>
                  <a:gd name="T10" fmla="*/ 57 w 108"/>
                  <a:gd name="T11" fmla="*/ 70 h 102"/>
                  <a:gd name="T12" fmla="*/ 96 w 108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" h="102">
                    <a:moveTo>
                      <a:pt x="96" y="102"/>
                    </a:moveTo>
                    <a:cubicBezTo>
                      <a:pt x="108" y="86"/>
                      <a:pt x="108" y="86"/>
                      <a:pt x="108" y="86"/>
                    </a:cubicBezTo>
                    <a:cubicBezTo>
                      <a:pt x="108" y="86"/>
                      <a:pt x="93" y="75"/>
                      <a:pt x="63" y="47"/>
                    </a:cubicBezTo>
                    <a:cubicBezTo>
                      <a:pt x="40" y="26"/>
                      <a:pt x="12" y="0"/>
                      <a:pt x="12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21" y="36"/>
                      <a:pt x="57" y="70"/>
                    </a:cubicBezTo>
                    <a:cubicBezTo>
                      <a:pt x="81" y="92"/>
                      <a:pt x="96" y="102"/>
                      <a:pt x="96" y="10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Freeform 157"/>
              <p:cNvSpPr>
                <a:spLocks/>
              </p:cNvSpPr>
              <p:nvPr/>
            </p:nvSpPr>
            <p:spPr bwMode="auto">
              <a:xfrm>
                <a:off x="599484" y="2305666"/>
                <a:ext cx="273085" cy="270839"/>
              </a:xfrm>
              <a:custGeom>
                <a:avLst/>
                <a:gdLst>
                  <a:gd name="T0" fmla="*/ 13 w 115"/>
                  <a:gd name="T1" fmla="*/ 0 h 114"/>
                  <a:gd name="T2" fmla="*/ 0 w 115"/>
                  <a:gd name="T3" fmla="*/ 9 h 114"/>
                  <a:gd name="T4" fmla="*/ 51 w 115"/>
                  <a:gd name="T5" fmla="*/ 66 h 114"/>
                  <a:gd name="T6" fmla="*/ 115 w 115"/>
                  <a:gd name="T7" fmla="*/ 114 h 114"/>
                  <a:gd name="T8" fmla="*/ 14 w 115"/>
                  <a:gd name="T9" fmla="*/ 1 h 114"/>
                  <a:gd name="T10" fmla="*/ 13 w 115"/>
                  <a:gd name="T11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5" h="114">
                    <a:moveTo>
                      <a:pt x="13" y="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35" y="51"/>
                      <a:pt x="51" y="66"/>
                    </a:cubicBezTo>
                    <a:cubicBezTo>
                      <a:pt x="85" y="100"/>
                      <a:pt x="115" y="114"/>
                      <a:pt x="115" y="114"/>
                    </a:cubicBezTo>
                    <a:cubicBezTo>
                      <a:pt x="115" y="114"/>
                      <a:pt x="64" y="67"/>
                      <a:pt x="14" y="1"/>
                    </a:cubicBezTo>
                    <a:cubicBezTo>
                      <a:pt x="14" y="0"/>
                      <a:pt x="13" y="0"/>
                      <a:pt x="13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158"/>
              <p:cNvSpPr>
                <a:spLocks/>
              </p:cNvSpPr>
              <p:nvPr/>
            </p:nvSpPr>
            <p:spPr bwMode="auto">
              <a:xfrm>
                <a:off x="509205" y="2104446"/>
                <a:ext cx="389415" cy="443313"/>
              </a:xfrm>
              <a:custGeom>
                <a:avLst/>
                <a:gdLst>
                  <a:gd name="T0" fmla="*/ 0 w 164"/>
                  <a:gd name="T1" fmla="*/ 0 h 187"/>
                  <a:gd name="T2" fmla="*/ 51 w 164"/>
                  <a:gd name="T3" fmla="*/ 85 h 187"/>
                  <a:gd name="T4" fmla="*/ 57 w 164"/>
                  <a:gd name="T5" fmla="*/ 81 h 187"/>
                  <a:gd name="T6" fmla="*/ 104 w 164"/>
                  <a:gd name="T7" fmla="*/ 137 h 187"/>
                  <a:gd name="T8" fmla="*/ 164 w 164"/>
                  <a:gd name="T9" fmla="*/ 187 h 187"/>
                  <a:gd name="T10" fmla="*/ 164 w 164"/>
                  <a:gd name="T11" fmla="*/ 187 h 187"/>
                  <a:gd name="T12" fmla="*/ 116 w 164"/>
                  <a:gd name="T13" fmla="*/ 132 h 187"/>
                  <a:gd name="T14" fmla="*/ 109 w 164"/>
                  <a:gd name="T15" fmla="*/ 125 h 187"/>
                  <a:gd name="T16" fmla="*/ 0 w 164"/>
                  <a:gd name="T17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4" h="187">
                    <a:moveTo>
                      <a:pt x="0" y="0"/>
                    </a:moveTo>
                    <a:cubicBezTo>
                      <a:pt x="0" y="0"/>
                      <a:pt x="34" y="61"/>
                      <a:pt x="51" y="85"/>
                    </a:cubicBezTo>
                    <a:cubicBezTo>
                      <a:pt x="57" y="81"/>
                      <a:pt x="57" y="81"/>
                      <a:pt x="57" y="81"/>
                    </a:cubicBezTo>
                    <a:cubicBezTo>
                      <a:pt x="57" y="81"/>
                      <a:pt x="81" y="112"/>
                      <a:pt x="104" y="137"/>
                    </a:cubicBezTo>
                    <a:cubicBezTo>
                      <a:pt x="125" y="159"/>
                      <a:pt x="164" y="187"/>
                      <a:pt x="164" y="187"/>
                    </a:cubicBezTo>
                    <a:cubicBezTo>
                      <a:pt x="164" y="187"/>
                      <a:pt x="164" y="187"/>
                      <a:pt x="164" y="187"/>
                    </a:cubicBezTo>
                    <a:cubicBezTo>
                      <a:pt x="164" y="187"/>
                      <a:pt x="142" y="163"/>
                      <a:pt x="116" y="132"/>
                    </a:cubicBezTo>
                    <a:cubicBezTo>
                      <a:pt x="114" y="129"/>
                      <a:pt x="111" y="127"/>
                      <a:pt x="109" y="125"/>
                    </a:cubicBezTo>
                    <a:cubicBezTo>
                      <a:pt x="49" y="66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Freeform 159"/>
              <p:cNvSpPr>
                <a:spLocks/>
              </p:cNvSpPr>
              <p:nvPr/>
            </p:nvSpPr>
            <p:spPr bwMode="auto">
              <a:xfrm>
                <a:off x="630476" y="2296234"/>
                <a:ext cx="268144" cy="280271"/>
              </a:xfrm>
              <a:custGeom>
                <a:avLst/>
                <a:gdLst>
                  <a:gd name="T0" fmla="*/ 6 w 113"/>
                  <a:gd name="T1" fmla="*/ 0 h 118"/>
                  <a:gd name="T2" fmla="*/ 0 w 113"/>
                  <a:gd name="T3" fmla="*/ 4 h 118"/>
                  <a:gd name="T4" fmla="*/ 1 w 113"/>
                  <a:gd name="T5" fmla="*/ 5 h 118"/>
                  <a:gd name="T6" fmla="*/ 102 w 113"/>
                  <a:gd name="T7" fmla="*/ 118 h 118"/>
                  <a:gd name="T8" fmla="*/ 113 w 113"/>
                  <a:gd name="T9" fmla="*/ 106 h 118"/>
                  <a:gd name="T10" fmla="*/ 53 w 113"/>
                  <a:gd name="T11" fmla="*/ 56 h 118"/>
                  <a:gd name="T12" fmla="*/ 6 w 113"/>
                  <a:gd name="T13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3" h="118">
                    <a:moveTo>
                      <a:pt x="6" y="0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1" y="4"/>
                      <a:pt x="1" y="5"/>
                    </a:cubicBezTo>
                    <a:cubicBezTo>
                      <a:pt x="51" y="71"/>
                      <a:pt x="102" y="118"/>
                      <a:pt x="102" y="118"/>
                    </a:cubicBezTo>
                    <a:cubicBezTo>
                      <a:pt x="113" y="106"/>
                      <a:pt x="113" y="106"/>
                      <a:pt x="113" y="106"/>
                    </a:cubicBezTo>
                    <a:cubicBezTo>
                      <a:pt x="113" y="106"/>
                      <a:pt x="74" y="78"/>
                      <a:pt x="53" y="56"/>
                    </a:cubicBezTo>
                    <a:cubicBezTo>
                      <a:pt x="30" y="31"/>
                      <a:pt x="6" y="0"/>
                      <a:pt x="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" name="Freeform 160"/>
              <p:cNvSpPr>
                <a:spLocks/>
              </p:cNvSpPr>
              <p:nvPr/>
            </p:nvSpPr>
            <p:spPr bwMode="auto">
              <a:xfrm>
                <a:off x="556815" y="2071208"/>
                <a:ext cx="531347" cy="569076"/>
              </a:xfrm>
              <a:custGeom>
                <a:avLst/>
                <a:gdLst>
                  <a:gd name="T0" fmla="*/ 0 w 224"/>
                  <a:gd name="T1" fmla="*/ 0 h 240"/>
                  <a:gd name="T2" fmla="*/ 62 w 224"/>
                  <a:gd name="T3" fmla="*/ 101 h 240"/>
                  <a:gd name="T4" fmla="*/ 96 w 224"/>
                  <a:gd name="T5" fmla="*/ 146 h 240"/>
                  <a:gd name="T6" fmla="*/ 224 w 224"/>
                  <a:gd name="T7" fmla="*/ 240 h 240"/>
                  <a:gd name="T8" fmla="*/ 104 w 224"/>
                  <a:gd name="T9" fmla="*/ 120 h 240"/>
                  <a:gd name="T10" fmla="*/ 52 w 224"/>
                  <a:gd name="T11" fmla="*/ 56 h 240"/>
                  <a:gd name="T12" fmla="*/ 0 w 224"/>
                  <a:gd name="T13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4" h="240">
                    <a:moveTo>
                      <a:pt x="0" y="0"/>
                    </a:moveTo>
                    <a:cubicBezTo>
                      <a:pt x="0" y="0"/>
                      <a:pt x="25" y="51"/>
                      <a:pt x="62" y="101"/>
                    </a:cubicBezTo>
                    <a:cubicBezTo>
                      <a:pt x="73" y="117"/>
                      <a:pt x="85" y="132"/>
                      <a:pt x="96" y="146"/>
                    </a:cubicBezTo>
                    <a:cubicBezTo>
                      <a:pt x="163" y="209"/>
                      <a:pt x="224" y="240"/>
                      <a:pt x="224" y="240"/>
                    </a:cubicBezTo>
                    <a:cubicBezTo>
                      <a:pt x="224" y="240"/>
                      <a:pt x="167" y="195"/>
                      <a:pt x="104" y="120"/>
                    </a:cubicBezTo>
                    <a:cubicBezTo>
                      <a:pt x="85" y="97"/>
                      <a:pt x="67" y="75"/>
                      <a:pt x="52" y="56"/>
                    </a:cubicBezTo>
                    <a:cubicBezTo>
                      <a:pt x="23" y="27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161"/>
              <p:cNvSpPr>
                <a:spLocks/>
              </p:cNvSpPr>
              <p:nvPr/>
            </p:nvSpPr>
            <p:spPr bwMode="auto">
              <a:xfrm>
                <a:off x="509205" y="2071208"/>
                <a:ext cx="275330" cy="346296"/>
              </a:xfrm>
              <a:custGeom>
                <a:avLst/>
                <a:gdLst>
                  <a:gd name="T0" fmla="*/ 20 w 116"/>
                  <a:gd name="T1" fmla="*/ 0 h 146"/>
                  <a:gd name="T2" fmla="*/ 0 w 116"/>
                  <a:gd name="T3" fmla="*/ 14 h 146"/>
                  <a:gd name="T4" fmla="*/ 109 w 116"/>
                  <a:gd name="T5" fmla="*/ 139 h 146"/>
                  <a:gd name="T6" fmla="*/ 116 w 116"/>
                  <a:gd name="T7" fmla="*/ 146 h 146"/>
                  <a:gd name="T8" fmla="*/ 82 w 116"/>
                  <a:gd name="T9" fmla="*/ 101 h 146"/>
                  <a:gd name="T10" fmla="*/ 20 w 116"/>
                  <a:gd name="T11" fmla="*/ 0 h 146"/>
                  <a:gd name="T12" fmla="*/ 20 w 116"/>
                  <a:gd name="T13" fmla="*/ 0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6" h="146">
                    <a:moveTo>
                      <a:pt x="20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49" y="80"/>
                      <a:pt x="109" y="139"/>
                    </a:cubicBezTo>
                    <a:cubicBezTo>
                      <a:pt x="111" y="141"/>
                      <a:pt x="114" y="143"/>
                      <a:pt x="116" y="146"/>
                    </a:cubicBezTo>
                    <a:cubicBezTo>
                      <a:pt x="105" y="132"/>
                      <a:pt x="93" y="117"/>
                      <a:pt x="82" y="101"/>
                    </a:cubicBezTo>
                    <a:cubicBezTo>
                      <a:pt x="45" y="51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Freeform 162"/>
              <p:cNvSpPr>
                <a:spLocks/>
              </p:cNvSpPr>
              <p:nvPr/>
            </p:nvSpPr>
            <p:spPr bwMode="auto">
              <a:xfrm>
                <a:off x="506959" y="1975988"/>
                <a:ext cx="633305" cy="593330"/>
              </a:xfrm>
              <a:custGeom>
                <a:avLst/>
                <a:gdLst>
                  <a:gd name="T0" fmla="*/ 0 w 267"/>
                  <a:gd name="T1" fmla="*/ 0 h 250"/>
                  <a:gd name="T2" fmla="*/ 73 w 267"/>
                  <a:gd name="T3" fmla="*/ 96 h 250"/>
                  <a:gd name="T4" fmla="*/ 120 w 267"/>
                  <a:gd name="T5" fmla="*/ 141 h 250"/>
                  <a:gd name="T6" fmla="*/ 267 w 267"/>
                  <a:gd name="T7" fmla="*/ 250 h 250"/>
                  <a:gd name="T8" fmla="*/ 267 w 267"/>
                  <a:gd name="T9" fmla="*/ 250 h 250"/>
                  <a:gd name="T10" fmla="*/ 230 w 267"/>
                  <a:gd name="T11" fmla="*/ 212 h 250"/>
                  <a:gd name="T12" fmla="*/ 146 w 267"/>
                  <a:gd name="T13" fmla="*/ 149 h 250"/>
                  <a:gd name="T14" fmla="*/ 0 w 267"/>
                  <a:gd name="T15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7" h="250">
                    <a:moveTo>
                      <a:pt x="0" y="0"/>
                    </a:moveTo>
                    <a:cubicBezTo>
                      <a:pt x="0" y="0"/>
                      <a:pt x="27" y="39"/>
                      <a:pt x="73" y="96"/>
                    </a:cubicBezTo>
                    <a:cubicBezTo>
                      <a:pt x="88" y="111"/>
                      <a:pt x="104" y="127"/>
                      <a:pt x="120" y="141"/>
                    </a:cubicBezTo>
                    <a:cubicBezTo>
                      <a:pt x="212" y="221"/>
                      <a:pt x="267" y="250"/>
                      <a:pt x="267" y="250"/>
                    </a:cubicBezTo>
                    <a:cubicBezTo>
                      <a:pt x="267" y="250"/>
                      <a:pt x="267" y="250"/>
                      <a:pt x="267" y="250"/>
                    </a:cubicBezTo>
                    <a:cubicBezTo>
                      <a:pt x="267" y="250"/>
                      <a:pt x="255" y="238"/>
                      <a:pt x="230" y="212"/>
                    </a:cubicBezTo>
                    <a:cubicBezTo>
                      <a:pt x="202" y="193"/>
                      <a:pt x="172" y="170"/>
                      <a:pt x="146" y="149"/>
                    </a:cubicBezTo>
                    <a:cubicBezTo>
                      <a:pt x="56" y="72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Freeform 163"/>
              <p:cNvSpPr>
                <a:spLocks/>
              </p:cNvSpPr>
              <p:nvPr/>
            </p:nvSpPr>
            <p:spPr bwMode="auto">
              <a:xfrm>
                <a:off x="680332" y="2203708"/>
                <a:ext cx="459932" cy="436576"/>
              </a:xfrm>
              <a:custGeom>
                <a:avLst/>
                <a:gdLst>
                  <a:gd name="T0" fmla="*/ 0 w 194"/>
                  <a:gd name="T1" fmla="*/ 0 h 184"/>
                  <a:gd name="T2" fmla="*/ 52 w 194"/>
                  <a:gd name="T3" fmla="*/ 64 h 184"/>
                  <a:gd name="T4" fmla="*/ 172 w 194"/>
                  <a:gd name="T5" fmla="*/ 184 h 184"/>
                  <a:gd name="T6" fmla="*/ 194 w 194"/>
                  <a:gd name="T7" fmla="*/ 154 h 184"/>
                  <a:gd name="T8" fmla="*/ 47 w 194"/>
                  <a:gd name="T9" fmla="*/ 45 h 184"/>
                  <a:gd name="T10" fmla="*/ 0 w 194"/>
                  <a:gd name="T11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4" h="184">
                    <a:moveTo>
                      <a:pt x="0" y="0"/>
                    </a:moveTo>
                    <a:cubicBezTo>
                      <a:pt x="15" y="19"/>
                      <a:pt x="33" y="41"/>
                      <a:pt x="52" y="64"/>
                    </a:cubicBezTo>
                    <a:cubicBezTo>
                      <a:pt x="115" y="139"/>
                      <a:pt x="172" y="184"/>
                      <a:pt x="172" y="184"/>
                    </a:cubicBezTo>
                    <a:cubicBezTo>
                      <a:pt x="194" y="154"/>
                      <a:pt x="194" y="154"/>
                      <a:pt x="194" y="154"/>
                    </a:cubicBezTo>
                    <a:cubicBezTo>
                      <a:pt x="194" y="154"/>
                      <a:pt x="139" y="125"/>
                      <a:pt x="47" y="45"/>
                    </a:cubicBezTo>
                    <a:cubicBezTo>
                      <a:pt x="31" y="31"/>
                      <a:pt x="15" y="15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Freeform 164"/>
              <p:cNvSpPr>
                <a:spLocks/>
              </p:cNvSpPr>
              <p:nvPr/>
            </p:nvSpPr>
            <p:spPr bwMode="auto">
              <a:xfrm>
                <a:off x="561756" y="1933319"/>
                <a:ext cx="687652" cy="673728"/>
              </a:xfrm>
              <a:custGeom>
                <a:avLst/>
                <a:gdLst>
                  <a:gd name="T0" fmla="*/ 0 w 290"/>
                  <a:gd name="T1" fmla="*/ 0 h 284"/>
                  <a:gd name="T2" fmla="*/ 109 w 290"/>
                  <a:gd name="T3" fmla="*/ 125 h 284"/>
                  <a:gd name="T4" fmla="*/ 207 w 290"/>
                  <a:gd name="T5" fmla="*/ 230 h 284"/>
                  <a:gd name="T6" fmla="*/ 290 w 290"/>
                  <a:gd name="T7" fmla="*/ 284 h 284"/>
                  <a:gd name="T8" fmla="*/ 132 w 290"/>
                  <a:gd name="T9" fmla="*/ 139 h 284"/>
                  <a:gd name="T10" fmla="*/ 79 w 290"/>
                  <a:gd name="T11" fmla="*/ 80 h 284"/>
                  <a:gd name="T12" fmla="*/ 0 w 290"/>
                  <a:gd name="T13" fmla="*/ 0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284">
                    <a:moveTo>
                      <a:pt x="0" y="0"/>
                    </a:moveTo>
                    <a:cubicBezTo>
                      <a:pt x="0" y="0"/>
                      <a:pt x="57" y="68"/>
                      <a:pt x="109" y="125"/>
                    </a:cubicBezTo>
                    <a:cubicBezTo>
                      <a:pt x="152" y="172"/>
                      <a:pt x="185" y="207"/>
                      <a:pt x="207" y="230"/>
                    </a:cubicBezTo>
                    <a:cubicBezTo>
                      <a:pt x="252" y="261"/>
                      <a:pt x="290" y="284"/>
                      <a:pt x="290" y="284"/>
                    </a:cubicBezTo>
                    <a:cubicBezTo>
                      <a:pt x="290" y="284"/>
                      <a:pt x="200" y="211"/>
                      <a:pt x="132" y="139"/>
                    </a:cubicBezTo>
                    <a:cubicBezTo>
                      <a:pt x="114" y="119"/>
                      <a:pt x="96" y="99"/>
                      <a:pt x="79" y="80"/>
                    </a:cubicBezTo>
                    <a:cubicBezTo>
                      <a:pt x="37" y="39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Freeform 165"/>
              <p:cNvSpPr>
                <a:spLocks/>
              </p:cNvSpPr>
              <p:nvPr/>
            </p:nvSpPr>
            <p:spPr bwMode="auto">
              <a:xfrm>
                <a:off x="506959" y="1933319"/>
                <a:ext cx="545720" cy="545720"/>
              </a:xfrm>
              <a:custGeom>
                <a:avLst/>
                <a:gdLst>
                  <a:gd name="T0" fmla="*/ 23 w 230"/>
                  <a:gd name="T1" fmla="*/ 0 h 230"/>
                  <a:gd name="T2" fmla="*/ 0 w 230"/>
                  <a:gd name="T3" fmla="*/ 18 h 230"/>
                  <a:gd name="T4" fmla="*/ 146 w 230"/>
                  <a:gd name="T5" fmla="*/ 167 h 230"/>
                  <a:gd name="T6" fmla="*/ 230 w 230"/>
                  <a:gd name="T7" fmla="*/ 230 h 230"/>
                  <a:gd name="T8" fmla="*/ 132 w 230"/>
                  <a:gd name="T9" fmla="*/ 125 h 230"/>
                  <a:gd name="T10" fmla="*/ 23 w 230"/>
                  <a:gd name="T11" fmla="*/ 0 h 230"/>
                  <a:gd name="T12" fmla="*/ 23 w 230"/>
                  <a:gd name="T13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0" h="230">
                    <a:moveTo>
                      <a:pt x="23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18"/>
                      <a:pt x="56" y="90"/>
                      <a:pt x="146" y="167"/>
                    </a:cubicBezTo>
                    <a:cubicBezTo>
                      <a:pt x="172" y="188"/>
                      <a:pt x="202" y="211"/>
                      <a:pt x="230" y="230"/>
                    </a:cubicBezTo>
                    <a:cubicBezTo>
                      <a:pt x="208" y="207"/>
                      <a:pt x="175" y="172"/>
                      <a:pt x="132" y="125"/>
                    </a:cubicBezTo>
                    <a:cubicBezTo>
                      <a:pt x="80" y="68"/>
                      <a:pt x="23" y="0"/>
                      <a:pt x="23" y="0"/>
                    </a:cubicBezTo>
                    <a:cubicBezTo>
                      <a:pt x="23" y="0"/>
                      <a:pt x="23" y="0"/>
                      <a:pt x="23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Freeform 166"/>
              <p:cNvSpPr>
                <a:spLocks noEditPoints="1"/>
              </p:cNvSpPr>
              <p:nvPr/>
            </p:nvSpPr>
            <p:spPr bwMode="auto">
              <a:xfrm>
                <a:off x="519086" y="1831361"/>
                <a:ext cx="777932" cy="714152"/>
              </a:xfrm>
              <a:custGeom>
                <a:avLst/>
                <a:gdLst>
                  <a:gd name="T0" fmla="*/ 286 w 328"/>
                  <a:gd name="T1" fmla="*/ 274 h 301"/>
                  <a:gd name="T2" fmla="*/ 328 w 328"/>
                  <a:gd name="T3" fmla="*/ 301 h 301"/>
                  <a:gd name="T4" fmla="*/ 328 w 328"/>
                  <a:gd name="T5" fmla="*/ 301 h 301"/>
                  <a:gd name="T6" fmla="*/ 325 w 328"/>
                  <a:gd name="T7" fmla="*/ 299 h 301"/>
                  <a:gd name="T8" fmla="*/ 286 w 328"/>
                  <a:gd name="T9" fmla="*/ 274 h 301"/>
                  <a:gd name="T10" fmla="*/ 0 w 328"/>
                  <a:gd name="T11" fmla="*/ 0 h 301"/>
                  <a:gd name="T12" fmla="*/ 97 w 328"/>
                  <a:gd name="T13" fmla="*/ 123 h 301"/>
                  <a:gd name="T14" fmla="*/ 143 w 328"/>
                  <a:gd name="T15" fmla="*/ 166 h 301"/>
                  <a:gd name="T16" fmla="*/ 275 w 328"/>
                  <a:gd name="T17" fmla="*/ 266 h 301"/>
                  <a:gd name="T18" fmla="*/ 156 w 328"/>
                  <a:gd name="T19" fmla="*/ 168 h 301"/>
                  <a:gd name="T20" fmla="*/ 0 w 328"/>
                  <a:gd name="T21" fmla="*/ 0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8" h="301">
                    <a:moveTo>
                      <a:pt x="286" y="274"/>
                    </a:moveTo>
                    <a:cubicBezTo>
                      <a:pt x="311" y="291"/>
                      <a:pt x="328" y="301"/>
                      <a:pt x="328" y="301"/>
                    </a:cubicBezTo>
                    <a:cubicBezTo>
                      <a:pt x="328" y="301"/>
                      <a:pt x="328" y="301"/>
                      <a:pt x="328" y="301"/>
                    </a:cubicBezTo>
                    <a:cubicBezTo>
                      <a:pt x="328" y="301"/>
                      <a:pt x="327" y="300"/>
                      <a:pt x="325" y="299"/>
                    </a:cubicBezTo>
                    <a:cubicBezTo>
                      <a:pt x="315" y="292"/>
                      <a:pt x="301" y="284"/>
                      <a:pt x="286" y="274"/>
                    </a:cubicBezTo>
                    <a:moveTo>
                      <a:pt x="0" y="0"/>
                    </a:moveTo>
                    <a:cubicBezTo>
                      <a:pt x="0" y="0"/>
                      <a:pt x="41" y="57"/>
                      <a:pt x="97" y="123"/>
                    </a:cubicBezTo>
                    <a:cubicBezTo>
                      <a:pt x="112" y="137"/>
                      <a:pt x="128" y="152"/>
                      <a:pt x="143" y="166"/>
                    </a:cubicBezTo>
                    <a:cubicBezTo>
                      <a:pt x="187" y="205"/>
                      <a:pt x="238" y="241"/>
                      <a:pt x="275" y="266"/>
                    </a:cubicBezTo>
                    <a:cubicBezTo>
                      <a:pt x="239" y="242"/>
                      <a:pt x="196" y="209"/>
                      <a:pt x="156" y="168"/>
                    </a:cubicBezTo>
                    <a:cubicBezTo>
                      <a:pt x="74" y="84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167"/>
              <p:cNvSpPr>
                <a:spLocks/>
              </p:cNvSpPr>
              <p:nvPr/>
            </p:nvSpPr>
            <p:spPr bwMode="auto">
              <a:xfrm>
                <a:off x="749052" y="2123310"/>
                <a:ext cx="547966" cy="483737"/>
              </a:xfrm>
              <a:custGeom>
                <a:avLst/>
                <a:gdLst>
                  <a:gd name="T0" fmla="*/ 0 w 231"/>
                  <a:gd name="T1" fmla="*/ 0 h 204"/>
                  <a:gd name="T2" fmla="*/ 53 w 231"/>
                  <a:gd name="T3" fmla="*/ 59 h 204"/>
                  <a:gd name="T4" fmla="*/ 211 w 231"/>
                  <a:gd name="T5" fmla="*/ 204 h 204"/>
                  <a:gd name="T6" fmla="*/ 231 w 231"/>
                  <a:gd name="T7" fmla="*/ 178 h 204"/>
                  <a:gd name="T8" fmla="*/ 189 w 231"/>
                  <a:gd name="T9" fmla="*/ 151 h 204"/>
                  <a:gd name="T10" fmla="*/ 178 w 231"/>
                  <a:gd name="T11" fmla="*/ 143 h 204"/>
                  <a:gd name="T12" fmla="*/ 46 w 231"/>
                  <a:gd name="T13" fmla="*/ 43 h 204"/>
                  <a:gd name="T14" fmla="*/ 0 w 231"/>
                  <a:gd name="T15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1" h="204">
                    <a:moveTo>
                      <a:pt x="0" y="0"/>
                    </a:moveTo>
                    <a:cubicBezTo>
                      <a:pt x="17" y="19"/>
                      <a:pt x="35" y="39"/>
                      <a:pt x="53" y="59"/>
                    </a:cubicBezTo>
                    <a:cubicBezTo>
                      <a:pt x="121" y="131"/>
                      <a:pt x="211" y="204"/>
                      <a:pt x="211" y="204"/>
                    </a:cubicBezTo>
                    <a:cubicBezTo>
                      <a:pt x="231" y="178"/>
                      <a:pt x="231" y="178"/>
                      <a:pt x="231" y="178"/>
                    </a:cubicBezTo>
                    <a:cubicBezTo>
                      <a:pt x="231" y="178"/>
                      <a:pt x="214" y="168"/>
                      <a:pt x="189" y="151"/>
                    </a:cubicBezTo>
                    <a:cubicBezTo>
                      <a:pt x="185" y="149"/>
                      <a:pt x="182" y="146"/>
                      <a:pt x="178" y="143"/>
                    </a:cubicBezTo>
                    <a:cubicBezTo>
                      <a:pt x="141" y="118"/>
                      <a:pt x="90" y="82"/>
                      <a:pt x="46" y="43"/>
                    </a:cubicBezTo>
                    <a:cubicBezTo>
                      <a:pt x="31" y="29"/>
                      <a:pt x="15" y="14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168"/>
              <p:cNvSpPr>
                <a:spLocks noEditPoints="1"/>
              </p:cNvSpPr>
              <p:nvPr/>
            </p:nvSpPr>
            <p:spPr bwMode="auto">
              <a:xfrm>
                <a:off x="604425" y="1764887"/>
                <a:ext cx="759067" cy="813864"/>
              </a:xfrm>
              <a:custGeom>
                <a:avLst/>
                <a:gdLst>
                  <a:gd name="T0" fmla="*/ 224 w 320"/>
                  <a:gd name="T1" fmla="*/ 263 h 343"/>
                  <a:gd name="T2" fmla="*/ 289 w 320"/>
                  <a:gd name="T3" fmla="*/ 327 h 343"/>
                  <a:gd name="T4" fmla="*/ 320 w 320"/>
                  <a:gd name="T5" fmla="*/ 343 h 343"/>
                  <a:gd name="T6" fmla="*/ 224 w 320"/>
                  <a:gd name="T7" fmla="*/ 263 h 343"/>
                  <a:gd name="T8" fmla="*/ 0 w 320"/>
                  <a:gd name="T9" fmla="*/ 0 h 343"/>
                  <a:gd name="T10" fmla="*/ 41 w 320"/>
                  <a:gd name="T11" fmla="*/ 56 h 343"/>
                  <a:gd name="T12" fmla="*/ 5 w 320"/>
                  <a:gd name="T13" fmla="*/ 5 h 343"/>
                  <a:gd name="T14" fmla="*/ 0 w 320"/>
                  <a:gd name="T15" fmla="*/ 0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0" h="343">
                    <a:moveTo>
                      <a:pt x="224" y="263"/>
                    </a:moveTo>
                    <a:cubicBezTo>
                      <a:pt x="258" y="297"/>
                      <a:pt x="282" y="319"/>
                      <a:pt x="289" y="327"/>
                    </a:cubicBezTo>
                    <a:cubicBezTo>
                      <a:pt x="308" y="338"/>
                      <a:pt x="320" y="343"/>
                      <a:pt x="320" y="343"/>
                    </a:cubicBezTo>
                    <a:cubicBezTo>
                      <a:pt x="320" y="343"/>
                      <a:pt x="278" y="312"/>
                      <a:pt x="224" y="263"/>
                    </a:cubicBezTo>
                    <a:moveTo>
                      <a:pt x="0" y="0"/>
                    </a:moveTo>
                    <a:cubicBezTo>
                      <a:pt x="0" y="0"/>
                      <a:pt x="17" y="24"/>
                      <a:pt x="41" y="56"/>
                    </a:cubicBezTo>
                    <a:cubicBezTo>
                      <a:pt x="27" y="36"/>
                      <a:pt x="14" y="19"/>
                      <a:pt x="5" y="5"/>
                    </a:cubicBezTo>
                    <a:cubicBezTo>
                      <a:pt x="2" y="2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169"/>
              <p:cNvSpPr>
                <a:spLocks/>
              </p:cNvSpPr>
              <p:nvPr/>
            </p:nvSpPr>
            <p:spPr bwMode="auto">
              <a:xfrm>
                <a:off x="519086" y="1764887"/>
                <a:ext cx="770745" cy="775686"/>
              </a:xfrm>
              <a:custGeom>
                <a:avLst/>
                <a:gdLst>
                  <a:gd name="T0" fmla="*/ 36 w 325"/>
                  <a:gd name="T1" fmla="*/ 0 h 327"/>
                  <a:gd name="T2" fmla="*/ 0 w 325"/>
                  <a:gd name="T3" fmla="*/ 28 h 327"/>
                  <a:gd name="T4" fmla="*/ 156 w 325"/>
                  <a:gd name="T5" fmla="*/ 196 h 327"/>
                  <a:gd name="T6" fmla="*/ 275 w 325"/>
                  <a:gd name="T7" fmla="*/ 294 h 327"/>
                  <a:gd name="T8" fmla="*/ 286 w 325"/>
                  <a:gd name="T9" fmla="*/ 302 h 327"/>
                  <a:gd name="T10" fmla="*/ 325 w 325"/>
                  <a:gd name="T11" fmla="*/ 327 h 327"/>
                  <a:gd name="T12" fmla="*/ 260 w 325"/>
                  <a:gd name="T13" fmla="*/ 263 h 327"/>
                  <a:gd name="T14" fmla="*/ 164 w 325"/>
                  <a:gd name="T15" fmla="*/ 166 h 327"/>
                  <a:gd name="T16" fmla="*/ 77 w 325"/>
                  <a:gd name="T17" fmla="*/ 56 h 327"/>
                  <a:gd name="T18" fmla="*/ 36 w 325"/>
                  <a:gd name="T19" fmla="*/ 0 h 327"/>
                  <a:gd name="T20" fmla="*/ 36 w 325"/>
                  <a:gd name="T21" fmla="*/ 0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5" h="327">
                    <a:moveTo>
                      <a:pt x="36" y="0"/>
                    </a:move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74" y="112"/>
                      <a:pt x="156" y="196"/>
                    </a:cubicBezTo>
                    <a:cubicBezTo>
                      <a:pt x="196" y="237"/>
                      <a:pt x="239" y="270"/>
                      <a:pt x="275" y="294"/>
                    </a:cubicBezTo>
                    <a:cubicBezTo>
                      <a:pt x="279" y="297"/>
                      <a:pt x="282" y="300"/>
                      <a:pt x="286" y="302"/>
                    </a:cubicBezTo>
                    <a:cubicBezTo>
                      <a:pt x="301" y="312"/>
                      <a:pt x="315" y="320"/>
                      <a:pt x="325" y="327"/>
                    </a:cubicBezTo>
                    <a:cubicBezTo>
                      <a:pt x="318" y="319"/>
                      <a:pt x="294" y="297"/>
                      <a:pt x="260" y="263"/>
                    </a:cubicBezTo>
                    <a:cubicBezTo>
                      <a:pt x="230" y="235"/>
                      <a:pt x="196" y="202"/>
                      <a:pt x="164" y="166"/>
                    </a:cubicBezTo>
                    <a:cubicBezTo>
                      <a:pt x="132" y="129"/>
                      <a:pt x="102" y="90"/>
                      <a:pt x="77" y="56"/>
                    </a:cubicBezTo>
                    <a:cubicBezTo>
                      <a:pt x="53" y="24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Freeform 170"/>
              <p:cNvSpPr>
                <a:spLocks/>
              </p:cNvSpPr>
              <p:nvPr/>
            </p:nvSpPr>
            <p:spPr bwMode="auto">
              <a:xfrm>
                <a:off x="1171255" y="2462420"/>
                <a:ext cx="26051" cy="18864"/>
              </a:xfrm>
              <a:custGeom>
                <a:avLst/>
                <a:gdLst>
                  <a:gd name="T0" fmla="*/ 0 w 11"/>
                  <a:gd name="T1" fmla="*/ 0 h 8"/>
                  <a:gd name="T2" fmla="*/ 11 w 11"/>
                  <a:gd name="T3" fmla="*/ 8 h 8"/>
                  <a:gd name="T4" fmla="*/ 0 w 11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0" y="0"/>
                    </a:moveTo>
                    <a:cubicBezTo>
                      <a:pt x="4" y="3"/>
                      <a:pt x="7" y="6"/>
                      <a:pt x="11" y="8"/>
                    </a:cubicBezTo>
                    <a:cubicBezTo>
                      <a:pt x="7" y="6"/>
                      <a:pt x="4" y="3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Freeform 171"/>
              <p:cNvSpPr>
                <a:spLocks/>
              </p:cNvSpPr>
              <p:nvPr/>
            </p:nvSpPr>
            <p:spPr bwMode="auto">
              <a:xfrm>
                <a:off x="561756" y="1696166"/>
                <a:ext cx="842160" cy="813864"/>
              </a:xfrm>
              <a:custGeom>
                <a:avLst/>
                <a:gdLst>
                  <a:gd name="T0" fmla="*/ 0 w 355"/>
                  <a:gd name="T1" fmla="*/ 0 h 343"/>
                  <a:gd name="T2" fmla="*/ 23 w 355"/>
                  <a:gd name="T3" fmla="*/ 34 h 343"/>
                  <a:gd name="T4" fmla="*/ 158 w 355"/>
                  <a:gd name="T5" fmla="*/ 182 h 343"/>
                  <a:gd name="T6" fmla="*/ 355 w 355"/>
                  <a:gd name="T7" fmla="*/ 343 h 343"/>
                  <a:gd name="T8" fmla="*/ 355 w 355"/>
                  <a:gd name="T9" fmla="*/ 343 h 343"/>
                  <a:gd name="T10" fmla="*/ 249 w 355"/>
                  <a:gd name="T11" fmla="*/ 246 h 343"/>
                  <a:gd name="T12" fmla="*/ 176 w 355"/>
                  <a:gd name="T13" fmla="*/ 187 h 343"/>
                  <a:gd name="T14" fmla="*/ 0 w 355"/>
                  <a:gd name="T15" fmla="*/ 0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5" h="343">
                    <a:moveTo>
                      <a:pt x="0" y="0"/>
                    </a:moveTo>
                    <a:cubicBezTo>
                      <a:pt x="0" y="0"/>
                      <a:pt x="8" y="13"/>
                      <a:pt x="23" y="34"/>
                    </a:cubicBezTo>
                    <a:cubicBezTo>
                      <a:pt x="39" y="54"/>
                      <a:pt x="103" y="127"/>
                      <a:pt x="158" y="182"/>
                    </a:cubicBezTo>
                    <a:cubicBezTo>
                      <a:pt x="258" y="283"/>
                      <a:pt x="355" y="343"/>
                      <a:pt x="355" y="343"/>
                    </a:cubicBezTo>
                    <a:cubicBezTo>
                      <a:pt x="355" y="343"/>
                      <a:pt x="355" y="343"/>
                      <a:pt x="355" y="343"/>
                    </a:cubicBezTo>
                    <a:cubicBezTo>
                      <a:pt x="355" y="343"/>
                      <a:pt x="309" y="305"/>
                      <a:pt x="249" y="246"/>
                    </a:cubicBezTo>
                    <a:cubicBezTo>
                      <a:pt x="224" y="229"/>
                      <a:pt x="199" y="209"/>
                      <a:pt x="176" y="187"/>
                    </a:cubicBezTo>
                    <a:cubicBezTo>
                      <a:pt x="83" y="10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Freeform 172"/>
              <p:cNvSpPr>
                <a:spLocks/>
              </p:cNvSpPr>
              <p:nvPr/>
            </p:nvSpPr>
            <p:spPr bwMode="auto">
              <a:xfrm>
                <a:off x="616103" y="1777014"/>
                <a:ext cx="787813" cy="801736"/>
              </a:xfrm>
              <a:custGeom>
                <a:avLst/>
                <a:gdLst>
                  <a:gd name="T0" fmla="*/ 0 w 332"/>
                  <a:gd name="T1" fmla="*/ 0 h 338"/>
                  <a:gd name="T2" fmla="*/ 36 w 332"/>
                  <a:gd name="T3" fmla="*/ 51 h 338"/>
                  <a:gd name="T4" fmla="*/ 124 w 332"/>
                  <a:gd name="T5" fmla="*/ 159 h 338"/>
                  <a:gd name="T6" fmla="*/ 219 w 332"/>
                  <a:gd name="T7" fmla="*/ 258 h 338"/>
                  <a:gd name="T8" fmla="*/ 315 w 332"/>
                  <a:gd name="T9" fmla="*/ 338 h 338"/>
                  <a:gd name="T10" fmla="*/ 332 w 332"/>
                  <a:gd name="T11" fmla="*/ 309 h 338"/>
                  <a:gd name="T12" fmla="*/ 135 w 332"/>
                  <a:gd name="T13" fmla="*/ 148 h 338"/>
                  <a:gd name="T14" fmla="*/ 0 w 332"/>
                  <a:gd name="T15" fmla="*/ 0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2" h="338">
                    <a:moveTo>
                      <a:pt x="0" y="0"/>
                    </a:moveTo>
                    <a:cubicBezTo>
                      <a:pt x="9" y="14"/>
                      <a:pt x="22" y="31"/>
                      <a:pt x="36" y="51"/>
                    </a:cubicBezTo>
                    <a:cubicBezTo>
                      <a:pt x="60" y="84"/>
                      <a:pt x="92" y="125"/>
                      <a:pt x="124" y="159"/>
                    </a:cubicBezTo>
                    <a:cubicBezTo>
                      <a:pt x="160" y="198"/>
                      <a:pt x="192" y="231"/>
                      <a:pt x="219" y="258"/>
                    </a:cubicBezTo>
                    <a:cubicBezTo>
                      <a:pt x="273" y="307"/>
                      <a:pt x="315" y="338"/>
                      <a:pt x="315" y="338"/>
                    </a:cubicBezTo>
                    <a:cubicBezTo>
                      <a:pt x="332" y="309"/>
                      <a:pt x="332" y="309"/>
                      <a:pt x="332" y="309"/>
                    </a:cubicBezTo>
                    <a:cubicBezTo>
                      <a:pt x="332" y="309"/>
                      <a:pt x="235" y="249"/>
                      <a:pt x="135" y="148"/>
                    </a:cubicBezTo>
                    <a:cubicBezTo>
                      <a:pt x="80" y="93"/>
                      <a:pt x="16" y="2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Freeform 173"/>
              <p:cNvSpPr>
                <a:spLocks/>
              </p:cNvSpPr>
              <p:nvPr/>
            </p:nvSpPr>
            <p:spPr bwMode="auto">
              <a:xfrm>
                <a:off x="701442" y="1897836"/>
                <a:ext cx="434330" cy="490923"/>
              </a:xfrm>
              <a:custGeom>
                <a:avLst/>
                <a:gdLst>
                  <a:gd name="T0" fmla="*/ 0 w 183"/>
                  <a:gd name="T1" fmla="*/ 0 h 207"/>
                  <a:gd name="T2" fmla="*/ 87 w 183"/>
                  <a:gd name="T3" fmla="*/ 110 h 207"/>
                  <a:gd name="T4" fmla="*/ 183 w 183"/>
                  <a:gd name="T5" fmla="*/ 207 h 207"/>
                  <a:gd name="T6" fmla="*/ 88 w 183"/>
                  <a:gd name="T7" fmla="*/ 108 h 207"/>
                  <a:gd name="T8" fmla="*/ 0 w 183"/>
                  <a:gd name="T9" fmla="*/ 0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3" h="207">
                    <a:moveTo>
                      <a:pt x="0" y="0"/>
                    </a:moveTo>
                    <a:cubicBezTo>
                      <a:pt x="25" y="34"/>
                      <a:pt x="55" y="73"/>
                      <a:pt x="87" y="110"/>
                    </a:cubicBezTo>
                    <a:cubicBezTo>
                      <a:pt x="119" y="146"/>
                      <a:pt x="153" y="179"/>
                      <a:pt x="183" y="207"/>
                    </a:cubicBezTo>
                    <a:cubicBezTo>
                      <a:pt x="156" y="180"/>
                      <a:pt x="124" y="147"/>
                      <a:pt x="88" y="108"/>
                    </a:cubicBezTo>
                    <a:cubicBezTo>
                      <a:pt x="56" y="74"/>
                      <a:pt x="24" y="33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Freeform 174"/>
              <p:cNvSpPr>
                <a:spLocks/>
              </p:cNvSpPr>
              <p:nvPr/>
            </p:nvSpPr>
            <p:spPr bwMode="auto">
              <a:xfrm>
                <a:off x="623289" y="1649005"/>
                <a:ext cx="896508" cy="846652"/>
              </a:xfrm>
              <a:custGeom>
                <a:avLst/>
                <a:gdLst>
                  <a:gd name="T0" fmla="*/ 0 w 378"/>
                  <a:gd name="T1" fmla="*/ 0 h 357"/>
                  <a:gd name="T2" fmla="*/ 138 w 378"/>
                  <a:gd name="T3" fmla="*/ 181 h 357"/>
                  <a:gd name="T4" fmla="*/ 223 w 378"/>
                  <a:gd name="T5" fmla="*/ 266 h 357"/>
                  <a:gd name="T6" fmla="*/ 378 w 378"/>
                  <a:gd name="T7" fmla="*/ 357 h 357"/>
                  <a:gd name="T8" fmla="*/ 378 w 378"/>
                  <a:gd name="T9" fmla="*/ 357 h 357"/>
                  <a:gd name="T10" fmla="*/ 378 w 378"/>
                  <a:gd name="T11" fmla="*/ 357 h 357"/>
                  <a:gd name="T12" fmla="*/ 157 w 378"/>
                  <a:gd name="T13" fmla="*/ 188 h 357"/>
                  <a:gd name="T14" fmla="*/ 152 w 378"/>
                  <a:gd name="T15" fmla="*/ 183 h 357"/>
                  <a:gd name="T16" fmla="*/ 29 w 378"/>
                  <a:gd name="T17" fmla="*/ 31 h 357"/>
                  <a:gd name="T18" fmla="*/ 0 w 378"/>
                  <a:gd name="T19" fmla="*/ 0 h 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8" h="357">
                    <a:moveTo>
                      <a:pt x="0" y="0"/>
                    </a:moveTo>
                    <a:cubicBezTo>
                      <a:pt x="0" y="0"/>
                      <a:pt x="72" y="110"/>
                      <a:pt x="138" y="181"/>
                    </a:cubicBezTo>
                    <a:cubicBezTo>
                      <a:pt x="168" y="212"/>
                      <a:pt x="197" y="241"/>
                      <a:pt x="223" y="266"/>
                    </a:cubicBezTo>
                    <a:cubicBezTo>
                      <a:pt x="303" y="323"/>
                      <a:pt x="378" y="357"/>
                      <a:pt x="378" y="357"/>
                    </a:cubicBezTo>
                    <a:cubicBezTo>
                      <a:pt x="378" y="357"/>
                      <a:pt x="378" y="357"/>
                      <a:pt x="378" y="357"/>
                    </a:cubicBezTo>
                    <a:cubicBezTo>
                      <a:pt x="378" y="357"/>
                      <a:pt x="378" y="357"/>
                      <a:pt x="378" y="357"/>
                    </a:cubicBezTo>
                    <a:cubicBezTo>
                      <a:pt x="378" y="357"/>
                      <a:pt x="256" y="285"/>
                      <a:pt x="157" y="188"/>
                    </a:cubicBezTo>
                    <a:cubicBezTo>
                      <a:pt x="155" y="186"/>
                      <a:pt x="154" y="184"/>
                      <a:pt x="152" y="183"/>
                    </a:cubicBezTo>
                    <a:cubicBezTo>
                      <a:pt x="100" y="131"/>
                      <a:pt x="56" y="71"/>
                      <a:pt x="29" y="31"/>
                    </a:cubicBezTo>
                    <a:cubicBezTo>
                      <a:pt x="12" y="12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Freeform 175"/>
              <p:cNvSpPr>
                <a:spLocks noEditPoints="1"/>
              </p:cNvSpPr>
              <p:nvPr/>
            </p:nvSpPr>
            <p:spPr bwMode="auto">
              <a:xfrm>
                <a:off x="983959" y="2082886"/>
                <a:ext cx="574016" cy="412771"/>
              </a:xfrm>
              <a:custGeom>
                <a:avLst/>
                <a:gdLst>
                  <a:gd name="T0" fmla="*/ 242 w 242"/>
                  <a:gd name="T1" fmla="*/ 145 h 174"/>
                  <a:gd name="T2" fmla="*/ 226 w 242"/>
                  <a:gd name="T3" fmla="*/ 174 h 174"/>
                  <a:gd name="T4" fmla="*/ 226 w 242"/>
                  <a:gd name="T5" fmla="*/ 174 h 174"/>
                  <a:gd name="T6" fmla="*/ 226 w 242"/>
                  <a:gd name="T7" fmla="*/ 174 h 174"/>
                  <a:gd name="T8" fmla="*/ 226 w 242"/>
                  <a:gd name="T9" fmla="*/ 174 h 174"/>
                  <a:gd name="T10" fmla="*/ 242 w 242"/>
                  <a:gd name="T11" fmla="*/ 145 h 174"/>
                  <a:gd name="T12" fmla="*/ 242 w 242"/>
                  <a:gd name="T13" fmla="*/ 145 h 174"/>
                  <a:gd name="T14" fmla="*/ 242 w 242"/>
                  <a:gd name="T15" fmla="*/ 145 h 174"/>
                  <a:gd name="T16" fmla="*/ 0 w 242"/>
                  <a:gd name="T17" fmla="*/ 0 h 174"/>
                  <a:gd name="T18" fmla="*/ 5 w 242"/>
                  <a:gd name="T19" fmla="*/ 5 h 174"/>
                  <a:gd name="T20" fmla="*/ 226 w 242"/>
                  <a:gd name="T21" fmla="*/ 174 h 174"/>
                  <a:gd name="T22" fmla="*/ 4 w 242"/>
                  <a:gd name="T23" fmla="*/ 4 h 174"/>
                  <a:gd name="T24" fmla="*/ 0 w 242"/>
                  <a:gd name="T25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2" h="174">
                    <a:moveTo>
                      <a:pt x="242" y="145"/>
                    </a:moveTo>
                    <a:cubicBezTo>
                      <a:pt x="226" y="174"/>
                      <a:pt x="226" y="174"/>
                      <a:pt x="226" y="174"/>
                    </a:cubicBezTo>
                    <a:cubicBezTo>
                      <a:pt x="226" y="174"/>
                      <a:pt x="226" y="174"/>
                      <a:pt x="226" y="174"/>
                    </a:cubicBezTo>
                    <a:cubicBezTo>
                      <a:pt x="226" y="174"/>
                      <a:pt x="226" y="174"/>
                      <a:pt x="226" y="174"/>
                    </a:cubicBezTo>
                    <a:cubicBezTo>
                      <a:pt x="226" y="174"/>
                      <a:pt x="226" y="174"/>
                      <a:pt x="226" y="174"/>
                    </a:cubicBezTo>
                    <a:cubicBezTo>
                      <a:pt x="242" y="145"/>
                      <a:pt x="242" y="145"/>
                      <a:pt x="242" y="145"/>
                    </a:cubicBezTo>
                    <a:cubicBezTo>
                      <a:pt x="242" y="145"/>
                      <a:pt x="242" y="145"/>
                      <a:pt x="242" y="145"/>
                    </a:cubicBezTo>
                    <a:cubicBezTo>
                      <a:pt x="242" y="145"/>
                      <a:pt x="242" y="145"/>
                      <a:pt x="242" y="145"/>
                    </a:cubicBezTo>
                    <a:moveTo>
                      <a:pt x="0" y="0"/>
                    </a:moveTo>
                    <a:cubicBezTo>
                      <a:pt x="2" y="1"/>
                      <a:pt x="3" y="3"/>
                      <a:pt x="5" y="5"/>
                    </a:cubicBezTo>
                    <a:cubicBezTo>
                      <a:pt x="104" y="102"/>
                      <a:pt x="226" y="174"/>
                      <a:pt x="226" y="174"/>
                    </a:cubicBezTo>
                    <a:cubicBezTo>
                      <a:pt x="226" y="174"/>
                      <a:pt x="104" y="101"/>
                      <a:pt x="4" y="4"/>
                    </a:cubicBezTo>
                    <a:cubicBezTo>
                      <a:pt x="3" y="3"/>
                      <a:pt x="1" y="1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Freeform 176"/>
              <p:cNvSpPr>
                <a:spLocks/>
              </p:cNvSpPr>
              <p:nvPr/>
            </p:nvSpPr>
            <p:spPr bwMode="auto">
              <a:xfrm>
                <a:off x="561756" y="1649005"/>
                <a:ext cx="590635" cy="630609"/>
              </a:xfrm>
              <a:custGeom>
                <a:avLst/>
                <a:gdLst>
                  <a:gd name="T0" fmla="*/ 26 w 249"/>
                  <a:gd name="T1" fmla="*/ 0 h 266"/>
                  <a:gd name="T2" fmla="*/ 0 w 249"/>
                  <a:gd name="T3" fmla="*/ 20 h 266"/>
                  <a:gd name="T4" fmla="*/ 176 w 249"/>
                  <a:gd name="T5" fmla="*/ 207 h 266"/>
                  <a:gd name="T6" fmla="*/ 249 w 249"/>
                  <a:gd name="T7" fmla="*/ 266 h 266"/>
                  <a:gd name="T8" fmla="*/ 164 w 249"/>
                  <a:gd name="T9" fmla="*/ 181 h 266"/>
                  <a:gd name="T10" fmla="*/ 26 w 249"/>
                  <a:gd name="T11" fmla="*/ 0 h 266"/>
                  <a:gd name="T12" fmla="*/ 26 w 249"/>
                  <a:gd name="T13" fmla="*/ 0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9" h="266">
                    <a:moveTo>
                      <a:pt x="26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83" y="120"/>
                      <a:pt x="176" y="207"/>
                    </a:cubicBezTo>
                    <a:cubicBezTo>
                      <a:pt x="199" y="229"/>
                      <a:pt x="224" y="249"/>
                      <a:pt x="249" y="266"/>
                    </a:cubicBezTo>
                    <a:cubicBezTo>
                      <a:pt x="223" y="241"/>
                      <a:pt x="194" y="212"/>
                      <a:pt x="164" y="181"/>
                    </a:cubicBezTo>
                    <a:cubicBezTo>
                      <a:pt x="98" y="110"/>
                      <a:pt x="26" y="0"/>
                      <a:pt x="26" y="0"/>
                    </a:cubicBezTo>
                    <a:cubicBezTo>
                      <a:pt x="26" y="0"/>
                      <a:pt x="26" y="0"/>
                      <a:pt x="2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Freeform 177"/>
              <p:cNvSpPr>
                <a:spLocks/>
              </p:cNvSpPr>
              <p:nvPr/>
            </p:nvSpPr>
            <p:spPr bwMode="auto">
              <a:xfrm>
                <a:off x="623289" y="1608582"/>
                <a:ext cx="70966" cy="113635"/>
              </a:xfrm>
              <a:custGeom>
                <a:avLst/>
                <a:gdLst>
                  <a:gd name="T0" fmla="*/ 0 w 30"/>
                  <a:gd name="T1" fmla="*/ 0 h 48"/>
                  <a:gd name="T2" fmla="*/ 29 w 30"/>
                  <a:gd name="T3" fmla="*/ 48 h 48"/>
                  <a:gd name="T4" fmla="*/ 30 w 30"/>
                  <a:gd name="T5" fmla="*/ 48 h 48"/>
                  <a:gd name="T6" fmla="*/ 0 w 30"/>
                  <a:gd name="T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48">
                    <a:moveTo>
                      <a:pt x="0" y="0"/>
                    </a:moveTo>
                    <a:cubicBezTo>
                      <a:pt x="0" y="0"/>
                      <a:pt x="10" y="19"/>
                      <a:pt x="29" y="48"/>
                    </a:cubicBezTo>
                    <a:cubicBezTo>
                      <a:pt x="30" y="48"/>
                      <a:pt x="30" y="48"/>
                      <a:pt x="30" y="48"/>
                    </a:cubicBezTo>
                    <a:cubicBezTo>
                      <a:pt x="11" y="2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Freeform 178"/>
              <p:cNvSpPr>
                <a:spLocks/>
              </p:cNvSpPr>
              <p:nvPr/>
            </p:nvSpPr>
            <p:spPr bwMode="auto">
              <a:xfrm>
                <a:off x="623289" y="1608582"/>
                <a:ext cx="253771" cy="300932"/>
              </a:xfrm>
              <a:custGeom>
                <a:avLst/>
                <a:gdLst>
                  <a:gd name="T0" fmla="*/ 0 w 107"/>
                  <a:gd name="T1" fmla="*/ 0 h 127"/>
                  <a:gd name="T2" fmla="*/ 0 w 107"/>
                  <a:gd name="T3" fmla="*/ 0 h 127"/>
                  <a:gd name="T4" fmla="*/ 30 w 107"/>
                  <a:gd name="T5" fmla="*/ 48 h 127"/>
                  <a:gd name="T6" fmla="*/ 107 w 107"/>
                  <a:gd name="T7" fmla="*/ 127 h 127"/>
                  <a:gd name="T8" fmla="*/ 0 w 107"/>
                  <a:gd name="T9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127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1" y="20"/>
                      <a:pt x="30" y="48"/>
                    </a:cubicBezTo>
                    <a:cubicBezTo>
                      <a:pt x="50" y="69"/>
                      <a:pt x="77" y="97"/>
                      <a:pt x="107" y="127"/>
                    </a:cubicBezTo>
                    <a:cubicBezTo>
                      <a:pt x="46" y="6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Freeform 179"/>
              <p:cNvSpPr>
                <a:spLocks/>
              </p:cNvSpPr>
              <p:nvPr/>
            </p:nvSpPr>
            <p:spPr bwMode="auto">
              <a:xfrm>
                <a:off x="1522492" y="2403132"/>
                <a:ext cx="35483" cy="23805"/>
              </a:xfrm>
              <a:custGeom>
                <a:avLst/>
                <a:gdLst>
                  <a:gd name="T0" fmla="*/ 1 w 15"/>
                  <a:gd name="T1" fmla="*/ 0 h 10"/>
                  <a:gd name="T2" fmla="*/ 0 w 15"/>
                  <a:gd name="T3" fmla="*/ 1 h 10"/>
                  <a:gd name="T4" fmla="*/ 15 w 15"/>
                  <a:gd name="T5" fmla="*/ 10 h 10"/>
                  <a:gd name="T6" fmla="*/ 15 w 15"/>
                  <a:gd name="T7" fmla="*/ 10 h 10"/>
                  <a:gd name="T8" fmla="*/ 1 w 15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0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0" y="7"/>
                      <a:pt x="15" y="10"/>
                      <a:pt x="15" y="1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5" y="10"/>
                      <a:pt x="10" y="6"/>
                      <a:pt x="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Freeform 180"/>
              <p:cNvSpPr>
                <a:spLocks noEditPoints="1"/>
              </p:cNvSpPr>
              <p:nvPr/>
            </p:nvSpPr>
            <p:spPr bwMode="auto">
              <a:xfrm>
                <a:off x="692010" y="1722217"/>
                <a:ext cx="827787" cy="773440"/>
              </a:xfrm>
              <a:custGeom>
                <a:avLst/>
                <a:gdLst>
                  <a:gd name="T0" fmla="*/ 349 w 349"/>
                  <a:gd name="T1" fmla="*/ 326 h 326"/>
                  <a:gd name="T2" fmla="*/ 349 w 349"/>
                  <a:gd name="T3" fmla="*/ 326 h 326"/>
                  <a:gd name="T4" fmla="*/ 349 w 349"/>
                  <a:gd name="T5" fmla="*/ 326 h 326"/>
                  <a:gd name="T6" fmla="*/ 0 w 349"/>
                  <a:gd name="T7" fmla="*/ 0 h 326"/>
                  <a:gd name="T8" fmla="*/ 123 w 349"/>
                  <a:gd name="T9" fmla="*/ 152 h 326"/>
                  <a:gd name="T10" fmla="*/ 1 w 349"/>
                  <a:gd name="T11" fmla="*/ 0 h 326"/>
                  <a:gd name="T12" fmla="*/ 0 w 349"/>
                  <a:gd name="T13" fmla="*/ 0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9" h="326">
                    <a:moveTo>
                      <a:pt x="349" y="326"/>
                    </a:moveTo>
                    <a:cubicBezTo>
                      <a:pt x="349" y="326"/>
                      <a:pt x="349" y="326"/>
                      <a:pt x="349" y="326"/>
                    </a:cubicBezTo>
                    <a:cubicBezTo>
                      <a:pt x="349" y="326"/>
                      <a:pt x="349" y="326"/>
                      <a:pt x="349" y="326"/>
                    </a:cubicBezTo>
                    <a:moveTo>
                      <a:pt x="0" y="0"/>
                    </a:moveTo>
                    <a:cubicBezTo>
                      <a:pt x="27" y="40"/>
                      <a:pt x="71" y="100"/>
                      <a:pt x="123" y="152"/>
                    </a:cubicBezTo>
                    <a:cubicBezTo>
                      <a:pt x="71" y="100"/>
                      <a:pt x="28" y="41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Freeform 181"/>
              <p:cNvSpPr>
                <a:spLocks/>
              </p:cNvSpPr>
              <p:nvPr/>
            </p:nvSpPr>
            <p:spPr bwMode="auto">
              <a:xfrm>
                <a:off x="694255" y="1722217"/>
                <a:ext cx="863720" cy="773440"/>
              </a:xfrm>
              <a:custGeom>
                <a:avLst/>
                <a:gdLst>
                  <a:gd name="T0" fmla="*/ 0 w 364"/>
                  <a:gd name="T1" fmla="*/ 0 h 326"/>
                  <a:gd name="T2" fmla="*/ 0 w 364"/>
                  <a:gd name="T3" fmla="*/ 0 h 326"/>
                  <a:gd name="T4" fmla="*/ 122 w 364"/>
                  <a:gd name="T5" fmla="*/ 152 h 326"/>
                  <a:gd name="T6" fmla="*/ 126 w 364"/>
                  <a:gd name="T7" fmla="*/ 156 h 326"/>
                  <a:gd name="T8" fmla="*/ 348 w 364"/>
                  <a:gd name="T9" fmla="*/ 326 h 326"/>
                  <a:gd name="T10" fmla="*/ 348 w 364"/>
                  <a:gd name="T11" fmla="*/ 326 h 326"/>
                  <a:gd name="T12" fmla="*/ 348 w 364"/>
                  <a:gd name="T13" fmla="*/ 326 h 326"/>
                  <a:gd name="T14" fmla="*/ 364 w 364"/>
                  <a:gd name="T15" fmla="*/ 297 h 326"/>
                  <a:gd name="T16" fmla="*/ 349 w 364"/>
                  <a:gd name="T17" fmla="*/ 288 h 326"/>
                  <a:gd name="T18" fmla="*/ 341 w 364"/>
                  <a:gd name="T19" fmla="*/ 302 h 326"/>
                  <a:gd name="T20" fmla="*/ 143 w 364"/>
                  <a:gd name="T21" fmla="*/ 147 h 326"/>
                  <a:gd name="T22" fmla="*/ 77 w 364"/>
                  <a:gd name="T23" fmla="*/ 79 h 326"/>
                  <a:gd name="T24" fmla="*/ 0 w 364"/>
                  <a:gd name="T25" fmla="*/ 0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4" h="326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7" y="41"/>
                      <a:pt x="70" y="100"/>
                      <a:pt x="122" y="152"/>
                    </a:cubicBezTo>
                    <a:cubicBezTo>
                      <a:pt x="123" y="153"/>
                      <a:pt x="125" y="155"/>
                      <a:pt x="126" y="156"/>
                    </a:cubicBezTo>
                    <a:cubicBezTo>
                      <a:pt x="226" y="253"/>
                      <a:pt x="348" y="326"/>
                      <a:pt x="348" y="326"/>
                    </a:cubicBezTo>
                    <a:cubicBezTo>
                      <a:pt x="348" y="326"/>
                      <a:pt x="348" y="326"/>
                      <a:pt x="348" y="326"/>
                    </a:cubicBezTo>
                    <a:cubicBezTo>
                      <a:pt x="348" y="326"/>
                      <a:pt x="348" y="326"/>
                      <a:pt x="348" y="326"/>
                    </a:cubicBezTo>
                    <a:cubicBezTo>
                      <a:pt x="364" y="297"/>
                      <a:pt x="364" y="297"/>
                      <a:pt x="364" y="297"/>
                    </a:cubicBezTo>
                    <a:cubicBezTo>
                      <a:pt x="364" y="297"/>
                      <a:pt x="359" y="294"/>
                      <a:pt x="349" y="288"/>
                    </a:cubicBezTo>
                    <a:cubicBezTo>
                      <a:pt x="341" y="302"/>
                      <a:pt x="341" y="302"/>
                      <a:pt x="341" y="302"/>
                    </a:cubicBezTo>
                    <a:cubicBezTo>
                      <a:pt x="341" y="302"/>
                      <a:pt x="242" y="244"/>
                      <a:pt x="143" y="147"/>
                    </a:cubicBezTo>
                    <a:cubicBezTo>
                      <a:pt x="120" y="125"/>
                      <a:pt x="98" y="101"/>
                      <a:pt x="77" y="79"/>
                    </a:cubicBezTo>
                    <a:cubicBezTo>
                      <a:pt x="47" y="49"/>
                      <a:pt x="20" y="21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182"/>
              <p:cNvSpPr>
                <a:spLocks/>
              </p:cNvSpPr>
              <p:nvPr/>
            </p:nvSpPr>
            <p:spPr bwMode="auto">
              <a:xfrm>
                <a:off x="623289" y="1570404"/>
                <a:ext cx="654864" cy="675974"/>
              </a:xfrm>
              <a:custGeom>
                <a:avLst/>
                <a:gdLst>
                  <a:gd name="T0" fmla="*/ 20 w 276"/>
                  <a:gd name="T1" fmla="*/ 0 h 285"/>
                  <a:gd name="T2" fmla="*/ 0 w 276"/>
                  <a:gd name="T3" fmla="*/ 16 h 285"/>
                  <a:gd name="T4" fmla="*/ 107 w 276"/>
                  <a:gd name="T5" fmla="*/ 143 h 285"/>
                  <a:gd name="T6" fmla="*/ 164 w 276"/>
                  <a:gd name="T7" fmla="*/ 197 h 285"/>
                  <a:gd name="T8" fmla="*/ 276 w 276"/>
                  <a:gd name="T9" fmla="*/ 285 h 285"/>
                  <a:gd name="T10" fmla="*/ 191 w 276"/>
                  <a:gd name="T11" fmla="*/ 205 h 285"/>
                  <a:gd name="T12" fmla="*/ 83 w 276"/>
                  <a:gd name="T13" fmla="*/ 76 h 285"/>
                  <a:gd name="T14" fmla="*/ 20 w 276"/>
                  <a:gd name="T15" fmla="*/ 0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6" h="285">
                    <a:moveTo>
                      <a:pt x="20" y="0"/>
                    </a:move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46" y="76"/>
                      <a:pt x="107" y="143"/>
                    </a:cubicBezTo>
                    <a:cubicBezTo>
                      <a:pt x="126" y="161"/>
                      <a:pt x="146" y="180"/>
                      <a:pt x="164" y="197"/>
                    </a:cubicBezTo>
                    <a:cubicBezTo>
                      <a:pt x="201" y="230"/>
                      <a:pt x="241" y="260"/>
                      <a:pt x="276" y="285"/>
                    </a:cubicBezTo>
                    <a:cubicBezTo>
                      <a:pt x="251" y="262"/>
                      <a:pt x="222" y="235"/>
                      <a:pt x="191" y="205"/>
                    </a:cubicBezTo>
                    <a:cubicBezTo>
                      <a:pt x="148" y="163"/>
                      <a:pt x="111" y="115"/>
                      <a:pt x="83" y="76"/>
                    </a:cubicBezTo>
                    <a:cubicBezTo>
                      <a:pt x="46" y="33"/>
                      <a:pt x="20" y="0"/>
                      <a:pt x="2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Freeform 183"/>
              <p:cNvSpPr>
                <a:spLocks/>
              </p:cNvSpPr>
              <p:nvPr/>
            </p:nvSpPr>
            <p:spPr bwMode="auto">
              <a:xfrm>
                <a:off x="877060" y="1909514"/>
                <a:ext cx="626567" cy="529101"/>
              </a:xfrm>
              <a:custGeom>
                <a:avLst/>
                <a:gdLst>
                  <a:gd name="T0" fmla="*/ 0 w 264"/>
                  <a:gd name="T1" fmla="*/ 0 h 223"/>
                  <a:gd name="T2" fmla="*/ 66 w 264"/>
                  <a:gd name="T3" fmla="*/ 68 h 223"/>
                  <a:gd name="T4" fmla="*/ 264 w 264"/>
                  <a:gd name="T5" fmla="*/ 223 h 223"/>
                  <a:gd name="T6" fmla="*/ 169 w 264"/>
                  <a:gd name="T7" fmla="*/ 142 h 223"/>
                  <a:gd name="T8" fmla="*/ 57 w 264"/>
                  <a:gd name="T9" fmla="*/ 54 h 223"/>
                  <a:gd name="T10" fmla="*/ 0 w 264"/>
                  <a:gd name="T11" fmla="*/ 0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4" h="223">
                    <a:moveTo>
                      <a:pt x="0" y="0"/>
                    </a:moveTo>
                    <a:cubicBezTo>
                      <a:pt x="21" y="22"/>
                      <a:pt x="43" y="46"/>
                      <a:pt x="66" y="68"/>
                    </a:cubicBezTo>
                    <a:cubicBezTo>
                      <a:pt x="165" y="165"/>
                      <a:pt x="264" y="223"/>
                      <a:pt x="264" y="223"/>
                    </a:cubicBezTo>
                    <a:cubicBezTo>
                      <a:pt x="264" y="223"/>
                      <a:pt x="225" y="193"/>
                      <a:pt x="169" y="142"/>
                    </a:cubicBezTo>
                    <a:cubicBezTo>
                      <a:pt x="134" y="117"/>
                      <a:pt x="94" y="87"/>
                      <a:pt x="57" y="54"/>
                    </a:cubicBezTo>
                    <a:cubicBezTo>
                      <a:pt x="39" y="37"/>
                      <a:pt x="19" y="18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184"/>
              <p:cNvSpPr>
                <a:spLocks/>
              </p:cNvSpPr>
              <p:nvPr/>
            </p:nvSpPr>
            <p:spPr bwMode="auto">
              <a:xfrm>
                <a:off x="704137" y="1570404"/>
                <a:ext cx="830033" cy="816109"/>
              </a:xfrm>
              <a:custGeom>
                <a:avLst/>
                <a:gdLst>
                  <a:gd name="T0" fmla="*/ 0 w 350"/>
                  <a:gd name="T1" fmla="*/ 0 h 344"/>
                  <a:gd name="T2" fmla="*/ 49 w 350"/>
                  <a:gd name="T3" fmla="*/ 76 h 344"/>
                  <a:gd name="T4" fmla="*/ 151 w 350"/>
                  <a:gd name="T5" fmla="*/ 183 h 344"/>
                  <a:gd name="T6" fmla="*/ 350 w 350"/>
                  <a:gd name="T7" fmla="*/ 344 h 344"/>
                  <a:gd name="T8" fmla="*/ 350 w 350"/>
                  <a:gd name="T9" fmla="*/ 344 h 344"/>
                  <a:gd name="T10" fmla="*/ 216 w 350"/>
                  <a:gd name="T11" fmla="*/ 219 h 344"/>
                  <a:gd name="T12" fmla="*/ 180 w 350"/>
                  <a:gd name="T13" fmla="*/ 186 h 344"/>
                  <a:gd name="T14" fmla="*/ 0 w 350"/>
                  <a:gd name="T15" fmla="*/ 0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0" h="344">
                    <a:moveTo>
                      <a:pt x="0" y="0"/>
                    </a:moveTo>
                    <a:cubicBezTo>
                      <a:pt x="0" y="0"/>
                      <a:pt x="19" y="32"/>
                      <a:pt x="49" y="76"/>
                    </a:cubicBezTo>
                    <a:cubicBezTo>
                      <a:pt x="78" y="108"/>
                      <a:pt x="114" y="147"/>
                      <a:pt x="151" y="183"/>
                    </a:cubicBezTo>
                    <a:cubicBezTo>
                      <a:pt x="253" y="280"/>
                      <a:pt x="350" y="344"/>
                      <a:pt x="350" y="344"/>
                    </a:cubicBezTo>
                    <a:cubicBezTo>
                      <a:pt x="350" y="344"/>
                      <a:pt x="350" y="344"/>
                      <a:pt x="350" y="344"/>
                    </a:cubicBezTo>
                    <a:cubicBezTo>
                      <a:pt x="350" y="344"/>
                      <a:pt x="291" y="292"/>
                      <a:pt x="216" y="219"/>
                    </a:cubicBezTo>
                    <a:cubicBezTo>
                      <a:pt x="204" y="209"/>
                      <a:pt x="192" y="198"/>
                      <a:pt x="180" y="186"/>
                    </a:cubicBezTo>
                    <a:cubicBezTo>
                      <a:pt x="86" y="99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Freeform 185"/>
              <p:cNvSpPr>
                <a:spLocks/>
              </p:cNvSpPr>
              <p:nvPr/>
            </p:nvSpPr>
            <p:spPr bwMode="auto">
              <a:xfrm>
                <a:off x="820018" y="1750963"/>
                <a:ext cx="714152" cy="652169"/>
              </a:xfrm>
              <a:custGeom>
                <a:avLst/>
                <a:gdLst>
                  <a:gd name="T0" fmla="*/ 0 w 301"/>
                  <a:gd name="T1" fmla="*/ 0 h 275"/>
                  <a:gd name="T2" fmla="*/ 0 w 301"/>
                  <a:gd name="T3" fmla="*/ 0 h 275"/>
                  <a:gd name="T4" fmla="*/ 102 w 301"/>
                  <a:gd name="T5" fmla="*/ 107 h 275"/>
                  <a:gd name="T6" fmla="*/ 297 w 301"/>
                  <a:gd name="T7" fmla="*/ 275 h 275"/>
                  <a:gd name="T8" fmla="*/ 301 w 301"/>
                  <a:gd name="T9" fmla="*/ 268 h 275"/>
                  <a:gd name="T10" fmla="*/ 102 w 301"/>
                  <a:gd name="T11" fmla="*/ 107 h 275"/>
                  <a:gd name="T12" fmla="*/ 0 w 301"/>
                  <a:gd name="T13" fmla="*/ 0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1" h="275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9" y="32"/>
                      <a:pt x="65" y="71"/>
                      <a:pt x="102" y="107"/>
                    </a:cubicBezTo>
                    <a:cubicBezTo>
                      <a:pt x="182" y="183"/>
                      <a:pt x="265" y="249"/>
                      <a:pt x="297" y="275"/>
                    </a:cubicBezTo>
                    <a:cubicBezTo>
                      <a:pt x="301" y="268"/>
                      <a:pt x="301" y="268"/>
                      <a:pt x="301" y="268"/>
                    </a:cubicBezTo>
                    <a:cubicBezTo>
                      <a:pt x="301" y="268"/>
                      <a:pt x="204" y="204"/>
                      <a:pt x="102" y="107"/>
                    </a:cubicBezTo>
                    <a:cubicBezTo>
                      <a:pt x="65" y="71"/>
                      <a:pt x="29" y="32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Freeform 186"/>
              <p:cNvSpPr>
                <a:spLocks/>
              </p:cNvSpPr>
              <p:nvPr/>
            </p:nvSpPr>
            <p:spPr bwMode="auto">
              <a:xfrm>
                <a:off x="820018" y="1750963"/>
                <a:ext cx="704720" cy="654415"/>
              </a:xfrm>
              <a:custGeom>
                <a:avLst/>
                <a:gdLst>
                  <a:gd name="T0" fmla="*/ 0 w 297"/>
                  <a:gd name="T1" fmla="*/ 0 h 276"/>
                  <a:gd name="T2" fmla="*/ 108 w 297"/>
                  <a:gd name="T3" fmla="*/ 129 h 276"/>
                  <a:gd name="T4" fmla="*/ 193 w 297"/>
                  <a:gd name="T5" fmla="*/ 209 h 276"/>
                  <a:gd name="T6" fmla="*/ 296 w 297"/>
                  <a:gd name="T7" fmla="*/ 276 h 276"/>
                  <a:gd name="T8" fmla="*/ 297 w 297"/>
                  <a:gd name="T9" fmla="*/ 275 h 276"/>
                  <a:gd name="T10" fmla="*/ 102 w 297"/>
                  <a:gd name="T11" fmla="*/ 107 h 276"/>
                  <a:gd name="T12" fmla="*/ 0 w 297"/>
                  <a:gd name="T13" fmla="*/ 0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7" h="276">
                    <a:moveTo>
                      <a:pt x="0" y="0"/>
                    </a:moveTo>
                    <a:cubicBezTo>
                      <a:pt x="28" y="39"/>
                      <a:pt x="65" y="87"/>
                      <a:pt x="108" y="129"/>
                    </a:cubicBezTo>
                    <a:cubicBezTo>
                      <a:pt x="139" y="159"/>
                      <a:pt x="168" y="186"/>
                      <a:pt x="193" y="209"/>
                    </a:cubicBezTo>
                    <a:cubicBezTo>
                      <a:pt x="237" y="241"/>
                      <a:pt x="276" y="264"/>
                      <a:pt x="296" y="276"/>
                    </a:cubicBezTo>
                    <a:cubicBezTo>
                      <a:pt x="297" y="275"/>
                      <a:pt x="297" y="275"/>
                      <a:pt x="297" y="275"/>
                    </a:cubicBezTo>
                    <a:cubicBezTo>
                      <a:pt x="265" y="249"/>
                      <a:pt x="182" y="183"/>
                      <a:pt x="102" y="107"/>
                    </a:cubicBezTo>
                    <a:cubicBezTo>
                      <a:pt x="65" y="71"/>
                      <a:pt x="29" y="32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187"/>
              <p:cNvSpPr>
                <a:spLocks/>
              </p:cNvSpPr>
              <p:nvPr/>
            </p:nvSpPr>
            <p:spPr bwMode="auto">
              <a:xfrm>
                <a:off x="1278153" y="2246378"/>
                <a:ext cx="244339" cy="192237"/>
              </a:xfrm>
              <a:custGeom>
                <a:avLst/>
                <a:gdLst>
                  <a:gd name="T0" fmla="*/ 0 w 103"/>
                  <a:gd name="T1" fmla="*/ 0 h 81"/>
                  <a:gd name="T2" fmla="*/ 95 w 103"/>
                  <a:gd name="T3" fmla="*/ 81 h 81"/>
                  <a:gd name="T4" fmla="*/ 103 w 103"/>
                  <a:gd name="T5" fmla="*/ 67 h 81"/>
                  <a:gd name="T6" fmla="*/ 0 w 103"/>
                  <a:gd name="T7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3" h="81">
                    <a:moveTo>
                      <a:pt x="0" y="0"/>
                    </a:moveTo>
                    <a:cubicBezTo>
                      <a:pt x="56" y="51"/>
                      <a:pt x="95" y="81"/>
                      <a:pt x="95" y="81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83" y="55"/>
                      <a:pt x="44" y="32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Freeform 188"/>
              <p:cNvSpPr>
                <a:spLocks/>
              </p:cNvSpPr>
              <p:nvPr/>
            </p:nvSpPr>
            <p:spPr bwMode="auto">
              <a:xfrm>
                <a:off x="846069" y="1675056"/>
                <a:ext cx="752330" cy="697084"/>
              </a:xfrm>
              <a:custGeom>
                <a:avLst/>
                <a:gdLst>
                  <a:gd name="T0" fmla="*/ 0 w 317"/>
                  <a:gd name="T1" fmla="*/ 0 h 294"/>
                  <a:gd name="T2" fmla="*/ 100 w 317"/>
                  <a:gd name="T3" fmla="*/ 119 h 294"/>
                  <a:gd name="T4" fmla="*/ 156 w 317"/>
                  <a:gd name="T5" fmla="*/ 175 h 294"/>
                  <a:gd name="T6" fmla="*/ 317 w 317"/>
                  <a:gd name="T7" fmla="*/ 294 h 294"/>
                  <a:gd name="T8" fmla="*/ 115 w 317"/>
                  <a:gd name="T9" fmla="*/ 125 h 294"/>
                  <a:gd name="T10" fmla="*/ 0 w 317"/>
                  <a:gd name="T11" fmla="*/ 0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7" h="294">
                    <a:moveTo>
                      <a:pt x="0" y="0"/>
                    </a:moveTo>
                    <a:cubicBezTo>
                      <a:pt x="24" y="34"/>
                      <a:pt x="59" y="78"/>
                      <a:pt x="100" y="119"/>
                    </a:cubicBezTo>
                    <a:cubicBezTo>
                      <a:pt x="119" y="139"/>
                      <a:pt x="138" y="158"/>
                      <a:pt x="156" y="175"/>
                    </a:cubicBezTo>
                    <a:cubicBezTo>
                      <a:pt x="243" y="250"/>
                      <a:pt x="317" y="294"/>
                      <a:pt x="317" y="294"/>
                    </a:cubicBezTo>
                    <a:cubicBezTo>
                      <a:pt x="317" y="294"/>
                      <a:pt x="214" y="224"/>
                      <a:pt x="115" y="125"/>
                    </a:cubicBezTo>
                    <a:cubicBezTo>
                      <a:pt x="71" y="81"/>
                      <a:pt x="31" y="35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189"/>
              <p:cNvSpPr>
                <a:spLocks/>
              </p:cNvSpPr>
              <p:nvPr/>
            </p:nvSpPr>
            <p:spPr bwMode="auto">
              <a:xfrm>
                <a:off x="704137" y="1542107"/>
                <a:ext cx="512033" cy="547965"/>
              </a:xfrm>
              <a:custGeom>
                <a:avLst/>
                <a:gdLst>
                  <a:gd name="T0" fmla="*/ 14 w 216"/>
                  <a:gd name="T1" fmla="*/ 0 h 231"/>
                  <a:gd name="T2" fmla="*/ 0 w 216"/>
                  <a:gd name="T3" fmla="*/ 12 h 231"/>
                  <a:gd name="T4" fmla="*/ 180 w 216"/>
                  <a:gd name="T5" fmla="*/ 198 h 231"/>
                  <a:gd name="T6" fmla="*/ 216 w 216"/>
                  <a:gd name="T7" fmla="*/ 231 h 231"/>
                  <a:gd name="T8" fmla="*/ 160 w 216"/>
                  <a:gd name="T9" fmla="*/ 175 h 231"/>
                  <a:gd name="T10" fmla="*/ 60 w 216"/>
                  <a:gd name="T11" fmla="*/ 56 h 231"/>
                  <a:gd name="T12" fmla="*/ 14 w 216"/>
                  <a:gd name="T13" fmla="*/ 0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6" h="231">
                    <a:moveTo>
                      <a:pt x="14" y="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86" y="111"/>
                      <a:pt x="180" y="198"/>
                    </a:cubicBezTo>
                    <a:cubicBezTo>
                      <a:pt x="192" y="210"/>
                      <a:pt x="204" y="221"/>
                      <a:pt x="216" y="231"/>
                    </a:cubicBezTo>
                    <a:cubicBezTo>
                      <a:pt x="198" y="214"/>
                      <a:pt x="179" y="195"/>
                      <a:pt x="160" y="175"/>
                    </a:cubicBezTo>
                    <a:cubicBezTo>
                      <a:pt x="119" y="134"/>
                      <a:pt x="84" y="90"/>
                      <a:pt x="60" y="56"/>
                    </a:cubicBezTo>
                    <a:cubicBezTo>
                      <a:pt x="39" y="31"/>
                      <a:pt x="23" y="11"/>
                      <a:pt x="14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Freeform 190"/>
              <p:cNvSpPr>
                <a:spLocks/>
              </p:cNvSpPr>
              <p:nvPr/>
            </p:nvSpPr>
            <p:spPr bwMode="auto">
              <a:xfrm>
                <a:off x="723001" y="1523243"/>
                <a:ext cx="16619" cy="18864"/>
              </a:xfrm>
              <a:custGeom>
                <a:avLst/>
                <a:gdLst>
                  <a:gd name="T0" fmla="*/ 0 w 7"/>
                  <a:gd name="T1" fmla="*/ 0 h 8"/>
                  <a:gd name="T2" fmla="*/ 6 w 7"/>
                  <a:gd name="T3" fmla="*/ 8 h 8"/>
                  <a:gd name="T4" fmla="*/ 7 w 7"/>
                  <a:gd name="T5" fmla="*/ 8 h 8"/>
                  <a:gd name="T6" fmla="*/ 0 w 7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8">
                    <a:moveTo>
                      <a:pt x="0" y="0"/>
                    </a:moveTo>
                    <a:cubicBezTo>
                      <a:pt x="0" y="0"/>
                      <a:pt x="2" y="3"/>
                      <a:pt x="6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2" y="3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Freeform 191"/>
              <p:cNvSpPr>
                <a:spLocks/>
              </p:cNvSpPr>
              <p:nvPr/>
            </p:nvSpPr>
            <p:spPr bwMode="auto">
              <a:xfrm>
                <a:off x="1548543" y="2229759"/>
                <a:ext cx="92525" cy="71415"/>
              </a:xfrm>
              <a:custGeom>
                <a:avLst/>
                <a:gdLst>
                  <a:gd name="T0" fmla="*/ 1 w 39"/>
                  <a:gd name="T1" fmla="*/ 0 h 30"/>
                  <a:gd name="T2" fmla="*/ 0 w 39"/>
                  <a:gd name="T3" fmla="*/ 2 h 30"/>
                  <a:gd name="T4" fmla="*/ 39 w 39"/>
                  <a:gd name="T5" fmla="*/ 30 h 30"/>
                  <a:gd name="T6" fmla="*/ 39 w 39"/>
                  <a:gd name="T7" fmla="*/ 30 h 30"/>
                  <a:gd name="T8" fmla="*/ 1 w 39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0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4" y="20"/>
                      <a:pt x="39" y="30"/>
                      <a:pt x="39" y="30"/>
                    </a:cubicBezTo>
                    <a:cubicBezTo>
                      <a:pt x="39" y="30"/>
                      <a:pt x="39" y="30"/>
                      <a:pt x="39" y="30"/>
                    </a:cubicBezTo>
                    <a:cubicBezTo>
                      <a:pt x="39" y="30"/>
                      <a:pt x="25" y="19"/>
                      <a:pt x="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192"/>
              <p:cNvSpPr>
                <a:spLocks/>
              </p:cNvSpPr>
              <p:nvPr/>
            </p:nvSpPr>
            <p:spPr bwMode="auto">
              <a:xfrm>
                <a:off x="1548543" y="2229759"/>
                <a:ext cx="2246" cy="4941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2 h 2"/>
                  <a:gd name="T4" fmla="*/ 0 w 1"/>
                  <a:gd name="T5" fmla="*/ 2 h 2"/>
                  <a:gd name="T6" fmla="*/ 1 w 1"/>
                  <a:gd name="T7" fmla="*/ 0 h 2"/>
                  <a:gd name="T8" fmla="*/ 1 w 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193"/>
              <p:cNvSpPr>
                <a:spLocks/>
              </p:cNvSpPr>
              <p:nvPr/>
            </p:nvSpPr>
            <p:spPr bwMode="auto">
              <a:xfrm>
                <a:off x="798908" y="1603641"/>
                <a:ext cx="842160" cy="768499"/>
              </a:xfrm>
              <a:custGeom>
                <a:avLst/>
                <a:gdLst>
                  <a:gd name="T0" fmla="*/ 0 w 355"/>
                  <a:gd name="T1" fmla="*/ 0 h 324"/>
                  <a:gd name="T2" fmla="*/ 20 w 355"/>
                  <a:gd name="T3" fmla="*/ 30 h 324"/>
                  <a:gd name="T4" fmla="*/ 135 w 355"/>
                  <a:gd name="T5" fmla="*/ 155 h 324"/>
                  <a:gd name="T6" fmla="*/ 337 w 355"/>
                  <a:gd name="T7" fmla="*/ 324 h 324"/>
                  <a:gd name="T8" fmla="*/ 355 w 355"/>
                  <a:gd name="T9" fmla="*/ 294 h 324"/>
                  <a:gd name="T10" fmla="*/ 316 w 355"/>
                  <a:gd name="T11" fmla="*/ 266 h 324"/>
                  <a:gd name="T12" fmla="*/ 308 w 355"/>
                  <a:gd name="T13" fmla="*/ 274 h 324"/>
                  <a:gd name="T14" fmla="*/ 140 w 355"/>
                  <a:gd name="T15" fmla="*/ 137 h 324"/>
                  <a:gd name="T16" fmla="*/ 0 w 355"/>
                  <a:gd name="T17" fmla="*/ 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5" h="324">
                    <a:moveTo>
                      <a:pt x="0" y="0"/>
                    </a:moveTo>
                    <a:cubicBezTo>
                      <a:pt x="6" y="9"/>
                      <a:pt x="13" y="19"/>
                      <a:pt x="20" y="30"/>
                    </a:cubicBezTo>
                    <a:cubicBezTo>
                      <a:pt x="51" y="65"/>
                      <a:pt x="91" y="111"/>
                      <a:pt x="135" y="155"/>
                    </a:cubicBezTo>
                    <a:cubicBezTo>
                      <a:pt x="234" y="254"/>
                      <a:pt x="337" y="324"/>
                      <a:pt x="337" y="324"/>
                    </a:cubicBezTo>
                    <a:cubicBezTo>
                      <a:pt x="355" y="294"/>
                      <a:pt x="355" y="294"/>
                      <a:pt x="355" y="294"/>
                    </a:cubicBezTo>
                    <a:cubicBezTo>
                      <a:pt x="355" y="294"/>
                      <a:pt x="340" y="284"/>
                      <a:pt x="316" y="266"/>
                    </a:cubicBezTo>
                    <a:cubicBezTo>
                      <a:pt x="308" y="274"/>
                      <a:pt x="308" y="274"/>
                      <a:pt x="308" y="274"/>
                    </a:cubicBezTo>
                    <a:cubicBezTo>
                      <a:pt x="308" y="274"/>
                      <a:pt x="243" y="231"/>
                      <a:pt x="140" y="137"/>
                    </a:cubicBezTo>
                    <a:cubicBezTo>
                      <a:pt x="83" y="86"/>
                      <a:pt x="32" y="34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Freeform 194"/>
              <p:cNvSpPr>
                <a:spLocks/>
              </p:cNvSpPr>
              <p:nvPr/>
            </p:nvSpPr>
            <p:spPr bwMode="auto">
              <a:xfrm>
                <a:off x="1529678" y="2234700"/>
                <a:ext cx="18864" cy="18864"/>
              </a:xfrm>
              <a:custGeom>
                <a:avLst/>
                <a:gdLst>
                  <a:gd name="T0" fmla="*/ 8 w 8"/>
                  <a:gd name="T1" fmla="*/ 0 h 8"/>
                  <a:gd name="T2" fmla="*/ 0 w 8"/>
                  <a:gd name="T3" fmla="*/ 8 h 8"/>
                  <a:gd name="T4" fmla="*/ 0 w 8"/>
                  <a:gd name="T5" fmla="*/ 8 h 8"/>
                  <a:gd name="T6" fmla="*/ 0 w 8"/>
                  <a:gd name="T7" fmla="*/ 8 h 8"/>
                  <a:gd name="T8" fmla="*/ 8 w 8"/>
                  <a:gd name="T9" fmla="*/ 0 h 8"/>
                  <a:gd name="T10" fmla="*/ 8 w 8"/>
                  <a:gd name="T1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8" y="0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Freeform 195"/>
              <p:cNvSpPr>
                <a:spLocks/>
              </p:cNvSpPr>
              <p:nvPr/>
            </p:nvSpPr>
            <p:spPr bwMode="auto">
              <a:xfrm>
                <a:off x="736925" y="1542107"/>
                <a:ext cx="109144" cy="132949"/>
              </a:xfrm>
              <a:custGeom>
                <a:avLst/>
                <a:gdLst>
                  <a:gd name="T0" fmla="*/ 1 w 46"/>
                  <a:gd name="T1" fmla="*/ 0 h 56"/>
                  <a:gd name="T2" fmla="*/ 0 w 46"/>
                  <a:gd name="T3" fmla="*/ 0 h 56"/>
                  <a:gd name="T4" fmla="*/ 46 w 46"/>
                  <a:gd name="T5" fmla="*/ 56 h 56"/>
                  <a:gd name="T6" fmla="*/ 26 w 46"/>
                  <a:gd name="T7" fmla="*/ 26 h 56"/>
                  <a:gd name="T8" fmla="*/ 1 w 46"/>
                  <a:gd name="T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56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" y="11"/>
                      <a:pt x="25" y="31"/>
                      <a:pt x="46" y="56"/>
                    </a:cubicBezTo>
                    <a:cubicBezTo>
                      <a:pt x="39" y="45"/>
                      <a:pt x="32" y="35"/>
                      <a:pt x="26" y="26"/>
                    </a:cubicBezTo>
                    <a:cubicBezTo>
                      <a:pt x="15" y="15"/>
                      <a:pt x="7" y="6"/>
                      <a:pt x="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Freeform 196"/>
              <p:cNvSpPr>
                <a:spLocks/>
              </p:cNvSpPr>
              <p:nvPr/>
            </p:nvSpPr>
            <p:spPr bwMode="auto">
              <a:xfrm>
                <a:off x="917484" y="1594209"/>
                <a:ext cx="16619" cy="16619"/>
              </a:xfrm>
              <a:custGeom>
                <a:avLst/>
                <a:gdLst>
                  <a:gd name="T0" fmla="*/ 0 w 7"/>
                  <a:gd name="T1" fmla="*/ 0 h 7"/>
                  <a:gd name="T2" fmla="*/ 7 w 7"/>
                  <a:gd name="T3" fmla="*/ 7 h 7"/>
                  <a:gd name="T4" fmla="*/ 7 w 7"/>
                  <a:gd name="T5" fmla="*/ 7 h 7"/>
                  <a:gd name="T6" fmla="*/ 0 w 7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7">
                    <a:moveTo>
                      <a:pt x="0" y="0"/>
                    </a:moveTo>
                    <a:cubicBezTo>
                      <a:pt x="2" y="2"/>
                      <a:pt x="4" y="4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4" y="4"/>
                      <a:pt x="2" y="2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197"/>
              <p:cNvSpPr>
                <a:spLocks/>
              </p:cNvSpPr>
              <p:nvPr/>
            </p:nvSpPr>
            <p:spPr bwMode="auto">
              <a:xfrm>
                <a:off x="793967" y="1463955"/>
                <a:ext cx="249279" cy="308118"/>
              </a:xfrm>
              <a:custGeom>
                <a:avLst/>
                <a:gdLst>
                  <a:gd name="T0" fmla="*/ 0 w 105"/>
                  <a:gd name="T1" fmla="*/ 0 h 130"/>
                  <a:gd name="T2" fmla="*/ 105 w 105"/>
                  <a:gd name="T3" fmla="*/ 130 h 130"/>
                  <a:gd name="T4" fmla="*/ 59 w 105"/>
                  <a:gd name="T5" fmla="*/ 62 h 130"/>
                  <a:gd name="T6" fmla="*/ 52 w 105"/>
                  <a:gd name="T7" fmla="*/ 55 h 130"/>
                  <a:gd name="T8" fmla="*/ 0 w 105"/>
                  <a:gd name="T9" fmla="*/ 0 h 130"/>
                  <a:gd name="T10" fmla="*/ 0 w 105"/>
                  <a:gd name="T11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5" h="130">
                    <a:moveTo>
                      <a:pt x="0" y="0"/>
                    </a:moveTo>
                    <a:cubicBezTo>
                      <a:pt x="0" y="0"/>
                      <a:pt x="45" y="63"/>
                      <a:pt x="105" y="130"/>
                    </a:cubicBezTo>
                    <a:cubicBezTo>
                      <a:pt x="86" y="104"/>
                      <a:pt x="71" y="81"/>
                      <a:pt x="59" y="62"/>
                    </a:cubicBezTo>
                    <a:cubicBezTo>
                      <a:pt x="56" y="59"/>
                      <a:pt x="54" y="57"/>
                      <a:pt x="52" y="55"/>
                    </a:cubicBezTo>
                    <a:cubicBezTo>
                      <a:pt x="20" y="23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Oval 198"/>
              <p:cNvSpPr>
                <a:spLocks noChangeArrowheads="1"/>
              </p:cNvSpPr>
              <p:nvPr/>
            </p:nvSpPr>
            <p:spPr bwMode="auto">
              <a:xfrm>
                <a:off x="1598399" y="2170471"/>
                <a:ext cx="449" cy="44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199"/>
              <p:cNvSpPr>
                <a:spLocks/>
              </p:cNvSpPr>
              <p:nvPr/>
            </p:nvSpPr>
            <p:spPr bwMode="auto">
              <a:xfrm>
                <a:off x="1550789" y="2170471"/>
                <a:ext cx="47610" cy="59288"/>
              </a:xfrm>
              <a:custGeom>
                <a:avLst/>
                <a:gdLst>
                  <a:gd name="T0" fmla="*/ 20 w 20"/>
                  <a:gd name="T1" fmla="*/ 0 h 25"/>
                  <a:gd name="T2" fmla="*/ 0 w 20"/>
                  <a:gd name="T3" fmla="*/ 25 h 25"/>
                  <a:gd name="T4" fmla="*/ 0 w 20"/>
                  <a:gd name="T5" fmla="*/ 25 h 25"/>
                  <a:gd name="T6" fmla="*/ 20 w 20"/>
                  <a:gd name="T7" fmla="*/ 0 h 25"/>
                  <a:gd name="T8" fmla="*/ 20 w 20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5">
                    <a:moveTo>
                      <a:pt x="20" y="0"/>
                    </a:move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200"/>
              <p:cNvSpPr>
                <a:spLocks/>
              </p:cNvSpPr>
              <p:nvPr/>
            </p:nvSpPr>
            <p:spPr bwMode="auto">
              <a:xfrm>
                <a:off x="723001" y="1463955"/>
                <a:ext cx="503050" cy="514728"/>
              </a:xfrm>
              <a:custGeom>
                <a:avLst/>
                <a:gdLst>
                  <a:gd name="T0" fmla="*/ 30 w 212"/>
                  <a:gd name="T1" fmla="*/ 0 h 217"/>
                  <a:gd name="T2" fmla="*/ 0 w 212"/>
                  <a:gd name="T3" fmla="*/ 25 h 217"/>
                  <a:gd name="T4" fmla="*/ 7 w 212"/>
                  <a:gd name="T5" fmla="*/ 33 h 217"/>
                  <a:gd name="T6" fmla="*/ 13 w 212"/>
                  <a:gd name="T7" fmla="*/ 28 h 217"/>
                  <a:gd name="T8" fmla="*/ 182 w 212"/>
                  <a:gd name="T9" fmla="*/ 191 h 217"/>
                  <a:gd name="T10" fmla="*/ 212 w 212"/>
                  <a:gd name="T11" fmla="*/ 217 h 217"/>
                  <a:gd name="T12" fmla="*/ 181 w 212"/>
                  <a:gd name="T13" fmla="*/ 184 h 217"/>
                  <a:gd name="T14" fmla="*/ 135 w 212"/>
                  <a:gd name="T15" fmla="*/ 130 h 217"/>
                  <a:gd name="T16" fmla="*/ 30 w 212"/>
                  <a:gd name="T17" fmla="*/ 0 h 217"/>
                  <a:gd name="T18" fmla="*/ 30 w 212"/>
                  <a:gd name="T19" fmla="*/ 0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2" h="217">
                    <a:moveTo>
                      <a:pt x="30" y="0"/>
                    </a:move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2" y="28"/>
                      <a:pt x="7" y="33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3" y="28"/>
                      <a:pt x="85" y="105"/>
                      <a:pt x="182" y="191"/>
                    </a:cubicBezTo>
                    <a:cubicBezTo>
                      <a:pt x="192" y="200"/>
                      <a:pt x="202" y="209"/>
                      <a:pt x="212" y="217"/>
                    </a:cubicBezTo>
                    <a:cubicBezTo>
                      <a:pt x="202" y="207"/>
                      <a:pt x="192" y="196"/>
                      <a:pt x="181" y="184"/>
                    </a:cubicBezTo>
                    <a:cubicBezTo>
                      <a:pt x="164" y="166"/>
                      <a:pt x="149" y="147"/>
                      <a:pt x="135" y="130"/>
                    </a:cubicBezTo>
                    <a:cubicBezTo>
                      <a:pt x="75" y="63"/>
                      <a:pt x="30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201"/>
              <p:cNvSpPr>
                <a:spLocks/>
              </p:cNvSpPr>
              <p:nvPr/>
            </p:nvSpPr>
            <p:spPr bwMode="auto">
              <a:xfrm>
                <a:off x="1548543" y="2229759"/>
                <a:ext cx="2246" cy="4941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2 h 2"/>
                  <a:gd name="T4" fmla="*/ 0 w 1"/>
                  <a:gd name="T5" fmla="*/ 2 h 2"/>
                  <a:gd name="T6" fmla="*/ 1 w 1"/>
                  <a:gd name="T7" fmla="*/ 0 h 2"/>
                  <a:gd name="T8" fmla="*/ 1 w 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Freeform 202"/>
              <p:cNvSpPr>
                <a:spLocks/>
              </p:cNvSpPr>
              <p:nvPr/>
            </p:nvSpPr>
            <p:spPr bwMode="auto">
              <a:xfrm>
                <a:off x="1226052" y="1978683"/>
                <a:ext cx="322491" cy="274881"/>
              </a:xfrm>
              <a:custGeom>
                <a:avLst/>
                <a:gdLst>
                  <a:gd name="T0" fmla="*/ 0 w 136"/>
                  <a:gd name="T1" fmla="*/ 0 h 116"/>
                  <a:gd name="T2" fmla="*/ 128 w 136"/>
                  <a:gd name="T3" fmla="*/ 116 h 116"/>
                  <a:gd name="T4" fmla="*/ 128 w 136"/>
                  <a:gd name="T5" fmla="*/ 116 h 116"/>
                  <a:gd name="T6" fmla="*/ 136 w 136"/>
                  <a:gd name="T7" fmla="*/ 108 h 116"/>
                  <a:gd name="T8" fmla="*/ 136 w 136"/>
                  <a:gd name="T9" fmla="*/ 108 h 116"/>
                  <a:gd name="T10" fmla="*/ 128 w 136"/>
                  <a:gd name="T11" fmla="*/ 116 h 116"/>
                  <a:gd name="T12" fmla="*/ 0 w 136"/>
                  <a:gd name="T13" fmla="*/ 0 h 116"/>
                  <a:gd name="T14" fmla="*/ 0 w 136"/>
                  <a:gd name="T15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6" h="116">
                    <a:moveTo>
                      <a:pt x="0" y="0"/>
                    </a:moveTo>
                    <a:cubicBezTo>
                      <a:pt x="77" y="80"/>
                      <a:pt x="128" y="116"/>
                      <a:pt x="128" y="116"/>
                    </a:cubicBezTo>
                    <a:cubicBezTo>
                      <a:pt x="128" y="116"/>
                      <a:pt x="128" y="116"/>
                      <a:pt x="128" y="116"/>
                    </a:cubicBezTo>
                    <a:cubicBezTo>
                      <a:pt x="136" y="108"/>
                      <a:pt x="136" y="108"/>
                      <a:pt x="136" y="108"/>
                    </a:cubicBezTo>
                    <a:cubicBezTo>
                      <a:pt x="136" y="108"/>
                      <a:pt x="136" y="108"/>
                      <a:pt x="136" y="108"/>
                    </a:cubicBezTo>
                    <a:cubicBezTo>
                      <a:pt x="128" y="116"/>
                      <a:pt x="128" y="116"/>
                      <a:pt x="128" y="116"/>
                    </a:cubicBezTo>
                    <a:cubicBezTo>
                      <a:pt x="128" y="116"/>
                      <a:pt x="77" y="8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203"/>
              <p:cNvSpPr>
                <a:spLocks/>
              </p:cNvSpPr>
              <p:nvPr/>
            </p:nvSpPr>
            <p:spPr bwMode="auto">
              <a:xfrm>
                <a:off x="739620" y="1529980"/>
                <a:ext cx="59288" cy="73661"/>
              </a:xfrm>
              <a:custGeom>
                <a:avLst/>
                <a:gdLst>
                  <a:gd name="T0" fmla="*/ 6 w 25"/>
                  <a:gd name="T1" fmla="*/ 0 h 31"/>
                  <a:gd name="T2" fmla="*/ 0 w 25"/>
                  <a:gd name="T3" fmla="*/ 5 h 31"/>
                  <a:gd name="T4" fmla="*/ 25 w 25"/>
                  <a:gd name="T5" fmla="*/ 31 h 31"/>
                  <a:gd name="T6" fmla="*/ 6 w 25"/>
                  <a:gd name="T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" h="31">
                    <a:moveTo>
                      <a:pt x="6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6" y="11"/>
                      <a:pt x="14" y="20"/>
                      <a:pt x="25" y="31"/>
                    </a:cubicBezTo>
                    <a:cubicBezTo>
                      <a:pt x="13" y="12"/>
                      <a:pt x="6" y="0"/>
                      <a:pt x="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204"/>
              <p:cNvSpPr>
                <a:spLocks noEditPoints="1"/>
              </p:cNvSpPr>
              <p:nvPr/>
            </p:nvSpPr>
            <p:spPr bwMode="auto">
              <a:xfrm>
                <a:off x="1380111" y="1985420"/>
                <a:ext cx="218288" cy="185051"/>
              </a:xfrm>
              <a:custGeom>
                <a:avLst/>
                <a:gdLst>
                  <a:gd name="T0" fmla="*/ 75 w 92"/>
                  <a:gd name="T1" fmla="*/ 64 h 78"/>
                  <a:gd name="T2" fmla="*/ 86 w 92"/>
                  <a:gd name="T3" fmla="*/ 73 h 78"/>
                  <a:gd name="T4" fmla="*/ 92 w 92"/>
                  <a:gd name="T5" fmla="*/ 78 h 78"/>
                  <a:gd name="T6" fmla="*/ 92 w 92"/>
                  <a:gd name="T7" fmla="*/ 77 h 78"/>
                  <a:gd name="T8" fmla="*/ 75 w 92"/>
                  <a:gd name="T9" fmla="*/ 64 h 78"/>
                  <a:gd name="T10" fmla="*/ 2 w 92"/>
                  <a:gd name="T11" fmla="*/ 0 h 78"/>
                  <a:gd name="T12" fmla="*/ 0 w 92"/>
                  <a:gd name="T13" fmla="*/ 0 h 78"/>
                  <a:gd name="T14" fmla="*/ 35 w 92"/>
                  <a:gd name="T15" fmla="*/ 30 h 78"/>
                  <a:gd name="T16" fmla="*/ 2 w 92"/>
                  <a:gd name="T17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" h="78">
                    <a:moveTo>
                      <a:pt x="75" y="64"/>
                    </a:moveTo>
                    <a:cubicBezTo>
                      <a:pt x="80" y="68"/>
                      <a:pt x="84" y="71"/>
                      <a:pt x="86" y="73"/>
                    </a:cubicBezTo>
                    <a:cubicBezTo>
                      <a:pt x="90" y="76"/>
                      <a:pt x="91" y="77"/>
                      <a:pt x="92" y="78"/>
                    </a:cubicBezTo>
                    <a:cubicBezTo>
                      <a:pt x="92" y="77"/>
                      <a:pt x="92" y="77"/>
                      <a:pt x="92" y="77"/>
                    </a:cubicBezTo>
                    <a:cubicBezTo>
                      <a:pt x="92" y="77"/>
                      <a:pt x="87" y="73"/>
                      <a:pt x="75" y="64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3" y="11"/>
                      <a:pt x="24" y="21"/>
                      <a:pt x="35" y="30"/>
                    </a:cubicBezTo>
                    <a:cubicBezTo>
                      <a:pt x="25" y="21"/>
                      <a:pt x="14" y="11"/>
                      <a:pt x="2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Freeform 205"/>
              <p:cNvSpPr>
                <a:spLocks/>
              </p:cNvSpPr>
              <p:nvPr/>
            </p:nvSpPr>
            <p:spPr bwMode="auto">
              <a:xfrm>
                <a:off x="1154636" y="1767582"/>
                <a:ext cx="229966" cy="217839"/>
              </a:xfrm>
              <a:custGeom>
                <a:avLst/>
                <a:gdLst>
                  <a:gd name="T0" fmla="*/ 0 w 97"/>
                  <a:gd name="T1" fmla="*/ 0 h 92"/>
                  <a:gd name="T2" fmla="*/ 26 w 97"/>
                  <a:gd name="T3" fmla="*/ 29 h 92"/>
                  <a:gd name="T4" fmla="*/ 95 w 97"/>
                  <a:gd name="T5" fmla="*/ 92 h 92"/>
                  <a:gd name="T6" fmla="*/ 97 w 97"/>
                  <a:gd name="T7" fmla="*/ 92 h 92"/>
                  <a:gd name="T8" fmla="*/ 45 w 97"/>
                  <a:gd name="T9" fmla="*/ 42 h 92"/>
                  <a:gd name="T10" fmla="*/ 31 w 97"/>
                  <a:gd name="T11" fmla="*/ 29 h 92"/>
                  <a:gd name="T12" fmla="*/ 0 w 97"/>
                  <a:gd name="T13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" h="92">
                    <a:moveTo>
                      <a:pt x="0" y="0"/>
                    </a:moveTo>
                    <a:cubicBezTo>
                      <a:pt x="9" y="11"/>
                      <a:pt x="18" y="21"/>
                      <a:pt x="26" y="29"/>
                    </a:cubicBezTo>
                    <a:cubicBezTo>
                      <a:pt x="50" y="52"/>
                      <a:pt x="74" y="73"/>
                      <a:pt x="95" y="92"/>
                    </a:cubicBezTo>
                    <a:cubicBezTo>
                      <a:pt x="97" y="92"/>
                      <a:pt x="97" y="92"/>
                      <a:pt x="97" y="92"/>
                    </a:cubicBezTo>
                    <a:cubicBezTo>
                      <a:pt x="81" y="78"/>
                      <a:pt x="64" y="61"/>
                      <a:pt x="45" y="42"/>
                    </a:cubicBezTo>
                    <a:cubicBezTo>
                      <a:pt x="40" y="37"/>
                      <a:pt x="36" y="33"/>
                      <a:pt x="31" y="29"/>
                    </a:cubicBezTo>
                    <a:cubicBezTo>
                      <a:pt x="20" y="19"/>
                      <a:pt x="10" y="9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206"/>
              <p:cNvSpPr>
                <a:spLocks/>
              </p:cNvSpPr>
              <p:nvPr/>
            </p:nvSpPr>
            <p:spPr bwMode="auto">
              <a:xfrm>
                <a:off x="860442" y="1473387"/>
                <a:ext cx="723584" cy="685406"/>
              </a:xfrm>
              <a:custGeom>
                <a:avLst/>
                <a:gdLst>
                  <a:gd name="T0" fmla="*/ 0 w 305"/>
                  <a:gd name="T1" fmla="*/ 0 h 289"/>
                  <a:gd name="T2" fmla="*/ 31 w 305"/>
                  <a:gd name="T3" fmla="*/ 58 h 289"/>
                  <a:gd name="T4" fmla="*/ 176 w 305"/>
                  <a:gd name="T5" fmla="*/ 189 h 289"/>
                  <a:gd name="T6" fmla="*/ 305 w 305"/>
                  <a:gd name="T7" fmla="*/ 289 h 289"/>
                  <a:gd name="T8" fmla="*/ 294 w 305"/>
                  <a:gd name="T9" fmla="*/ 280 h 289"/>
                  <a:gd name="T10" fmla="*/ 254 w 305"/>
                  <a:gd name="T11" fmla="*/ 246 h 289"/>
                  <a:gd name="T12" fmla="*/ 219 w 305"/>
                  <a:gd name="T13" fmla="*/ 216 h 289"/>
                  <a:gd name="T14" fmla="*/ 150 w 305"/>
                  <a:gd name="T15" fmla="*/ 153 h 289"/>
                  <a:gd name="T16" fmla="*/ 124 w 305"/>
                  <a:gd name="T17" fmla="*/ 124 h 289"/>
                  <a:gd name="T18" fmla="*/ 0 w 305"/>
                  <a:gd name="T19" fmla="*/ 0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5" h="289">
                    <a:moveTo>
                      <a:pt x="0" y="0"/>
                    </a:moveTo>
                    <a:cubicBezTo>
                      <a:pt x="0" y="0"/>
                      <a:pt x="9" y="23"/>
                      <a:pt x="31" y="58"/>
                    </a:cubicBezTo>
                    <a:cubicBezTo>
                      <a:pt x="70" y="97"/>
                      <a:pt x="123" y="147"/>
                      <a:pt x="176" y="189"/>
                    </a:cubicBezTo>
                    <a:cubicBezTo>
                      <a:pt x="261" y="255"/>
                      <a:pt x="294" y="280"/>
                      <a:pt x="305" y="289"/>
                    </a:cubicBezTo>
                    <a:cubicBezTo>
                      <a:pt x="303" y="287"/>
                      <a:pt x="299" y="284"/>
                      <a:pt x="294" y="280"/>
                    </a:cubicBezTo>
                    <a:cubicBezTo>
                      <a:pt x="285" y="273"/>
                      <a:pt x="271" y="262"/>
                      <a:pt x="254" y="246"/>
                    </a:cubicBezTo>
                    <a:cubicBezTo>
                      <a:pt x="243" y="237"/>
                      <a:pt x="232" y="227"/>
                      <a:pt x="219" y="216"/>
                    </a:cubicBezTo>
                    <a:cubicBezTo>
                      <a:pt x="198" y="197"/>
                      <a:pt x="174" y="176"/>
                      <a:pt x="150" y="153"/>
                    </a:cubicBezTo>
                    <a:cubicBezTo>
                      <a:pt x="142" y="145"/>
                      <a:pt x="133" y="135"/>
                      <a:pt x="124" y="124"/>
                    </a:cubicBezTo>
                    <a:cubicBezTo>
                      <a:pt x="44" y="49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207"/>
              <p:cNvSpPr>
                <a:spLocks/>
              </p:cNvSpPr>
              <p:nvPr/>
            </p:nvSpPr>
            <p:spPr bwMode="auto">
              <a:xfrm>
                <a:off x="1584026" y="2158793"/>
                <a:ext cx="14373" cy="11678"/>
              </a:xfrm>
              <a:custGeom>
                <a:avLst/>
                <a:gdLst>
                  <a:gd name="T0" fmla="*/ 0 w 6"/>
                  <a:gd name="T1" fmla="*/ 0 h 5"/>
                  <a:gd name="T2" fmla="*/ 6 w 6"/>
                  <a:gd name="T3" fmla="*/ 5 h 5"/>
                  <a:gd name="T4" fmla="*/ 6 w 6"/>
                  <a:gd name="T5" fmla="*/ 5 h 5"/>
                  <a:gd name="T6" fmla="*/ 0 w 6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5">
                    <a:moveTo>
                      <a:pt x="0" y="0"/>
                    </a:moveTo>
                    <a:cubicBezTo>
                      <a:pt x="3" y="2"/>
                      <a:pt x="5" y="4"/>
                      <a:pt x="6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4"/>
                      <a:pt x="4" y="3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Freeform 208"/>
              <p:cNvSpPr>
                <a:spLocks/>
              </p:cNvSpPr>
              <p:nvPr/>
            </p:nvSpPr>
            <p:spPr bwMode="auto">
              <a:xfrm>
                <a:off x="934103" y="1610828"/>
                <a:ext cx="664296" cy="618932"/>
              </a:xfrm>
              <a:custGeom>
                <a:avLst/>
                <a:gdLst>
                  <a:gd name="T0" fmla="*/ 0 w 280"/>
                  <a:gd name="T1" fmla="*/ 0 h 261"/>
                  <a:gd name="T2" fmla="*/ 46 w 280"/>
                  <a:gd name="T3" fmla="*/ 68 h 261"/>
                  <a:gd name="T4" fmla="*/ 103 w 280"/>
                  <a:gd name="T5" fmla="*/ 126 h 261"/>
                  <a:gd name="T6" fmla="*/ 260 w 280"/>
                  <a:gd name="T7" fmla="*/ 261 h 261"/>
                  <a:gd name="T8" fmla="*/ 280 w 280"/>
                  <a:gd name="T9" fmla="*/ 236 h 261"/>
                  <a:gd name="T10" fmla="*/ 274 w 280"/>
                  <a:gd name="T11" fmla="*/ 231 h 261"/>
                  <a:gd name="T12" fmla="*/ 145 w 280"/>
                  <a:gd name="T13" fmla="*/ 131 h 261"/>
                  <a:gd name="T14" fmla="*/ 0 w 280"/>
                  <a:gd name="T15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0" h="261">
                    <a:moveTo>
                      <a:pt x="0" y="0"/>
                    </a:moveTo>
                    <a:cubicBezTo>
                      <a:pt x="12" y="19"/>
                      <a:pt x="27" y="42"/>
                      <a:pt x="46" y="68"/>
                    </a:cubicBezTo>
                    <a:cubicBezTo>
                      <a:pt x="64" y="87"/>
                      <a:pt x="84" y="107"/>
                      <a:pt x="103" y="126"/>
                    </a:cubicBezTo>
                    <a:cubicBezTo>
                      <a:pt x="165" y="185"/>
                      <a:pt x="223" y="233"/>
                      <a:pt x="260" y="261"/>
                    </a:cubicBezTo>
                    <a:cubicBezTo>
                      <a:pt x="280" y="236"/>
                      <a:pt x="280" y="236"/>
                      <a:pt x="280" y="236"/>
                    </a:cubicBezTo>
                    <a:cubicBezTo>
                      <a:pt x="279" y="235"/>
                      <a:pt x="277" y="233"/>
                      <a:pt x="274" y="231"/>
                    </a:cubicBezTo>
                    <a:cubicBezTo>
                      <a:pt x="263" y="222"/>
                      <a:pt x="230" y="197"/>
                      <a:pt x="145" y="131"/>
                    </a:cubicBezTo>
                    <a:cubicBezTo>
                      <a:pt x="92" y="89"/>
                      <a:pt x="39" y="39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209"/>
              <p:cNvSpPr>
                <a:spLocks/>
              </p:cNvSpPr>
              <p:nvPr/>
            </p:nvSpPr>
            <p:spPr bwMode="auto">
              <a:xfrm>
                <a:off x="1043247" y="1772073"/>
                <a:ext cx="507542" cy="462627"/>
              </a:xfrm>
              <a:custGeom>
                <a:avLst/>
                <a:gdLst>
                  <a:gd name="T0" fmla="*/ 0 w 214"/>
                  <a:gd name="T1" fmla="*/ 0 h 195"/>
                  <a:gd name="T2" fmla="*/ 46 w 214"/>
                  <a:gd name="T3" fmla="*/ 54 h 195"/>
                  <a:gd name="T4" fmla="*/ 77 w 214"/>
                  <a:gd name="T5" fmla="*/ 87 h 195"/>
                  <a:gd name="T6" fmla="*/ 213 w 214"/>
                  <a:gd name="T7" fmla="*/ 195 h 195"/>
                  <a:gd name="T8" fmla="*/ 214 w 214"/>
                  <a:gd name="T9" fmla="*/ 193 h 195"/>
                  <a:gd name="T10" fmla="*/ 57 w 214"/>
                  <a:gd name="T11" fmla="*/ 58 h 195"/>
                  <a:gd name="T12" fmla="*/ 0 w 214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4" h="195">
                    <a:moveTo>
                      <a:pt x="0" y="0"/>
                    </a:moveTo>
                    <a:cubicBezTo>
                      <a:pt x="14" y="17"/>
                      <a:pt x="29" y="36"/>
                      <a:pt x="46" y="54"/>
                    </a:cubicBezTo>
                    <a:cubicBezTo>
                      <a:pt x="57" y="66"/>
                      <a:pt x="67" y="77"/>
                      <a:pt x="77" y="87"/>
                    </a:cubicBezTo>
                    <a:cubicBezTo>
                      <a:pt x="130" y="133"/>
                      <a:pt x="180" y="170"/>
                      <a:pt x="213" y="195"/>
                    </a:cubicBezTo>
                    <a:cubicBezTo>
                      <a:pt x="214" y="193"/>
                      <a:pt x="214" y="193"/>
                      <a:pt x="214" y="193"/>
                    </a:cubicBezTo>
                    <a:cubicBezTo>
                      <a:pt x="177" y="165"/>
                      <a:pt x="119" y="117"/>
                      <a:pt x="57" y="58"/>
                    </a:cubicBezTo>
                    <a:cubicBezTo>
                      <a:pt x="38" y="39"/>
                      <a:pt x="18" y="19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210"/>
              <p:cNvSpPr>
                <a:spLocks/>
              </p:cNvSpPr>
              <p:nvPr/>
            </p:nvSpPr>
            <p:spPr bwMode="auto">
              <a:xfrm>
                <a:off x="1226052" y="1978683"/>
                <a:ext cx="322491" cy="274881"/>
              </a:xfrm>
              <a:custGeom>
                <a:avLst/>
                <a:gdLst>
                  <a:gd name="T0" fmla="*/ 0 w 136"/>
                  <a:gd name="T1" fmla="*/ 0 h 116"/>
                  <a:gd name="T2" fmla="*/ 128 w 136"/>
                  <a:gd name="T3" fmla="*/ 116 h 116"/>
                  <a:gd name="T4" fmla="*/ 136 w 136"/>
                  <a:gd name="T5" fmla="*/ 108 h 116"/>
                  <a:gd name="T6" fmla="*/ 0 w 136"/>
                  <a:gd name="T7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6" h="116">
                    <a:moveTo>
                      <a:pt x="0" y="0"/>
                    </a:moveTo>
                    <a:cubicBezTo>
                      <a:pt x="77" y="80"/>
                      <a:pt x="128" y="116"/>
                      <a:pt x="128" y="116"/>
                    </a:cubicBezTo>
                    <a:cubicBezTo>
                      <a:pt x="136" y="108"/>
                      <a:pt x="136" y="108"/>
                      <a:pt x="136" y="108"/>
                    </a:cubicBezTo>
                    <a:cubicBezTo>
                      <a:pt x="103" y="83"/>
                      <a:pt x="53" y="46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211"/>
              <p:cNvSpPr>
                <a:spLocks/>
              </p:cNvSpPr>
              <p:nvPr/>
            </p:nvSpPr>
            <p:spPr bwMode="auto">
              <a:xfrm>
                <a:off x="931857" y="1416345"/>
                <a:ext cx="673728" cy="728075"/>
              </a:xfrm>
              <a:custGeom>
                <a:avLst/>
                <a:gdLst>
                  <a:gd name="T0" fmla="*/ 0 w 284"/>
                  <a:gd name="T1" fmla="*/ 0 h 307"/>
                  <a:gd name="T2" fmla="*/ 129 w 284"/>
                  <a:gd name="T3" fmla="*/ 179 h 307"/>
                  <a:gd name="T4" fmla="*/ 139 w 284"/>
                  <a:gd name="T5" fmla="*/ 190 h 307"/>
                  <a:gd name="T6" fmla="*/ 284 w 284"/>
                  <a:gd name="T7" fmla="*/ 307 h 307"/>
                  <a:gd name="T8" fmla="*/ 140 w 284"/>
                  <a:gd name="T9" fmla="*/ 179 h 307"/>
                  <a:gd name="T10" fmla="*/ 11 w 284"/>
                  <a:gd name="T11" fmla="*/ 13 h 307"/>
                  <a:gd name="T12" fmla="*/ 0 w 284"/>
                  <a:gd name="T13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4" h="307">
                    <a:moveTo>
                      <a:pt x="0" y="0"/>
                    </a:moveTo>
                    <a:cubicBezTo>
                      <a:pt x="0" y="0"/>
                      <a:pt x="42" y="90"/>
                      <a:pt x="129" y="179"/>
                    </a:cubicBezTo>
                    <a:cubicBezTo>
                      <a:pt x="133" y="183"/>
                      <a:pt x="136" y="186"/>
                      <a:pt x="139" y="190"/>
                    </a:cubicBezTo>
                    <a:cubicBezTo>
                      <a:pt x="198" y="242"/>
                      <a:pt x="251" y="283"/>
                      <a:pt x="284" y="307"/>
                    </a:cubicBezTo>
                    <a:cubicBezTo>
                      <a:pt x="252" y="283"/>
                      <a:pt x="198" y="239"/>
                      <a:pt x="140" y="179"/>
                    </a:cubicBezTo>
                    <a:cubicBezTo>
                      <a:pt x="63" y="99"/>
                      <a:pt x="16" y="21"/>
                      <a:pt x="11" y="13"/>
                    </a:cubicBezTo>
                    <a:cubicBezTo>
                      <a:pt x="3" y="4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212"/>
              <p:cNvSpPr>
                <a:spLocks/>
              </p:cNvSpPr>
              <p:nvPr/>
            </p:nvSpPr>
            <p:spPr bwMode="auto">
              <a:xfrm>
                <a:off x="860442" y="1416345"/>
                <a:ext cx="401093" cy="450499"/>
              </a:xfrm>
              <a:custGeom>
                <a:avLst/>
                <a:gdLst>
                  <a:gd name="T0" fmla="*/ 30 w 169"/>
                  <a:gd name="T1" fmla="*/ 0 h 190"/>
                  <a:gd name="T2" fmla="*/ 0 w 169"/>
                  <a:gd name="T3" fmla="*/ 24 h 190"/>
                  <a:gd name="T4" fmla="*/ 155 w 169"/>
                  <a:gd name="T5" fmla="*/ 177 h 190"/>
                  <a:gd name="T6" fmla="*/ 169 w 169"/>
                  <a:gd name="T7" fmla="*/ 190 h 190"/>
                  <a:gd name="T8" fmla="*/ 159 w 169"/>
                  <a:gd name="T9" fmla="*/ 179 h 190"/>
                  <a:gd name="T10" fmla="*/ 30 w 169"/>
                  <a:gd name="T11" fmla="*/ 0 h 190"/>
                  <a:gd name="T12" fmla="*/ 30 w 169"/>
                  <a:gd name="T13" fmla="*/ 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9" h="190">
                    <a:moveTo>
                      <a:pt x="30" y="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55" y="86"/>
                      <a:pt x="155" y="177"/>
                    </a:cubicBezTo>
                    <a:cubicBezTo>
                      <a:pt x="160" y="181"/>
                      <a:pt x="164" y="185"/>
                      <a:pt x="169" y="190"/>
                    </a:cubicBezTo>
                    <a:cubicBezTo>
                      <a:pt x="166" y="186"/>
                      <a:pt x="163" y="183"/>
                      <a:pt x="159" y="179"/>
                    </a:cubicBezTo>
                    <a:cubicBezTo>
                      <a:pt x="72" y="90"/>
                      <a:pt x="30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213"/>
              <p:cNvSpPr>
                <a:spLocks/>
              </p:cNvSpPr>
              <p:nvPr/>
            </p:nvSpPr>
            <p:spPr bwMode="auto">
              <a:xfrm>
                <a:off x="1531924" y="1969251"/>
                <a:ext cx="206161" cy="158551"/>
              </a:xfrm>
              <a:custGeom>
                <a:avLst/>
                <a:gdLst>
                  <a:gd name="T0" fmla="*/ 0 w 87"/>
                  <a:gd name="T1" fmla="*/ 0 h 67"/>
                  <a:gd name="T2" fmla="*/ 87 w 87"/>
                  <a:gd name="T3" fmla="*/ 67 h 67"/>
                  <a:gd name="T4" fmla="*/ 0 w 87"/>
                  <a:gd name="T5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7" h="67">
                    <a:moveTo>
                      <a:pt x="0" y="0"/>
                    </a:moveTo>
                    <a:cubicBezTo>
                      <a:pt x="50" y="43"/>
                      <a:pt x="87" y="67"/>
                      <a:pt x="87" y="67"/>
                    </a:cubicBezTo>
                    <a:cubicBezTo>
                      <a:pt x="87" y="67"/>
                      <a:pt x="52" y="42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Freeform 214"/>
              <p:cNvSpPr>
                <a:spLocks/>
              </p:cNvSpPr>
              <p:nvPr/>
            </p:nvSpPr>
            <p:spPr bwMode="auto">
              <a:xfrm>
                <a:off x="957908" y="1444641"/>
                <a:ext cx="574016" cy="524610"/>
              </a:xfrm>
              <a:custGeom>
                <a:avLst/>
                <a:gdLst>
                  <a:gd name="T0" fmla="*/ 0 w 242"/>
                  <a:gd name="T1" fmla="*/ 0 h 221"/>
                  <a:gd name="T2" fmla="*/ 0 w 242"/>
                  <a:gd name="T3" fmla="*/ 1 h 221"/>
                  <a:gd name="T4" fmla="*/ 140 w 242"/>
                  <a:gd name="T5" fmla="*/ 135 h 221"/>
                  <a:gd name="T6" fmla="*/ 242 w 242"/>
                  <a:gd name="T7" fmla="*/ 221 h 221"/>
                  <a:gd name="T8" fmla="*/ 185 w 242"/>
                  <a:gd name="T9" fmla="*/ 169 h 221"/>
                  <a:gd name="T10" fmla="*/ 152 w 242"/>
                  <a:gd name="T11" fmla="*/ 141 h 221"/>
                  <a:gd name="T12" fmla="*/ 0 w 242"/>
                  <a:gd name="T13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2" h="22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20" y="22"/>
                      <a:pt x="65" y="69"/>
                      <a:pt x="140" y="135"/>
                    </a:cubicBezTo>
                    <a:cubicBezTo>
                      <a:pt x="178" y="168"/>
                      <a:pt x="212" y="197"/>
                      <a:pt x="242" y="221"/>
                    </a:cubicBezTo>
                    <a:cubicBezTo>
                      <a:pt x="224" y="205"/>
                      <a:pt x="205" y="188"/>
                      <a:pt x="185" y="169"/>
                    </a:cubicBezTo>
                    <a:cubicBezTo>
                      <a:pt x="174" y="160"/>
                      <a:pt x="163" y="151"/>
                      <a:pt x="152" y="141"/>
                    </a:cubicBezTo>
                    <a:cubicBezTo>
                      <a:pt x="58" y="61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215"/>
              <p:cNvSpPr>
                <a:spLocks/>
              </p:cNvSpPr>
              <p:nvPr/>
            </p:nvSpPr>
            <p:spPr bwMode="auto">
              <a:xfrm>
                <a:off x="1605585" y="2144420"/>
                <a:ext cx="78152" cy="54797"/>
              </a:xfrm>
              <a:custGeom>
                <a:avLst/>
                <a:gdLst>
                  <a:gd name="T0" fmla="*/ 0 w 33"/>
                  <a:gd name="T1" fmla="*/ 0 h 23"/>
                  <a:gd name="T2" fmla="*/ 33 w 33"/>
                  <a:gd name="T3" fmla="*/ 23 h 23"/>
                  <a:gd name="T4" fmla="*/ 0 w 33"/>
                  <a:gd name="T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3" h="23">
                    <a:moveTo>
                      <a:pt x="0" y="0"/>
                    </a:moveTo>
                    <a:cubicBezTo>
                      <a:pt x="20" y="16"/>
                      <a:pt x="33" y="23"/>
                      <a:pt x="33" y="23"/>
                    </a:cubicBezTo>
                    <a:cubicBezTo>
                      <a:pt x="33" y="23"/>
                      <a:pt x="20" y="15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216"/>
              <p:cNvSpPr>
                <a:spLocks/>
              </p:cNvSpPr>
              <p:nvPr/>
            </p:nvSpPr>
            <p:spPr bwMode="auto">
              <a:xfrm>
                <a:off x="957908" y="1447336"/>
                <a:ext cx="780177" cy="751881"/>
              </a:xfrm>
              <a:custGeom>
                <a:avLst/>
                <a:gdLst>
                  <a:gd name="T0" fmla="*/ 0 w 329"/>
                  <a:gd name="T1" fmla="*/ 0 h 317"/>
                  <a:gd name="T2" fmla="*/ 129 w 329"/>
                  <a:gd name="T3" fmla="*/ 166 h 317"/>
                  <a:gd name="T4" fmla="*/ 273 w 329"/>
                  <a:gd name="T5" fmla="*/ 294 h 317"/>
                  <a:gd name="T6" fmla="*/ 306 w 329"/>
                  <a:gd name="T7" fmla="*/ 317 h 317"/>
                  <a:gd name="T8" fmla="*/ 306 w 329"/>
                  <a:gd name="T9" fmla="*/ 317 h 317"/>
                  <a:gd name="T10" fmla="*/ 329 w 329"/>
                  <a:gd name="T11" fmla="*/ 287 h 317"/>
                  <a:gd name="T12" fmla="*/ 242 w 329"/>
                  <a:gd name="T13" fmla="*/ 220 h 317"/>
                  <a:gd name="T14" fmla="*/ 140 w 329"/>
                  <a:gd name="T15" fmla="*/ 134 h 317"/>
                  <a:gd name="T16" fmla="*/ 0 w 329"/>
                  <a:gd name="T17" fmla="*/ 0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9" h="317">
                    <a:moveTo>
                      <a:pt x="0" y="0"/>
                    </a:moveTo>
                    <a:cubicBezTo>
                      <a:pt x="5" y="8"/>
                      <a:pt x="52" y="86"/>
                      <a:pt x="129" y="166"/>
                    </a:cubicBezTo>
                    <a:cubicBezTo>
                      <a:pt x="187" y="226"/>
                      <a:pt x="241" y="270"/>
                      <a:pt x="273" y="294"/>
                    </a:cubicBezTo>
                    <a:cubicBezTo>
                      <a:pt x="293" y="309"/>
                      <a:pt x="306" y="317"/>
                      <a:pt x="306" y="317"/>
                    </a:cubicBezTo>
                    <a:cubicBezTo>
                      <a:pt x="306" y="317"/>
                      <a:pt x="306" y="317"/>
                      <a:pt x="306" y="317"/>
                    </a:cubicBezTo>
                    <a:cubicBezTo>
                      <a:pt x="329" y="287"/>
                      <a:pt x="329" y="287"/>
                      <a:pt x="329" y="287"/>
                    </a:cubicBezTo>
                    <a:cubicBezTo>
                      <a:pt x="329" y="287"/>
                      <a:pt x="292" y="263"/>
                      <a:pt x="242" y="220"/>
                    </a:cubicBezTo>
                    <a:cubicBezTo>
                      <a:pt x="212" y="196"/>
                      <a:pt x="178" y="167"/>
                      <a:pt x="140" y="134"/>
                    </a:cubicBezTo>
                    <a:cubicBezTo>
                      <a:pt x="65" y="68"/>
                      <a:pt x="20" y="21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217"/>
              <p:cNvSpPr>
                <a:spLocks/>
              </p:cNvSpPr>
              <p:nvPr/>
            </p:nvSpPr>
            <p:spPr bwMode="auto">
              <a:xfrm>
                <a:off x="1031120" y="1375921"/>
                <a:ext cx="33237" cy="45364"/>
              </a:xfrm>
              <a:custGeom>
                <a:avLst/>
                <a:gdLst>
                  <a:gd name="T0" fmla="*/ 0 w 14"/>
                  <a:gd name="T1" fmla="*/ 0 h 19"/>
                  <a:gd name="T2" fmla="*/ 11 w 14"/>
                  <a:gd name="T3" fmla="*/ 19 h 19"/>
                  <a:gd name="T4" fmla="*/ 14 w 14"/>
                  <a:gd name="T5" fmla="*/ 16 h 19"/>
                  <a:gd name="T6" fmla="*/ 0 w 14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9">
                    <a:moveTo>
                      <a:pt x="0" y="0"/>
                    </a:moveTo>
                    <a:cubicBezTo>
                      <a:pt x="0" y="0"/>
                      <a:pt x="4" y="7"/>
                      <a:pt x="11" y="19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5" y="6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Freeform 218"/>
              <p:cNvSpPr>
                <a:spLocks/>
              </p:cNvSpPr>
              <p:nvPr/>
            </p:nvSpPr>
            <p:spPr bwMode="auto">
              <a:xfrm>
                <a:off x="1138018" y="1549294"/>
                <a:ext cx="552906" cy="507542"/>
              </a:xfrm>
              <a:custGeom>
                <a:avLst/>
                <a:gdLst>
                  <a:gd name="T0" fmla="*/ 0 w 233"/>
                  <a:gd name="T1" fmla="*/ 0 h 214"/>
                  <a:gd name="T2" fmla="*/ 68 w 233"/>
                  <a:gd name="T3" fmla="*/ 82 h 214"/>
                  <a:gd name="T4" fmla="*/ 109 w 233"/>
                  <a:gd name="T5" fmla="*/ 125 h 214"/>
                  <a:gd name="T6" fmla="*/ 233 w 233"/>
                  <a:gd name="T7" fmla="*/ 214 h 214"/>
                  <a:gd name="T8" fmla="*/ 80 w 233"/>
                  <a:gd name="T9" fmla="*/ 84 h 214"/>
                  <a:gd name="T10" fmla="*/ 0 w 233"/>
                  <a:gd name="T11" fmla="*/ 0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3" h="214">
                    <a:moveTo>
                      <a:pt x="0" y="0"/>
                    </a:moveTo>
                    <a:cubicBezTo>
                      <a:pt x="17" y="23"/>
                      <a:pt x="39" y="51"/>
                      <a:pt x="68" y="82"/>
                    </a:cubicBezTo>
                    <a:cubicBezTo>
                      <a:pt x="82" y="97"/>
                      <a:pt x="95" y="111"/>
                      <a:pt x="109" y="125"/>
                    </a:cubicBezTo>
                    <a:cubicBezTo>
                      <a:pt x="179" y="181"/>
                      <a:pt x="233" y="214"/>
                      <a:pt x="233" y="214"/>
                    </a:cubicBezTo>
                    <a:cubicBezTo>
                      <a:pt x="233" y="214"/>
                      <a:pt x="158" y="163"/>
                      <a:pt x="80" y="84"/>
                    </a:cubicBezTo>
                    <a:cubicBezTo>
                      <a:pt x="46" y="49"/>
                      <a:pt x="19" y="21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219"/>
              <p:cNvSpPr>
                <a:spLocks/>
              </p:cNvSpPr>
              <p:nvPr/>
            </p:nvSpPr>
            <p:spPr bwMode="auto">
              <a:xfrm>
                <a:off x="957908" y="1375921"/>
                <a:ext cx="438822" cy="469813"/>
              </a:xfrm>
              <a:custGeom>
                <a:avLst/>
                <a:gdLst>
                  <a:gd name="T0" fmla="*/ 31 w 185"/>
                  <a:gd name="T1" fmla="*/ 0 h 198"/>
                  <a:gd name="T2" fmla="*/ 0 w 185"/>
                  <a:gd name="T3" fmla="*/ 29 h 198"/>
                  <a:gd name="T4" fmla="*/ 152 w 185"/>
                  <a:gd name="T5" fmla="*/ 170 h 198"/>
                  <a:gd name="T6" fmla="*/ 185 w 185"/>
                  <a:gd name="T7" fmla="*/ 198 h 198"/>
                  <a:gd name="T8" fmla="*/ 144 w 185"/>
                  <a:gd name="T9" fmla="*/ 155 h 198"/>
                  <a:gd name="T10" fmla="*/ 76 w 185"/>
                  <a:gd name="T11" fmla="*/ 73 h 198"/>
                  <a:gd name="T12" fmla="*/ 35 w 185"/>
                  <a:gd name="T13" fmla="*/ 26 h 198"/>
                  <a:gd name="T14" fmla="*/ 35 w 185"/>
                  <a:gd name="T15" fmla="*/ 26 h 198"/>
                  <a:gd name="T16" fmla="*/ 35 w 185"/>
                  <a:gd name="T17" fmla="*/ 26 h 198"/>
                  <a:gd name="T18" fmla="*/ 35 w 185"/>
                  <a:gd name="T19" fmla="*/ 26 h 198"/>
                  <a:gd name="T20" fmla="*/ 35 w 185"/>
                  <a:gd name="T21" fmla="*/ 26 h 198"/>
                  <a:gd name="T22" fmla="*/ 42 w 185"/>
                  <a:gd name="T23" fmla="*/ 19 h 198"/>
                  <a:gd name="T24" fmla="*/ 31 w 185"/>
                  <a:gd name="T25" fmla="*/ 0 h 198"/>
                  <a:gd name="T26" fmla="*/ 31 w 185"/>
                  <a:gd name="T27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5" h="198">
                    <a:moveTo>
                      <a:pt x="31" y="0"/>
                    </a:move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58" y="90"/>
                      <a:pt x="152" y="170"/>
                    </a:cubicBezTo>
                    <a:cubicBezTo>
                      <a:pt x="163" y="180"/>
                      <a:pt x="174" y="189"/>
                      <a:pt x="185" y="198"/>
                    </a:cubicBezTo>
                    <a:cubicBezTo>
                      <a:pt x="171" y="184"/>
                      <a:pt x="158" y="170"/>
                      <a:pt x="144" y="155"/>
                    </a:cubicBezTo>
                    <a:cubicBezTo>
                      <a:pt x="115" y="124"/>
                      <a:pt x="93" y="96"/>
                      <a:pt x="76" y="73"/>
                    </a:cubicBezTo>
                    <a:cubicBezTo>
                      <a:pt x="48" y="41"/>
                      <a:pt x="35" y="26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42" y="19"/>
                      <a:pt x="42" y="19"/>
                      <a:pt x="42" y="19"/>
                    </a:cubicBezTo>
                    <a:cubicBezTo>
                      <a:pt x="35" y="7"/>
                      <a:pt x="31" y="0"/>
                      <a:pt x="31" y="0"/>
                    </a:cubicBezTo>
                    <a:cubicBezTo>
                      <a:pt x="31" y="0"/>
                      <a:pt x="31" y="0"/>
                      <a:pt x="3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220"/>
              <p:cNvSpPr>
                <a:spLocks/>
              </p:cNvSpPr>
              <p:nvPr/>
            </p:nvSpPr>
            <p:spPr bwMode="auto">
              <a:xfrm>
                <a:off x="1482068" y="1810251"/>
                <a:ext cx="251525" cy="185051"/>
              </a:xfrm>
              <a:custGeom>
                <a:avLst/>
                <a:gdLst>
                  <a:gd name="T0" fmla="*/ 0 w 106"/>
                  <a:gd name="T1" fmla="*/ 0 h 78"/>
                  <a:gd name="T2" fmla="*/ 106 w 106"/>
                  <a:gd name="T3" fmla="*/ 78 h 78"/>
                  <a:gd name="T4" fmla="*/ 106 w 106"/>
                  <a:gd name="T5" fmla="*/ 78 h 78"/>
                  <a:gd name="T6" fmla="*/ 46 w 106"/>
                  <a:gd name="T7" fmla="*/ 31 h 78"/>
                  <a:gd name="T8" fmla="*/ 0 w 106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78">
                    <a:moveTo>
                      <a:pt x="0" y="0"/>
                    </a:moveTo>
                    <a:cubicBezTo>
                      <a:pt x="60" y="48"/>
                      <a:pt x="106" y="78"/>
                      <a:pt x="106" y="78"/>
                    </a:cubicBezTo>
                    <a:cubicBezTo>
                      <a:pt x="106" y="78"/>
                      <a:pt x="106" y="78"/>
                      <a:pt x="106" y="78"/>
                    </a:cubicBezTo>
                    <a:cubicBezTo>
                      <a:pt x="106" y="78"/>
                      <a:pt x="83" y="62"/>
                      <a:pt x="46" y="31"/>
                    </a:cubicBezTo>
                    <a:cubicBezTo>
                      <a:pt x="32" y="23"/>
                      <a:pt x="16" y="12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221"/>
              <p:cNvSpPr>
                <a:spLocks/>
              </p:cNvSpPr>
              <p:nvPr/>
            </p:nvSpPr>
            <p:spPr bwMode="auto">
              <a:xfrm>
                <a:off x="1100289" y="1492251"/>
                <a:ext cx="633305" cy="564584"/>
              </a:xfrm>
              <a:custGeom>
                <a:avLst/>
                <a:gdLst>
                  <a:gd name="T0" fmla="*/ 0 w 267"/>
                  <a:gd name="T1" fmla="*/ 0 h 238"/>
                  <a:gd name="T2" fmla="*/ 16 w 267"/>
                  <a:gd name="T3" fmla="*/ 24 h 238"/>
                  <a:gd name="T4" fmla="*/ 96 w 267"/>
                  <a:gd name="T5" fmla="*/ 108 h 238"/>
                  <a:gd name="T6" fmla="*/ 249 w 267"/>
                  <a:gd name="T7" fmla="*/ 238 h 238"/>
                  <a:gd name="T8" fmla="*/ 267 w 267"/>
                  <a:gd name="T9" fmla="*/ 212 h 238"/>
                  <a:gd name="T10" fmla="*/ 161 w 267"/>
                  <a:gd name="T11" fmla="*/ 134 h 238"/>
                  <a:gd name="T12" fmla="*/ 117 w 267"/>
                  <a:gd name="T13" fmla="*/ 101 h 238"/>
                  <a:gd name="T14" fmla="*/ 0 w 267"/>
                  <a:gd name="T15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7" h="238">
                    <a:moveTo>
                      <a:pt x="0" y="0"/>
                    </a:moveTo>
                    <a:cubicBezTo>
                      <a:pt x="5" y="7"/>
                      <a:pt x="10" y="15"/>
                      <a:pt x="16" y="24"/>
                    </a:cubicBezTo>
                    <a:cubicBezTo>
                      <a:pt x="35" y="45"/>
                      <a:pt x="62" y="73"/>
                      <a:pt x="96" y="108"/>
                    </a:cubicBezTo>
                    <a:cubicBezTo>
                      <a:pt x="174" y="187"/>
                      <a:pt x="249" y="238"/>
                      <a:pt x="249" y="238"/>
                    </a:cubicBezTo>
                    <a:cubicBezTo>
                      <a:pt x="267" y="212"/>
                      <a:pt x="267" y="212"/>
                      <a:pt x="267" y="212"/>
                    </a:cubicBezTo>
                    <a:cubicBezTo>
                      <a:pt x="267" y="212"/>
                      <a:pt x="221" y="182"/>
                      <a:pt x="161" y="134"/>
                    </a:cubicBezTo>
                    <a:cubicBezTo>
                      <a:pt x="147" y="124"/>
                      <a:pt x="132" y="113"/>
                      <a:pt x="117" y="101"/>
                    </a:cubicBezTo>
                    <a:cubicBezTo>
                      <a:pt x="61" y="55"/>
                      <a:pt x="22" y="21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222"/>
              <p:cNvSpPr>
                <a:spLocks/>
              </p:cNvSpPr>
              <p:nvPr/>
            </p:nvSpPr>
            <p:spPr bwMode="auto">
              <a:xfrm>
                <a:off x="1041001" y="1437904"/>
                <a:ext cx="97017" cy="111390"/>
              </a:xfrm>
              <a:custGeom>
                <a:avLst/>
                <a:gdLst>
                  <a:gd name="T0" fmla="*/ 0 w 41"/>
                  <a:gd name="T1" fmla="*/ 0 h 47"/>
                  <a:gd name="T2" fmla="*/ 41 w 41"/>
                  <a:gd name="T3" fmla="*/ 47 h 47"/>
                  <a:gd name="T4" fmla="*/ 25 w 41"/>
                  <a:gd name="T5" fmla="*/ 23 h 47"/>
                  <a:gd name="T6" fmla="*/ 0 w 41"/>
                  <a:gd name="T7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" h="47">
                    <a:moveTo>
                      <a:pt x="0" y="0"/>
                    </a:moveTo>
                    <a:cubicBezTo>
                      <a:pt x="0" y="0"/>
                      <a:pt x="13" y="15"/>
                      <a:pt x="41" y="47"/>
                    </a:cubicBezTo>
                    <a:cubicBezTo>
                      <a:pt x="35" y="38"/>
                      <a:pt x="30" y="30"/>
                      <a:pt x="25" y="23"/>
                    </a:cubicBezTo>
                    <a:cubicBezTo>
                      <a:pt x="8" y="8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223"/>
              <p:cNvSpPr>
                <a:spLocks/>
              </p:cNvSpPr>
              <p:nvPr/>
            </p:nvSpPr>
            <p:spPr bwMode="auto">
              <a:xfrm>
                <a:off x="1100289" y="1380862"/>
                <a:ext cx="609499" cy="571771"/>
              </a:xfrm>
              <a:custGeom>
                <a:avLst/>
                <a:gdLst>
                  <a:gd name="T0" fmla="*/ 0 w 257"/>
                  <a:gd name="T1" fmla="*/ 0 h 241"/>
                  <a:gd name="T2" fmla="*/ 121 w 257"/>
                  <a:gd name="T3" fmla="*/ 135 h 241"/>
                  <a:gd name="T4" fmla="*/ 207 w 257"/>
                  <a:gd name="T5" fmla="*/ 212 h 241"/>
                  <a:gd name="T6" fmla="*/ 257 w 257"/>
                  <a:gd name="T7" fmla="*/ 241 h 241"/>
                  <a:gd name="T8" fmla="*/ 132 w 257"/>
                  <a:gd name="T9" fmla="*/ 143 h 241"/>
                  <a:gd name="T10" fmla="*/ 70 w 257"/>
                  <a:gd name="T11" fmla="*/ 69 h 241"/>
                  <a:gd name="T12" fmla="*/ 0 w 257"/>
                  <a:gd name="T13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7" h="241">
                    <a:moveTo>
                      <a:pt x="0" y="0"/>
                    </a:moveTo>
                    <a:cubicBezTo>
                      <a:pt x="0" y="0"/>
                      <a:pt x="45" y="62"/>
                      <a:pt x="121" y="135"/>
                    </a:cubicBezTo>
                    <a:cubicBezTo>
                      <a:pt x="154" y="166"/>
                      <a:pt x="183" y="192"/>
                      <a:pt x="207" y="212"/>
                    </a:cubicBezTo>
                    <a:cubicBezTo>
                      <a:pt x="237" y="230"/>
                      <a:pt x="257" y="241"/>
                      <a:pt x="257" y="241"/>
                    </a:cubicBezTo>
                    <a:cubicBezTo>
                      <a:pt x="257" y="241"/>
                      <a:pt x="196" y="206"/>
                      <a:pt x="132" y="143"/>
                    </a:cubicBezTo>
                    <a:cubicBezTo>
                      <a:pt x="104" y="116"/>
                      <a:pt x="84" y="90"/>
                      <a:pt x="70" y="69"/>
                    </a:cubicBezTo>
                    <a:cubicBezTo>
                      <a:pt x="24" y="28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224"/>
              <p:cNvSpPr>
                <a:spLocks/>
              </p:cNvSpPr>
              <p:nvPr/>
            </p:nvSpPr>
            <p:spPr bwMode="auto">
              <a:xfrm>
                <a:off x="1064357" y="1380862"/>
                <a:ext cx="526855" cy="502601"/>
              </a:xfrm>
              <a:custGeom>
                <a:avLst/>
                <a:gdLst>
                  <a:gd name="T0" fmla="*/ 15 w 222"/>
                  <a:gd name="T1" fmla="*/ 0 h 212"/>
                  <a:gd name="T2" fmla="*/ 0 w 222"/>
                  <a:gd name="T3" fmla="*/ 14 h 212"/>
                  <a:gd name="T4" fmla="*/ 117 w 222"/>
                  <a:gd name="T5" fmla="*/ 132 h 212"/>
                  <a:gd name="T6" fmla="*/ 176 w 222"/>
                  <a:gd name="T7" fmla="*/ 181 h 212"/>
                  <a:gd name="T8" fmla="*/ 222 w 222"/>
                  <a:gd name="T9" fmla="*/ 212 h 212"/>
                  <a:gd name="T10" fmla="*/ 136 w 222"/>
                  <a:gd name="T11" fmla="*/ 135 h 212"/>
                  <a:gd name="T12" fmla="*/ 15 w 222"/>
                  <a:gd name="T13" fmla="*/ 0 h 212"/>
                  <a:gd name="T14" fmla="*/ 15 w 222"/>
                  <a:gd name="T15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2" h="212">
                    <a:moveTo>
                      <a:pt x="15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20" y="37"/>
                      <a:pt x="61" y="82"/>
                      <a:pt x="117" y="132"/>
                    </a:cubicBezTo>
                    <a:cubicBezTo>
                      <a:pt x="137" y="150"/>
                      <a:pt x="157" y="167"/>
                      <a:pt x="176" y="181"/>
                    </a:cubicBezTo>
                    <a:cubicBezTo>
                      <a:pt x="192" y="193"/>
                      <a:pt x="208" y="204"/>
                      <a:pt x="222" y="212"/>
                    </a:cubicBezTo>
                    <a:cubicBezTo>
                      <a:pt x="198" y="192"/>
                      <a:pt x="169" y="166"/>
                      <a:pt x="136" y="135"/>
                    </a:cubicBezTo>
                    <a:cubicBezTo>
                      <a:pt x="60" y="62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225"/>
              <p:cNvSpPr>
                <a:spLocks/>
              </p:cNvSpPr>
              <p:nvPr/>
            </p:nvSpPr>
            <p:spPr bwMode="auto">
              <a:xfrm>
                <a:off x="1057620" y="1414099"/>
                <a:ext cx="424449" cy="396152"/>
              </a:xfrm>
              <a:custGeom>
                <a:avLst/>
                <a:gdLst>
                  <a:gd name="T0" fmla="*/ 3 w 179"/>
                  <a:gd name="T1" fmla="*/ 0 h 167"/>
                  <a:gd name="T2" fmla="*/ 0 w 179"/>
                  <a:gd name="T3" fmla="*/ 3 h 167"/>
                  <a:gd name="T4" fmla="*/ 18 w 179"/>
                  <a:gd name="T5" fmla="*/ 33 h 167"/>
                  <a:gd name="T6" fmla="*/ 135 w 179"/>
                  <a:gd name="T7" fmla="*/ 134 h 167"/>
                  <a:gd name="T8" fmla="*/ 179 w 179"/>
                  <a:gd name="T9" fmla="*/ 167 h 167"/>
                  <a:gd name="T10" fmla="*/ 120 w 179"/>
                  <a:gd name="T11" fmla="*/ 118 h 167"/>
                  <a:gd name="T12" fmla="*/ 3 w 179"/>
                  <a:gd name="T13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9" h="167">
                    <a:moveTo>
                      <a:pt x="3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4" y="11"/>
                      <a:pt x="10" y="21"/>
                      <a:pt x="18" y="33"/>
                    </a:cubicBezTo>
                    <a:cubicBezTo>
                      <a:pt x="40" y="54"/>
                      <a:pt x="79" y="88"/>
                      <a:pt x="135" y="134"/>
                    </a:cubicBezTo>
                    <a:cubicBezTo>
                      <a:pt x="150" y="146"/>
                      <a:pt x="165" y="157"/>
                      <a:pt x="179" y="167"/>
                    </a:cubicBezTo>
                    <a:cubicBezTo>
                      <a:pt x="160" y="153"/>
                      <a:pt x="140" y="136"/>
                      <a:pt x="120" y="118"/>
                    </a:cubicBezTo>
                    <a:cubicBezTo>
                      <a:pt x="64" y="68"/>
                      <a:pt x="23" y="23"/>
                      <a:pt x="3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Freeform 226"/>
              <p:cNvSpPr>
                <a:spLocks/>
              </p:cNvSpPr>
              <p:nvPr/>
            </p:nvSpPr>
            <p:spPr bwMode="auto">
              <a:xfrm>
                <a:off x="1041001" y="1421285"/>
                <a:ext cx="59288" cy="70966"/>
              </a:xfrm>
              <a:custGeom>
                <a:avLst/>
                <a:gdLst>
                  <a:gd name="T0" fmla="*/ 7 w 25"/>
                  <a:gd name="T1" fmla="*/ 0 h 30"/>
                  <a:gd name="T2" fmla="*/ 0 w 25"/>
                  <a:gd name="T3" fmla="*/ 7 h 30"/>
                  <a:gd name="T4" fmla="*/ 25 w 25"/>
                  <a:gd name="T5" fmla="*/ 30 h 30"/>
                  <a:gd name="T6" fmla="*/ 7 w 25"/>
                  <a:gd name="T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" h="30">
                    <a:moveTo>
                      <a:pt x="7" y="0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8" y="15"/>
                      <a:pt x="25" y="30"/>
                    </a:cubicBezTo>
                    <a:cubicBezTo>
                      <a:pt x="17" y="18"/>
                      <a:pt x="11" y="8"/>
                      <a:pt x="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Freeform 227"/>
              <p:cNvSpPr>
                <a:spLocks/>
              </p:cNvSpPr>
              <p:nvPr/>
            </p:nvSpPr>
            <p:spPr bwMode="auto">
              <a:xfrm>
                <a:off x="1206738" y="1449582"/>
                <a:ext cx="534042" cy="450499"/>
              </a:xfrm>
              <a:custGeom>
                <a:avLst/>
                <a:gdLst>
                  <a:gd name="T0" fmla="*/ 0 w 225"/>
                  <a:gd name="T1" fmla="*/ 0 h 190"/>
                  <a:gd name="T2" fmla="*/ 25 w 225"/>
                  <a:gd name="T3" fmla="*/ 40 h 190"/>
                  <a:gd name="T4" fmla="*/ 94 w 225"/>
                  <a:gd name="T5" fmla="*/ 99 h 190"/>
                  <a:gd name="T6" fmla="*/ 225 w 225"/>
                  <a:gd name="T7" fmla="*/ 190 h 190"/>
                  <a:gd name="T8" fmla="*/ 225 w 225"/>
                  <a:gd name="T9" fmla="*/ 190 h 190"/>
                  <a:gd name="T10" fmla="*/ 177 w 225"/>
                  <a:gd name="T11" fmla="*/ 152 h 190"/>
                  <a:gd name="T12" fmla="*/ 86 w 225"/>
                  <a:gd name="T13" fmla="*/ 90 h 190"/>
                  <a:gd name="T14" fmla="*/ 0 w 225"/>
                  <a:gd name="T15" fmla="*/ 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5" h="190">
                    <a:moveTo>
                      <a:pt x="0" y="0"/>
                    </a:moveTo>
                    <a:cubicBezTo>
                      <a:pt x="0" y="0"/>
                      <a:pt x="7" y="16"/>
                      <a:pt x="25" y="40"/>
                    </a:cubicBezTo>
                    <a:cubicBezTo>
                      <a:pt x="44" y="58"/>
                      <a:pt x="67" y="78"/>
                      <a:pt x="94" y="99"/>
                    </a:cubicBezTo>
                    <a:cubicBezTo>
                      <a:pt x="172" y="161"/>
                      <a:pt x="225" y="190"/>
                      <a:pt x="225" y="190"/>
                    </a:cubicBezTo>
                    <a:cubicBezTo>
                      <a:pt x="225" y="190"/>
                      <a:pt x="225" y="190"/>
                      <a:pt x="225" y="190"/>
                    </a:cubicBezTo>
                    <a:cubicBezTo>
                      <a:pt x="225" y="190"/>
                      <a:pt x="208" y="179"/>
                      <a:pt x="177" y="152"/>
                    </a:cubicBezTo>
                    <a:cubicBezTo>
                      <a:pt x="167" y="147"/>
                      <a:pt x="123" y="125"/>
                      <a:pt x="86" y="90"/>
                    </a:cubicBezTo>
                    <a:cubicBezTo>
                      <a:pt x="22" y="32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228"/>
              <p:cNvSpPr>
                <a:spLocks/>
              </p:cNvSpPr>
              <p:nvPr/>
            </p:nvSpPr>
            <p:spPr bwMode="auto">
              <a:xfrm>
                <a:off x="1266026" y="1544353"/>
                <a:ext cx="474754" cy="408279"/>
              </a:xfrm>
              <a:custGeom>
                <a:avLst/>
                <a:gdLst>
                  <a:gd name="T0" fmla="*/ 0 w 200"/>
                  <a:gd name="T1" fmla="*/ 0 h 172"/>
                  <a:gd name="T2" fmla="*/ 62 w 200"/>
                  <a:gd name="T3" fmla="*/ 74 h 172"/>
                  <a:gd name="T4" fmla="*/ 187 w 200"/>
                  <a:gd name="T5" fmla="*/ 172 h 172"/>
                  <a:gd name="T6" fmla="*/ 200 w 200"/>
                  <a:gd name="T7" fmla="*/ 150 h 172"/>
                  <a:gd name="T8" fmla="*/ 69 w 200"/>
                  <a:gd name="T9" fmla="*/ 59 h 172"/>
                  <a:gd name="T10" fmla="*/ 0 w 200"/>
                  <a:gd name="T11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0" h="172">
                    <a:moveTo>
                      <a:pt x="0" y="0"/>
                    </a:moveTo>
                    <a:cubicBezTo>
                      <a:pt x="14" y="21"/>
                      <a:pt x="34" y="47"/>
                      <a:pt x="62" y="74"/>
                    </a:cubicBezTo>
                    <a:cubicBezTo>
                      <a:pt x="126" y="137"/>
                      <a:pt x="187" y="172"/>
                      <a:pt x="187" y="172"/>
                    </a:cubicBezTo>
                    <a:cubicBezTo>
                      <a:pt x="200" y="150"/>
                      <a:pt x="200" y="150"/>
                      <a:pt x="200" y="150"/>
                    </a:cubicBezTo>
                    <a:cubicBezTo>
                      <a:pt x="200" y="150"/>
                      <a:pt x="147" y="121"/>
                      <a:pt x="69" y="59"/>
                    </a:cubicBezTo>
                    <a:cubicBezTo>
                      <a:pt x="42" y="38"/>
                      <a:pt x="19" y="18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Freeform 229"/>
              <p:cNvSpPr>
                <a:spLocks/>
              </p:cNvSpPr>
              <p:nvPr/>
            </p:nvSpPr>
            <p:spPr bwMode="auto">
              <a:xfrm>
                <a:off x="1266026" y="1392540"/>
                <a:ext cx="367856" cy="419957"/>
              </a:xfrm>
              <a:custGeom>
                <a:avLst/>
                <a:gdLst>
                  <a:gd name="T0" fmla="*/ 0 w 155"/>
                  <a:gd name="T1" fmla="*/ 0 h 177"/>
                  <a:gd name="T2" fmla="*/ 88 w 155"/>
                  <a:gd name="T3" fmla="*/ 118 h 177"/>
                  <a:gd name="T4" fmla="*/ 152 w 155"/>
                  <a:gd name="T5" fmla="*/ 176 h 177"/>
                  <a:gd name="T6" fmla="*/ 155 w 155"/>
                  <a:gd name="T7" fmla="*/ 177 h 177"/>
                  <a:gd name="T8" fmla="*/ 108 w 155"/>
                  <a:gd name="T9" fmla="*/ 127 h 177"/>
                  <a:gd name="T10" fmla="*/ 77 w 155"/>
                  <a:gd name="T11" fmla="*/ 85 h 177"/>
                  <a:gd name="T12" fmla="*/ 0 w 155"/>
                  <a:gd name="T13" fmla="*/ 0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5" h="177">
                    <a:moveTo>
                      <a:pt x="0" y="0"/>
                    </a:moveTo>
                    <a:cubicBezTo>
                      <a:pt x="0" y="0"/>
                      <a:pt x="28" y="58"/>
                      <a:pt x="88" y="118"/>
                    </a:cubicBezTo>
                    <a:cubicBezTo>
                      <a:pt x="114" y="142"/>
                      <a:pt x="135" y="162"/>
                      <a:pt x="152" y="176"/>
                    </a:cubicBezTo>
                    <a:cubicBezTo>
                      <a:pt x="154" y="177"/>
                      <a:pt x="155" y="177"/>
                      <a:pt x="155" y="177"/>
                    </a:cubicBezTo>
                    <a:cubicBezTo>
                      <a:pt x="155" y="177"/>
                      <a:pt x="140" y="165"/>
                      <a:pt x="108" y="127"/>
                    </a:cubicBezTo>
                    <a:cubicBezTo>
                      <a:pt x="95" y="111"/>
                      <a:pt x="85" y="97"/>
                      <a:pt x="77" y="85"/>
                    </a:cubicBezTo>
                    <a:cubicBezTo>
                      <a:pt x="20" y="32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Freeform 230"/>
              <p:cNvSpPr>
                <a:spLocks/>
              </p:cNvSpPr>
              <p:nvPr/>
            </p:nvSpPr>
            <p:spPr bwMode="auto">
              <a:xfrm>
                <a:off x="1206738" y="1392540"/>
                <a:ext cx="419957" cy="417711"/>
              </a:xfrm>
              <a:custGeom>
                <a:avLst/>
                <a:gdLst>
                  <a:gd name="T0" fmla="*/ 25 w 177"/>
                  <a:gd name="T1" fmla="*/ 0 h 176"/>
                  <a:gd name="T2" fmla="*/ 0 w 177"/>
                  <a:gd name="T3" fmla="*/ 24 h 176"/>
                  <a:gd name="T4" fmla="*/ 86 w 177"/>
                  <a:gd name="T5" fmla="*/ 114 h 176"/>
                  <a:gd name="T6" fmla="*/ 177 w 177"/>
                  <a:gd name="T7" fmla="*/ 176 h 176"/>
                  <a:gd name="T8" fmla="*/ 113 w 177"/>
                  <a:gd name="T9" fmla="*/ 118 h 176"/>
                  <a:gd name="T10" fmla="*/ 25 w 177"/>
                  <a:gd name="T11" fmla="*/ 0 h 176"/>
                  <a:gd name="T12" fmla="*/ 25 w 177"/>
                  <a:gd name="T13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7" h="176">
                    <a:moveTo>
                      <a:pt x="25" y="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22" y="56"/>
                      <a:pt x="86" y="114"/>
                    </a:cubicBezTo>
                    <a:cubicBezTo>
                      <a:pt x="123" y="149"/>
                      <a:pt x="167" y="171"/>
                      <a:pt x="177" y="176"/>
                    </a:cubicBezTo>
                    <a:cubicBezTo>
                      <a:pt x="160" y="162"/>
                      <a:pt x="139" y="142"/>
                      <a:pt x="113" y="118"/>
                    </a:cubicBezTo>
                    <a:cubicBezTo>
                      <a:pt x="53" y="58"/>
                      <a:pt x="25" y="0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Freeform 231"/>
              <p:cNvSpPr>
                <a:spLocks/>
              </p:cNvSpPr>
              <p:nvPr/>
            </p:nvSpPr>
            <p:spPr bwMode="auto">
              <a:xfrm>
                <a:off x="1387297" y="1477879"/>
                <a:ext cx="284762" cy="277576"/>
              </a:xfrm>
              <a:custGeom>
                <a:avLst/>
                <a:gdLst>
                  <a:gd name="T0" fmla="*/ 0 w 120"/>
                  <a:gd name="T1" fmla="*/ 0 h 117"/>
                  <a:gd name="T2" fmla="*/ 26 w 120"/>
                  <a:gd name="T3" fmla="*/ 49 h 117"/>
                  <a:gd name="T4" fmla="*/ 35 w 120"/>
                  <a:gd name="T5" fmla="*/ 57 h 117"/>
                  <a:gd name="T6" fmla="*/ 120 w 120"/>
                  <a:gd name="T7" fmla="*/ 117 h 117"/>
                  <a:gd name="T8" fmla="*/ 120 w 120"/>
                  <a:gd name="T9" fmla="*/ 117 h 117"/>
                  <a:gd name="T10" fmla="*/ 78 w 120"/>
                  <a:gd name="T11" fmla="*/ 78 h 117"/>
                  <a:gd name="T12" fmla="*/ 57 w 120"/>
                  <a:gd name="T13" fmla="*/ 60 h 117"/>
                  <a:gd name="T14" fmla="*/ 0 w 120"/>
                  <a:gd name="T15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0" h="117">
                    <a:moveTo>
                      <a:pt x="0" y="0"/>
                    </a:moveTo>
                    <a:cubicBezTo>
                      <a:pt x="0" y="0"/>
                      <a:pt x="7" y="19"/>
                      <a:pt x="26" y="49"/>
                    </a:cubicBezTo>
                    <a:cubicBezTo>
                      <a:pt x="29" y="51"/>
                      <a:pt x="32" y="54"/>
                      <a:pt x="35" y="57"/>
                    </a:cubicBezTo>
                    <a:cubicBezTo>
                      <a:pt x="76" y="93"/>
                      <a:pt x="120" y="117"/>
                      <a:pt x="120" y="117"/>
                    </a:cubicBezTo>
                    <a:cubicBezTo>
                      <a:pt x="120" y="117"/>
                      <a:pt x="120" y="117"/>
                      <a:pt x="120" y="117"/>
                    </a:cubicBezTo>
                    <a:cubicBezTo>
                      <a:pt x="120" y="117"/>
                      <a:pt x="102" y="104"/>
                      <a:pt x="78" y="78"/>
                    </a:cubicBezTo>
                    <a:cubicBezTo>
                      <a:pt x="72" y="73"/>
                      <a:pt x="65" y="67"/>
                      <a:pt x="57" y="60"/>
                    </a:cubicBezTo>
                    <a:cubicBezTo>
                      <a:pt x="21" y="26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Freeform 232"/>
              <p:cNvSpPr>
                <a:spLocks/>
              </p:cNvSpPr>
              <p:nvPr/>
            </p:nvSpPr>
            <p:spPr bwMode="auto">
              <a:xfrm>
                <a:off x="1448831" y="1594209"/>
                <a:ext cx="223229" cy="218288"/>
              </a:xfrm>
              <a:custGeom>
                <a:avLst/>
                <a:gdLst>
                  <a:gd name="T0" fmla="*/ 0 w 94"/>
                  <a:gd name="T1" fmla="*/ 0 h 92"/>
                  <a:gd name="T2" fmla="*/ 31 w 94"/>
                  <a:gd name="T3" fmla="*/ 42 h 92"/>
                  <a:gd name="T4" fmla="*/ 78 w 94"/>
                  <a:gd name="T5" fmla="*/ 92 h 92"/>
                  <a:gd name="T6" fmla="*/ 94 w 94"/>
                  <a:gd name="T7" fmla="*/ 68 h 92"/>
                  <a:gd name="T8" fmla="*/ 9 w 94"/>
                  <a:gd name="T9" fmla="*/ 8 h 92"/>
                  <a:gd name="T10" fmla="*/ 0 w 94"/>
                  <a:gd name="T11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4" h="92">
                    <a:moveTo>
                      <a:pt x="0" y="0"/>
                    </a:moveTo>
                    <a:cubicBezTo>
                      <a:pt x="8" y="12"/>
                      <a:pt x="18" y="26"/>
                      <a:pt x="31" y="42"/>
                    </a:cubicBezTo>
                    <a:cubicBezTo>
                      <a:pt x="63" y="80"/>
                      <a:pt x="78" y="92"/>
                      <a:pt x="78" y="92"/>
                    </a:cubicBezTo>
                    <a:cubicBezTo>
                      <a:pt x="94" y="68"/>
                      <a:pt x="94" y="68"/>
                      <a:pt x="94" y="68"/>
                    </a:cubicBezTo>
                    <a:cubicBezTo>
                      <a:pt x="94" y="68"/>
                      <a:pt x="50" y="44"/>
                      <a:pt x="9" y="8"/>
                    </a:cubicBezTo>
                    <a:cubicBezTo>
                      <a:pt x="6" y="5"/>
                      <a:pt x="3" y="2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Freeform 233"/>
              <p:cNvSpPr>
                <a:spLocks/>
              </p:cNvSpPr>
              <p:nvPr/>
            </p:nvSpPr>
            <p:spPr bwMode="auto">
              <a:xfrm>
                <a:off x="1415594" y="1454073"/>
                <a:ext cx="227720" cy="242093"/>
              </a:xfrm>
              <a:custGeom>
                <a:avLst/>
                <a:gdLst>
                  <a:gd name="T0" fmla="*/ 0 w 96"/>
                  <a:gd name="T1" fmla="*/ 0 h 102"/>
                  <a:gd name="T2" fmla="*/ 40 w 96"/>
                  <a:gd name="T3" fmla="*/ 58 h 102"/>
                  <a:gd name="T4" fmla="*/ 66 w 96"/>
                  <a:gd name="T5" fmla="*/ 88 h 102"/>
                  <a:gd name="T6" fmla="*/ 84 w 96"/>
                  <a:gd name="T7" fmla="*/ 102 h 102"/>
                  <a:gd name="T8" fmla="*/ 96 w 96"/>
                  <a:gd name="T9" fmla="*/ 86 h 102"/>
                  <a:gd name="T10" fmla="*/ 51 w 96"/>
                  <a:gd name="T11" fmla="*/ 47 h 102"/>
                  <a:gd name="T12" fmla="*/ 0 w 96"/>
                  <a:gd name="T13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" h="102">
                    <a:moveTo>
                      <a:pt x="0" y="0"/>
                    </a:moveTo>
                    <a:cubicBezTo>
                      <a:pt x="0" y="0"/>
                      <a:pt x="21" y="35"/>
                      <a:pt x="40" y="58"/>
                    </a:cubicBezTo>
                    <a:cubicBezTo>
                      <a:pt x="49" y="70"/>
                      <a:pt x="58" y="79"/>
                      <a:pt x="66" y="88"/>
                    </a:cubicBezTo>
                    <a:cubicBezTo>
                      <a:pt x="77" y="98"/>
                      <a:pt x="84" y="102"/>
                      <a:pt x="84" y="102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96" y="86"/>
                      <a:pt x="81" y="75"/>
                      <a:pt x="51" y="47"/>
                    </a:cubicBezTo>
                    <a:cubicBezTo>
                      <a:pt x="28" y="26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Freeform 234"/>
              <p:cNvSpPr>
                <a:spLocks/>
              </p:cNvSpPr>
              <p:nvPr/>
            </p:nvSpPr>
            <p:spPr bwMode="auto">
              <a:xfrm>
                <a:off x="1387297" y="1454073"/>
                <a:ext cx="185051" cy="208856"/>
              </a:xfrm>
              <a:custGeom>
                <a:avLst/>
                <a:gdLst>
                  <a:gd name="T0" fmla="*/ 12 w 78"/>
                  <a:gd name="T1" fmla="*/ 0 h 88"/>
                  <a:gd name="T2" fmla="*/ 0 w 78"/>
                  <a:gd name="T3" fmla="*/ 10 h 88"/>
                  <a:gd name="T4" fmla="*/ 57 w 78"/>
                  <a:gd name="T5" fmla="*/ 70 h 88"/>
                  <a:gd name="T6" fmla="*/ 78 w 78"/>
                  <a:gd name="T7" fmla="*/ 88 h 88"/>
                  <a:gd name="T8" fmla="*/ 52 w 78"/>
                  <a:gd name="T9" fmla="*/ 58 h 88"/>
                  <a:gd name="T10" fmla="*/ 12 w 78"/>
                  <a:gd name="T11" fmla="*/ 0 h 88"/>
                  <a:gd name="T12" fmla="*/ 12 w 78"/>
                  <a:gd name="T13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88">
                    <a:moveTo>
                      <a:pt x="12" y="0"/>
                    </a:move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21" y="36"/>
                      <a:pt x="57" y="70"/>
                    </a:cubicBezTo>
                    <a:cubicBezTo>
                      <a:pt x="65" y="77"/>
                      <a:pt x="72" y="83"/>
                      <a:pt x="78" y="88"/>
                    </a:cubicBezTo>
                    <a:cubicBezTo>
                      <a:pt x="70" y="79"/>
                      <a:pt x="61" y="70"/>
                      <a:pt x="52" y="58"/>
                    </a:cubicBezTo>
                    <a:cubicBezTo>
                      <a:pt x="33" y="35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1" name="Freeform 6"/>
            <p:cNvSpPr>
              <a:spLocks/>
            </p:cNvSpPr>
            <p:nvPr/>
          </p:nvSpPr>
          <p:spPr bwMode="auto">
            <a:xfrm>
              <a:off x="1761329" y="2904970"/>
              <a:ext cx="278523" cy="359874"/>
            </a:xfrm>
            <a:custGeom>
              <a:avLst/>
              <a:gdLst>
                <a:gd name="T0" fmla="*/ 57 w 57"/>
                <a:gd name="T1" fmla="*/ 79 h 96"/>
                <a:gd name="T2" fmla="*/ 53 w 57"/>
                <a:gd name="T3" fmla="*/ 83 h 96"/>
                <a:gd name="T4" fmla="*/ 49 w 57"/>
                <a:gd name="T5" fmla="*/ 84 h 96"/>
                <a:gd name="T6" fmla="*/ 37 w 57"/>
                <a:gd name="T7" fmla="*/ 87 h 96"/>
                <a:gd name="T8" fmla="*/ 20 w 57"/>
                <a:gd name="T9" fmla="*/ 93 h 96"/>
                <a:gd name="T10" fmla="*/ 17 w 57"/>
                <a:gd name="T11" fmla="*/ 95 h 96"/>
                <a:gd name="T12" fmla="*/ 16 w 57"/>
                <a:gd name="T13" fmla="*/ 96 h 96"/>
                <a:gd name="T14" fmla="*/ 6 w 57"/>
                <a:gd name="T15" fmla="*/ 90 h 96"/>
                <a:gd name="T16" fmla="*/ 2 w 57"/>
                <a:gd name="T17" fmla="*/ 88 h 96"/>
                <a:gd name="T18" fmla="*/ 0 w 57"/>
                <a:gd name="T19" fmla="*/ 84 h 96"/>
                <a:gd name="T20" fmla="*/ 9 w 57"/>
                <a:gd name="T21" fmla="*/ 70 h 96"/>
                <a:gd name="T22" fmla="*/ 27 w 57"/>
                <a:gd name="T23" fmla="*/ 43 h 96"/>
                <a:gd name="T24" fmla="*/ 37 w 57"/>
                <a:gd name="T25" fmla="*/ 16 h 96"/>
                <a:gd name="T26" fmla="*/ 21 w 57"/>
                <a:gd name="T27" fmla="*/ 31 h 96"/>
                <a:gd name="T28" fmla="*/ 20 w 57"/>
                <a:gd name="T29" fmla="*/ 33 h 96"/>
                <a:gd name="T30" fmla="*/ 19 w 57"/>
                <a:gd name="T31" fmla="*/ 35 h 96"/>
                <a:gd name="T32" fmla="*/ 16 w 57"/>
                <a:gd name="T33" fmla="*/ 36 h 96"/>
                <a:gd name="T34" fmla="*/ 8 w 57"/>
                <a:gd name="T35" fmla="*/ 33 h 96"/>
                <a:gd name="T36" fmla="*/ 3 w 57"/>
                <a:gd name="T37" fmla="*/ 31 h 96"/>
                <a:gd name="T38" fmla="*/ 1 w 57"/>
                <a:gd name="T39" fmla="*/ 28 h 96"/>
                <a:gd name="T40" fmla="*/ 6 w 57"/>
                <a:gd name="T41" fmla="*/ 19 h 96"/>
                <a:gd name="T42" fmla="*/ 19 w 57"/>
                <a:gd name="T43" fmla="*/ 6 h 96"/>
                <a:gd name="T44" fmla="*/ 35 w 57"/>
                <a:gd name="T45" fmla="*/ 0 h 96"/>
                <a:gd name="T46" fmla="*/ 39 w 57"/>
                <a:gd name="T47" fmla="*/ 1 h 96"/>
                <a:gd name="T48" fmla="*/ 44 w 57"/>
                <a:gd name="T49" fmla="*/ 5 h 96"/>
                <a:gd name="T50" fmla="*/ 55 w 57"/>
                <a:gd name="T51" fmla="*/ 16 h 96"/>
                <a:gd name="T52" fmla="*/ 55 w 57"/>
                <a:gd name="T53" fmla="*/ 19 h 96"/>
                <a:gd name="T54" fmla="*/ 47 w 57"/>
                <a:gd name="T55" fmla="*/ 43 h 96"/>
                <a:gd name="T56" fmla="*/ 31 w 57"/>
                <a:gd name="T57" fmla="*/ 71 h 96"/>
                <a:gd name="T58" fmla="*/ 41 w 57"/>
                <a:gd name="T59" fmla="*/ 67 h 96"/>
                <a:gd name="T60" fmla="*/ 43 w 57"/>
                <a:gd name="T61" fmla="*/ 66 h 96"/>
                <a:gd name="T62" fmla="*/ 45 w 57"/>
                <a:gd name="T63" fmla="*/ 65 h 96"/>
                <a:gd name="T64" fmla="*/ 52 w 57"/>
                <a:gd name="T65" fmla="*/ 71 h 96"/>
                <a:gd name="T66" fmla="*/ 57 w 57"/>
                <a:gd name="T67" fmla="*/ 7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7" h="96">
                  <a:moveTo>
                    <a:pt x="57" y="79"/>
                  </a:moveTo>
                  <a:cubicBezTo>
                    <a:pt x="57" y="81"/>
                    <a:pt x="56" y="83"/>
                    <a:pt x="53" y="83"/>
                  </a:cubicBezTo>
                  <a:cubicBezTo>
                    <a:pt x="52" y="83"/>
                    <a:pt x="51" y="83"/>
                    <a:pt x="49" y="84"/>
                  </a:cubicBezTo>
                  <a:cubicBezTo>
                    <a:pt x="48" y="84"/>
                    <a:pt x="44" y="85"/>
                    <a:pt x="37" y="87"/>
                  </a:cubicBezTo>
                  <a:cubicBezTo>
                    <a:pt x="29" y="89"/>
                    <a:pt x="24" y="91"/>
                    <a:pt x="20" y="93"/>
                  </a:cubicBezTo>
                  <a:cubicBezTo>
                    <a:pt x="19" y="93"/>
                    <a:pt x="18" y="94"/>
                    <a:pt x="17" y="95"/>
                  </a:cubicBezTo>
                  <a:cubicBezTo>
                    <a:pt x="16" y="95"/>
                    <a:pt x="16" y="96"/>
                    <a:pt x="16" y="96"/>
                  </a:cubicBezTo>
                  <a:cubicBezTo>
                    <a:pt x="14" y="96"/>
                    <a:pt x="11" y="94"/>
                    <a:pt x="6" y="90"/>
                  </a:cubicBezTo>
                  <a:cubicBezTo>
                    <a:pt x="5" y="89"/>
                    <a:pt x="3" y="89"/>
                    <a:pt x="2" y="88"/>
                  </a:cubicBezTo>
                  <a:cubicBezTo>
                    <a:pt x="1" y="87"/>
                    <a:pt x="0" y="85"/>
                    <a:pt x="0" y="84"/>
                  </a:cubicBezTo>
                  <a:cubicBezTo>
                    <a:pt x="0" y="83"/>
                    <a:pt x="3" y="79"/>
                    <a:pt x="9" y="70"/>
                  </a:cubicBezTo>
                  <a:cubicBezTo>
                    <a:pt x="17" y="59"/>
                    <a:pt x="23" y="50"/>
                    <a:pt x="27" y="43"/>
                  </a:cubicBezTo>
                  <a:cubicBezTo>
                    <a:pt x="33" y="31"/>
                    <a:pt x="37" y="22"/>
                    <a:pt x="37" y="16"/>
                  </a:cubicBezTo>
                  <a:cubicBezTo>
                    <a:pt x="32" y="18"/>
                    <a:pt x="26" y="23"/>
                    <a:pt x="21" y="31"/>
                  </a:cubicBezTo>
                  <a:cubicBezTo>
                    <a:pt x="20" y="31"/>
                    <a:pt x="20" y="32"/>
                    <a:pt x="20" y="33"/>
                  </a:cubicBezTo>
                  <a:cubicBezTo>
                    <a:pt x="20" y="34"/>
                    <a:pt x="19" y="35"/>
                    <a:pt x="19" y="35"/>
                  </a:cubicBezTo>
                  <a:cubicBezTo>
                    <a:pt x="18" y="36"/>
                    <a:pt x="17" y="36"/>
                    <a:pt x="16" y="36"/>
                  </a:cubicBezTo>
                  <a:cubicBezTo>
                    <a:pt x="14" y="36"/>
                    <a:pt x="11" y="35"/>
                    <a:pt x="8" y="33"/>
                  </a:cubicBezTo>
                  <a:cubicBezTo>
                    <a:pt x="6" y="32"/>
                    <a:pt x="5" y="31"/>
                    <a:pt x="3" y="31"/>
                  </a:cubicBezTo>
                  <a:cubicBezTo>
                    <a:pt x="2" y="30"/>
                    <a:pt x="1" y="29"/>
                    <a:pt x="1" y="28"/>
                  </a:cubicBezTo>
                  <a:cubicBezTo>
                    <a:pt x="0" y="27"/>
                    <a:pt x="2" y="23"/>
                    <a:pt x="6" y="19"/>
                  </a:cubicBezTo>
                  <a:cubicBezTo>
                    <a:pt x="10" y="14"/>
                    <a:pt x="14" y="10"/>
                    <a:pt x="19" y="6"/>
                  </a:cubicBezTo>
                  <a:cubicBezTo>
                    <a:pt x="25" y="2"/>
                    <a:pt x="30" y="0"/>
                    <a:pt x="35" y="0"/>
                  </a:cubicBezTo>
                  <a:cubicBezTo>
                    <a:pt x="36" y="0"/>
                    <a:pt x="38" y="0"/>
                    <a:pt x="39" y="1"/>
                  </a:cubicBezTo>
                  <a:cubicBezTo>
                    <a:pt x="41" y="2"/>
                    <a:pt x="42" y="3"/>
                    <a:pt x="44" y="5"/>
                  </a:cubicBezTo>
                  <a:cubicBezTo>
                    <a:pt x="50" y="9"/>
                    <a:pt x="53" y="12"/>
                    <a:pt x="55" y="16"/>
                  </a:cubicBezTo>
                  <a:cubicBezTo>
                    <a:pt x="55" y="17"/>
                    <a:pt x="55" y="18"/>
                    <a:pt x="55" y="19"/>
                  </a:cubicBezTo>
                  <a:cubicBezTo>
                    <a:pt x="55" y="24"/>
                    <a:pt x="53" y="32"/>
                    <a:pt x="47" y="43"/>
                  </a:cubicBezTo>
                  <a:cubicBezTo>
                    <a:pt x="42" y="54"/>
                    <a:pt x="37" y="63"/>
                    <a:pt x="31" y="71"/>
                  </a:cubicBezTo>
                  <a:cubicBezTo>
                    <a:pt x="34" y="70"/>
                    <a:pt x="37" y="69"/>
                    <a:pt x="41" y="67"/>
                  </a:cubicBezTo>
                  <a:cubicBezTo>
                    <a:pt x="41" y="67"/>
                    <a:pt x="42" y="67"/>
                    <a:pt x="43" y="66"/>
                  </a:cubicBezTo>
                  <a:cubicBezTo>
                    <a:pt x="44" y="65"/>
                    <a:pt x="44" y="65"/>
                    <a:pt x="45" y="65"/>
                  </a:cubicBezTo>
                  <a:cubicBezTo>
                    <a:pt x="47" y="66"/>
                    <a:pt x="49" y="68"/>
                    <a:pt x="52" y="71"/>
                  </a:cubicBezTo>
                  <a:cubicBezTo>
                    <a:pt x="55" y="75"/>
                    <a:pt x="57" y="78"/>
                    <a:pt x="57" y="7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607311" y="3681820"/>
            <a:ext cx="560638" cy="640267"/>
            <a:chOff x="1607311" y="3681820"/>
            <a:chExt cx="560638" cy="640267"/>
          </a:xfrm>
        </p:grpSpPr>
        <p:grpSp>
          <p:nvGrpSpPr>
            <p:cNvPr id="237" name="Group 236"/>
            <p:cNvGrpSpPr/>
            <p:nvPr/>
          </p:nvGrpSpPr>
          <p:grpSpPr>
            <a:xfrm>
              <a:off x="1607311" y="3681820"/>
              <a:ext cx="560638" cy="640267"/>
              <a:chOff x="506959" y="1375921"/>
              <a:chExt cx="1233821" cy="1264363"/>
            </a:xfrm>
            <a:solidFill>
              <a:srgbClr val="006D00"/>
            </a:solidFill>
          </p:grpSpPr>
          <p:sp>
            <p:nvSpPr>
              <p:cNvPr id="239" name="Freeform 238"/>
              <p:cNvSpPr>
                <a:spLocks/>
              </p:cNvSpPr>
              <p:nvPr/>
            </p:nvSpPr>
            <p:spPr bwMode="auto">
              <a:xfrm>
                <a:off x="734679" y="1712785"/>
                <a:ext cx="735711" cy="623872"/>
              </a:xfrm>
              <a:custGeom>
                <a:avLst/>
                <a:gdLst>
                  <a:gd name="T0" fmla="*/ 0 w 1638"/>
                  <a:gd name="T1" fmla="*/ 0 h 1389"/>
                  <a:gd name="T2" fmla="*/ 58 w 1638"/>
                  <a:gd name="T3" fmla="*/ 1299 h 1389"/>
                  <a:gd name="T4" fmla="*/ 1511 w 1638"/>
                  <a:gd name="T5" fmla="*/ 1389 h 1389"/>
                  <a:gd name="T6" fmla="*/ 1537 w 1638"/>
                  <a:gd name="T7" fmla="*/ 1199 h 1389"/>
                  <a:gd name="T8" fmla="*/ 1379 w 1638"/>
                  <a:gd name="T9" fmla="*/ 634 h 1389"/>
                  <a:gd name="T10" fmla="*/ 1638 w 1638"/>
                  <a:gd name="T11" fmla="*/ 534 h 1389"/>
                  <a:gd name="T12" fmla="*/ 1173 w 1638"/>
                  <a:gd name="T13" fmla="*/ 79 h 1389"/>
                  <a:gd name="T14" fmla="*/ 0 w 1638"/>
                  <a:gd name="T15" fmla="*/ 0 h 1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38" h="1389">
                    <a:moveTo>
                      <a:pt x="0" y="0"/>
                    </a:moveTo>
                    <a:lnTo>
                      <a:pt x="58" y="1299"/>
                    </a:lnTo>
                    <a:lnTo>
                      <a:pt x="1511" y="1389"/>
                    </a:lnTo>
                    <a:lnTo>
                      <a:pt x="1537" y="1199"/>
                    </a:lnTo>
                    <a:lnTo>
                      <a:pt x="1379" y="634"/>
                    </a:lnTo>
                    <a:lnTo>
                      <a:pt x="1638" y="534"/>
                    </a:lnTo>
                    <a:lnTo>
                      <a:pt x="1173" y="7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Freeform 239"/>
              <p:cNvSpPr>
                <a:spLocks/>
              </p:cNvSpPr>
              <p:nvPr/>
            </p:nvSpPr>
            <p:spPr bwMode="auto">
              <a:xfrm>
                <a:off x="734679" y="1712785"/>
                <a:ext cx="735711" cy="623872"/>
              </a:xfrm>
              <a:custGeom>
                <a:avLst/>
                <a:gdLst>
                  <a:gd name="T0" fmla="*/ 0 w 1638"/>
                  <a:gd name="T1" fmla="*/ 0 h 1389"/>
                  <a:gd name="T2" fmla="*/ 58 w 1638"/>
                  <a:gd name="T3" fmla="*/ 1299 h 1389"/>
                  <a:gd name="T4" fmla="*/ 1511 w 1638"/>
                  <a:gd name="T5" fmla="*/ 1389 h 1389"/>
                  <a:gd name="T6" fmla="*/ 1537 w 1638"/>
                  <a:gd name="T7" fmla="*/ 1199 h 1389"/>
                  <a:gd name="T8" fmla="*/ 1379 w 1638"/>
                  <a:gd name="T9" fmla="*/ 634 h 1389"/>
                  <a:gd name="T10" fmla="*/ 1638 w 1638"/>
                  <a:gd name="T11" fmla="*/ 534 h 1389"/>
                  <a:gd name="T12" fmla="*/ 1173 w 1638"/>
                  <a:gd name="T13" fmla="*/ 79 h 1389"/>
                  <a:gd name="T14" fmla="*/ 0 w 1638"/>
                  <a:gd name="T15" fmla="*/ 0 h 1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38" h="1389">
                    <a:moveTo>
                      <a:pt x="0" y="0"/>
                    </a:moveTo>
                    <a:lnTo>
                      <a:pt x="58" y="1299"/>
                    </a:lnTo>
                    <a:lnTo>
                      <a:pt x="1511" y="1389"/>
                    </a:lnTo>
                    <a:lnTo>
                      <a:pt x="1537" y="1199"/>
                    </a:lnTo>
                    <a:lnTo>
                      <a:pt x="1379" y="634"/>
                    </a:lnTo>
                    <a:lnTo>
                      <a:pt x="1638" y="534"/>
                    </a:lnTo>
                    <a:lnTo>
                      <a:pt x="1173" y="79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Freeform 240"/>
              <p:cNvSpPr>
                <a:spLocks/>
              </p:cNvSpPr>
              <p:nvPr/>
            </p:nvSpPr>
            <p:spPr bwMode="auto">
              <a:xfrm>
                <a:off x="599484" y="2296234"/>
                <a:ext cx="299135" cy="280271"/>
              </a:xfrm>
              <a:custGeom>
                <a:avLst/>
                <a:gdLst>
                  <a:gd name="T0" fmla="*/ 115 w 126"/>
                  <a:gd name="T1" fmla="*/ 118 h 118"/>
                  <a:gd name="T2" fmla="*/ 126 w 126"/>
                  <a:gd name="T3" fmla="*/ 106 h 118"/>
                  <a:gd name="T4" fmla="*/ 66 w 126"/>
                  <a:gd name="T5" fmla="*/ 56 h 118"/>
                  <a:gd name="T6" fmla="*/ 19 w 126"/>
                  <a:gd name="T7" fmla="*/ 0 h 118"/>
                  <a:gd name="T8" fmla="*/ 0 w 126"/>
                  <a:gd name="T9" fmla="*/ 13 h 118"/>
                  <a:gd name="T10" fmla="*/ 51 w 126"/>
                  <a:gd name="T11" fmla="*/ 70 h 118"/>
                  <a:gd name="T12" fmla="*/ 115 w 126"/>
                  <a:gd name="T13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118">
                    <a:moveTo>
                      <a:pt x="115" y="118"/>
                    </a:moveTo>
                    <a:cubicBezTo>
                      <a:pt x="126" y="106"/>
                      <a:pt x="126" y="106"/>
                      <a:pt x="126" y="106"/>
                    </a:cubicBezTo>
                    <a:cubicBezTo>
                      <a:pt x="126" y="106"/>
                      <a:pt x="87" y="78"/>
                      <a:pt x="66" y="56"/>
                    </a:cubicBezTo>
                    <a:cubicBezTo>
                      <a:pt x="43" y="31"/>
                      <a:pt x="19" y="0"/>
                      <a:pt x="19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3"/>
                      <a:pt x="35" y="55"/>
                      <a:pt x="51" y="70"/>
                    </a:cubicBezTo>
                    <a:cubicBezTo>
                      <a:pt x="85" y="104"/>
                      <a:pt x="115" y="118"/>
                      <a:pt x="115" y="1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Freeform 241"/>
              <p:cNvSpPr>
                <a:spLocks/>
              </p:cNvSpPr>
              <p:nvPr/>
            </p:nvSpPr>
            <p:spPr bwMode="auto">
              <a:xfrm>
                <a:off x="509205" y="2071208"/>
                <a:ext cx="389415" cy="505296"/>
              </a:xfrm>
              <a:custGeom>
                <a:avLst/>
                <a:gdLst>
                  <a:gd name="T0" fmla="*/ 153 w 164"/>
                  <a:gd name="T1" fmla="*/ 213 h 213"/>
                  <a:gd name="T2" fmla="*/ 164 w 164"/>
                  <a:gd name="T3" fmla="*/ 201 h 213"/>
                  <a:gd name="T4" fmla="*/ 82 w 164"/>
                  <a:gd name="T5" fmla="*/ 101 h 213"/>
                  <a:gd name="T6" fmla="*/ 20 w 164"/>
                  <a:gd name="T7" fmla="*/ 0 h 213"/>
                  <a:gd name="T8" fmla="*/ 0 w 164"/>
                  <a:gd name="T9" fmla="*/ 14 h 213"/>
                  <a:gd name="T10" fmla="*/ 52 w 164"/>
                  <a:gd name="T11" fmla="*/ 100 h 213"/>
                  <a:gd name="T12" fmla="*/ 153 w 164"/>
                  <a:gd name="T13" fmla="*/ 213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4" h="213">
                    <a:moveTo>
                      <a:pt x="153" y="213"/>
                    </a:moveTo>
                    <a:cubicBezTo>
                      <a:pt x="164" y="201"/>
                      <a:pt x="164" y="201"/>
                      <a:pt x="164" y="201"/>
                    </a:cubicBezTo>
                    <a:cubicBezTo>
                      <a:pt x="164" y="201"/>
                      <a:pt x="119" y="153"/>
                      <a:pt x="82" y="101"/>
                    </a:cubicBezTo>
                    <a:cubicBezTo>
                      <a:pt x="45" y="51"/>
                      <a:pt x="20" y="0"/>
                      <a:pt x="20" y="0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35" y="77"/>
                      <a:pt x="52" y="100"/>
                    </a:cubicBezTo>
                    <a:cubicBezTo>
                      <a:pt x="102" y="166"/>
                      <a:pt x="153" y="213"/>
                      <a:pt x="153" y="21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Freeform 242"/>
              <p:cNvSpPr>
                <a:spLocks/>
              </p:cNvSpPr>
              <p:nvPr/>
            </p:nvSpPr>
            <p:spPr bwMode="auto">
              <a:xfrm>
                <a:off x="509205" y="2071208"/>
                <a:ext cx="631059" cy="569076"/>
              </a:xfrm>
              <a:custGeom>
                <a:avLst/>
                <a:gdLst>
                  <a:gd name="T0" fmla="*/ 244 w 266"/>
                  <a:gd name="T1" fmla="*/ 240 h 240"/>
                  <a:gd name="T2" fmla="*/ 266 w 266"/>
                  <a:gd name="T3" fmla="*/ 210 h 240"/>
                  <a:gd name="T4" fmla="*/ 119 w 266"/>
                  <a:gd name="T5" fmla="*/ 101 h 240"/>
                  <a:gd name="T6" fmla="*/ 20 w 266"/>
                  <a:gd name="T7" fmla="*/ 0 h 240"/>
                  <a:gd name="T8" fmla="*/ 0 w 266"/>
                  <a:gd name="T9" fmla="*/ 14 h 240"/>
                  <a:gd name="T10" fmla="*/ 109 w 266"/>
                  <a:gd name="T11" fmla="*/ 139 h 240"/>
                  <a:gd name="T12" fmla="*/ 244 w 266"/>
                  <a:gd name="T13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6" h="240">
                    <a:moveTo>
                      <a:pt x="244" y="240"/>
                    </a:moveTo>
                    <a:cubicBezTo>
                      <a:pt x="266" y="210"/>
                      <a:pt x="266" y="210"/>
                      <a:pt x="266" y="210"/>
                    </a:cubicBezTo>
                    <a:cubicBezTo>
                      <a:pt x="266" y="210"/>
                      <a:pt x="211" y="181"/>
                      <a:pt x="119" y="101"/>
                    </a:cubicBezTo>
                    <a:cubicBezTo>
                      <a:pt x="71" y="60"/>
                      <a:pt x="20" y="0"/>
                      <a:pt x="20" y="0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49" y="80"/>
                      <a:pt x="109" y="139"/>
                    </a:cubicBezTo>
                    <a:cubicBezTo>
                      <a:pt x="178" y="207"/>
                      <a:pt x="244" y="240"/>
                      <a:pt x="244" y="24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Freeform 243"/>
              <p:cNvSpPr>
                <a:spLocks/>
              </p:cNvSpPr>
              <p:nvPr/>
            </p:nvSpPr>
            <p:spPr bwMode="auto">
              <a:xfrm>
                <a:off x="506959" y="1933319"/>
                <a:ext cx="633305" cy="706965"/>
              </a:xfrm>
              <a:custGeom>
                <a:avLst/>
                <a:gdLst>
                  <a:gd name="T0" fmla="*/ 245 w 267"/>
                  <a:gd name="T1" fmla="*/ 298 h 298"/>
                  <a:gd name="T2" fmla="*/ 267 w 267"/>
                  <a:gd name="T3" fmla="*/ 268 h 298"/>
                  <a:gd name="T4" fmla="*/ 132 w 267"/>
                  <a:gd name="T5" fmla="*/ 125 h 298"/>
                  <a:gd name="T6" fmla="*/ 23 w 267"/>
                  <a:gd name="T7" fmla="*/ 0 h 298"/>
                  <a:gd name="T8" fmla="*/ 0 w 267"/>
                  <a:gd name="T9" fmla="*/ 18 h 298"/>
                  <a:gd name="T10" fmla="*/ 125 w 267"/>
                  <a:gd name="T11" fmla="*/ 178 h 298"/>
                  <a:gd name="T12" fmla="*/ 245 w 267"/>
                  <a:gd name="T13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7" h="298">
                    <a:moveTo>
                      <a:pt x="245" y="298"/>
                    </a:moveTo>
                    <a:cubicBezTo>
                      <a:pt x="267" y="268"/>
                      <a:pt x="267" y="268"/>
                      <a:pt x="267" y="268"/>
                    </a:cubicBezTo>
                    <a:cubicBezTo>
                      <a:pt x="267" y="268"/>
                      <a:pt x="221" y="223"/>
                      <a:pt x="132" y="125"/>
                    </a:cubicBezTo>
                    <a:cubicBezTo>
                      <a:pt x="80" y="68"/>
                      <a:pt x="23" y="0"/>
                      <a:pt x="23" y="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8"/>
                      <a:pt x="49" y="87"/>
                      <a:pt x="125" y="178"/>
                    </a:cubicBezTo>
                    <a:cubicBezTo>
                      <a:pt x="188" y="253"/>
                      <a:pt x="245" y="298"/>
                      <a:pt x="245" y="29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Freeform 244"/>
              <p:cNvSpPr>
                <a:spLocks/>
              </p:cNvSpPr>
              <p:nvPr/>
            </p:nvSpPr>
            <p:spPr bwMode="auto">
              <a:xfrm>
                <a:off x="506959" y="1933319"/>
                <a:ext cx="790059" cy="673728"/>
              </a:xfrm>
              <a:custGeom>
                <a:avLst/>
                <a:gdLst>
                  <a:gd name="T0" fmla="*/ 313 w 333"/>
                  <a:gd name="T1" fmla="*/ 284 h 284"/>
                  <a:gd name="T2" fmla="*/ 333 w 333"/>
                  <a:gd name="T3" fmla="*/ 258 h 284"/>
                  <a:gd name="T4" fmla="*/ 148 w 333"/>
                  <a:gd name="T5" fmla="*/ 123 h 284"/>
                  <a:gd name="T6" fmla="*/ 23 w 333"/>
                  <a:gd name="T7" fmla="*/ 0 h 284"/>
                  <a:gd name="T8" fmla="*/ 0 w 333"/>
                  <a:gd name="T9" fmla="*/ 18 h 284"/>
                  <a:gd name="T10" fmla="*/ 146 w 333"/>
                  <a:gd name="T11" fmla="*/ 167 h 284"/>
                  <a:gd name="T12" fmla="*/ 313 w 333"/>
                  <a:gd name="T13" fmla="*/ 284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3" h="284">
                    <a:moveTo>
                      <a:pt x="313" y="284"/>
                    </a:moveTo>
                    <a:cubicBezTo>
                      <a:pt x="333" y="258"/>
                      <a:pt x="333" y="258"/>
                      <a:pt x="333" y="258"/>
                    </a:cubicBezTo>
                    <a:cubicBezTo>
                      <a:pt x="333" y="258"/>
                      <a:pt x="230" y="195"/>
                      <a:pt x="148" y="123"/>
                    </a:cubicBezTo>
                    <a:cubicBezTo>
                      <a:pt x="91" y="72"/>
                      <a:pt x="23" y="0"/>
                      <a:pt x="23" y="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8"/>
                      <a:pt x="56" y="90"/>
                      <a:pt x="146" y="167"/>
                    </a:cubicBezTo>
                    <a:cubicBezTo>
                      <a:pt x="213" y="223"/>
                      <a:pt x="313" y="284"/>
                      <a:pt x="313" y="28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Freeform 245"/>
              <p:cNvSpPr>
                <a:spLocks/>
              </p:cNvSpPr>
              <p:nvPr/>
            </p:nvSpPr>
            <p:spPr bwMode="auto">
              <a:xfrm>
                <a:off x="519086" y="1764887"/>
                <a:ext cx="777932" cy="842160"/>
              </a:xfrm>
              <a:custGeom>
                <a:avLst/>
                <a:gdLst>
                  <a:gd name="T0" fmla="*/ 308 w 328"/>
                  <a:gd name="T1" fmla="*/ 355 h 355"/>
                  <a:gd name="T2" fmla="*/ 328 w 328"/>
                  <a:gd name="T3" fmla="*/ 329 h 355"/>
                  <a:gd name="T4" fmla="*/ 165 w 328"/>
                  <a:gd name="T5" fmla="*/ 164 h 355"/>
                  <a:gd name="T6" fmla="*/ 36 w 328"/>
                  <a:gd name="T7" fmla="*/ 0 h 355"/>
                  <a:gd name="T8" fmla="*/ 0 w 328"/>
                  <a:gd name="T9" fmla="*/ 28 h 355"/>
                  <a:gd name="T10" fmla="*/ 150 w 328"/>
                  <a:gd name="T11" fmla="*/ 210 h 355"/>
                  <a:gd name="T12" fmla="*/ 308 w 328"/>
                  <a:gd name="T13" fmla="*/ 355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8" h="355">
                    <a:moveTo>
                      <a:pt x="308" y="355"/>
                    </a:moveTo>
                    <a:cubicBezTo>
                      <a:pt x="328" y="329"/>
                      <a:pt x="328" y="329"/>
                      <a:pt x="328" y="329"/>
                    </a:cubicBezTo>
                    <a:cubicBezTo>
                      <a:pt x="328" y="329"/>
                      <a:pt x="257" y="264"/>
                      <a:pt x="165" y="164"/>
                    </a:cubicBezTo>
                    <a:cubicBezTo>
                      <a:pt x="103" y="97"/>
                      <a:pt x="36" y="0"/>
                      <a:pt x="36" y="0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69" y="124"/>
                      <a:pt x="150" y="210"/>
                    </a:cubicBezTo>
                    <a:cubicBezTo>
                      <a:pt x="218" y="282"/>
                      <a:pt x="308" y="355"/>
                      <a:pt x="308" y="35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Freeform 246"/>
              <p:cNvSpPr>
                <a:spLocks/>
              </p:cNvSpPr>
              <p:nvPr/>
            </p:nvSpPr>
            <p:spPr bwMode="auto">
              <a:xfrm>
                <a:off x="519086" y="1764887"/>
                <a:ext cx="884830" cy="813864"/>
              </a:xfrm>
              <a:custGeom>
                <a:avLst/>
                <a:gdLst>
                  <a:gd name="T0" fmla="*/ 356 w 373"/>
                  <a:gd name="T1" fmla="*/ 343 h 343"/>
                  <a:gd name="T2" fmla="*/ 373 w 373"/>
                  <a:gd name="T3" fmla="*/ 314 h 343"/>
                  <a:gd name="T4" fmla="*/ 176 w 373"/>
                  <a:gd name="T5" fmla="*/ 153 h 343"/>
                  <a:gd name="T6" fmla="*/ 36 w 373"/>
                  <a:gd name="T7" fmla="*/ 0 h 343"/>
                  <a:gd name="T8" fmla="*/ 0 w 373"/>
                  <a:gd name="T9" fmla="*/ 28 h 343"/>
                  <a:gd name="T10" fmla="*/ 156 w 373"/>
                  <a:gd name="T11" fmla="*/ 196 h 343"/>
                  <a:gd name="T12" fmla="*/ 356 w 373"/>
                  <a:gd name="T13" fmla="*/ 343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3" h="343">
                    <a:moveTo>
                      <a:pt x="356" y="343"/>
                    </a:moveTo>
                    <a:cubicBezTo>
                      <a:pt x="373" y="314"/>
                      <a:pt x="373" y="314"/>
                      <a:pt x="373" y="314"/>
                    </a:cubicBezTo>
                    <a:cubicBezTo>
                      <a:pt x="373" y="314"/>
                      <a:pt x="276" y="254"/>
                      <a:pt x="176" y="153"/>
                    </a:cubicBezTo>
                    <a:cubicBezTo>
                      <a:pt x="112" y="89"/>
                      <a:pt x="36" y="0"/>
                      <a:pt x="36" y="0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74" y="112"/>
                      <a:pt x="156" y="196"/>
                    </a:cubicBezTo>
                    <a:cubicBezTo>
                      <a:pt x="248" y="290"/>
                      <a:pt x="356" y="343"/>
                      <a:pt x="356" y="34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Freeform 247"/>
              <p:cNvSpPr>
                <a:spLocks/>
              </p:cNvSpPr>
              <p:nvPr/>
            </p:nvSpPr>
            <p:spPr bwMode="auto">
              <a:xfrm>
                <a:off x="561756" y="1649005"/>
                <a:ext cx="842160" cy="929745"/>
              </a:xfrm>
              <a:custGeom>
                <a:avLst/>
                <a:gdLst>
                  <a:gd name="T0" fmla="*/ 338 w 355"/>
                  <a:gd name="T1" fmla="*/ 392 h 392"/>
                  <a:gd name="T2" fmla="*/ 355 w 355"/>
                  <a:gd name="T3" fmla="*/ 363 h 392"/>
                  <a:gd name="T4" fmla="*/ 164 w 355"/>
                  <a:gd name="T5" fmla="*/ 181 h 392"/>
                  <a:gd name="T6" fmla="*/ 26 w 355"/>
                  <a:gd name="T7" fmla="*/ 0 h 392"/>
                  <a:gd name="T8" fmla="*/ 0 w 355"/>
                  <a:gd name="T9" fmla="*/ 20 h 392"/>
                  <a:gd name="T10" fmla="*/ 146 w 355"/>
                  <a:gd name="T11" fmla="*/ 215 h 392"/>
                  <a:gd name="T12" fmla="*/ 338 w 355"/>
                  <a:gd name="T13" fmla="*/ 392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5" h="392">
                    <a:moveTo>
                      <a:pt x="338" y="392"/>
                    </a:moveTo>
                    <a:cubicBezTo>
                      <a:pt x="355" y="363"/>
                      <a:pt x="355" y="363"/>
                      <a:pt x="355" y="363"/>
                    </a:cubicBezTo>
                    <a:cubicBezTo>
                      <a:pt x="355" y="363"/>
                      <a:pt x="262" y="285"/>
                      <a:pt x="164" y="181"/>
                    </a:cubicBezTo>
                    <a:cubicBezTo>
                      <a:pt x="98" y="110"/>
                      <a:pt x="26" y="0"/>
                      <a:pt x="26" y="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68" y="126"/>
                      <a:pt x="146" y="215"/>
                    </a:cubicBezTo>
                    <a:cubicBezTo>
                      <a:pt x="236" y="317"/>
                      <a:pt x="338" y="392"/>
                      <a:pt x="338" y="39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Freeform 248"/>
              <p:cNvSpPr>
                <a:spLocks/>
              </p:cNvSpPr>
              <p:nvPr/>
            </p:nvSpPr>
            <p:spPr bwMode="auto">
              <a:xfrm>
                <a:off x="561756" y="1649005"/>
                <a:ext cx="996220" cy="846652"/>
              </a:xfrm>
              <a:custGeom>
                <a:avLst/>
                <a:gdLst>
                  <a:gd name="T0" fmla="*/ 404 w 420"/>
                  <a:gd name="T1" fmla="*/ 357 h 357"/>
                  <a:gd name="T2" fmla="*/ 420 w 420"/>
                  <a:gd name="T3" fmla="*/ 328 h 357"/>
                  <a:gd name="T4" fmla="*/ 190 w 420"/>
                  <a:gd name="T5" fmla="*/ 164 h 357"/>
                  <a:gd name="T6" fmla="*/ 26 w 420"/>
                  <a:gd name="T7" fmla="*/ 0 h 357"/>
                  <a:gd name="T8" fmla="*/ 0 w 420"/>
                  <a:gd name="T9" fmla="*/ 20 h 357"/>
                  <a:gd name="T10" fmla="*/ 176 w 420"/>
                  <a:gd name="T11" fmla="*/ 207 h 357"/>
                  <a:gd name="T12" fmla="*/ 404 w 420"/>
                  <a:gd name="T13" fmla="*/ 357 h 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357">
                    <a:moveTo>
                      <a:pt x="404" y="357"/>
                    </a:moveTo>
                    <a:cubicBezTo>
                      <a:pt x="420" y="328"/>
                      <a:pt x="420" y="328"/>
                      <a:pt x="420" y="328"/>
                    </a:cubicBezTo>
                    <a:cubicBezTo>
                      <a:pt x="420" y="328"/>
                      <a:pt x="296" y="259"/>
                      <a:pt x="190" y="164"/>
                    </a:cubicBezTo>
                    <a:cubicBezTo>
                      <a:pt x="114" y="95"/>
                      <a:pt x="26" y="0"/>
                      <a:pt x="26" y="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83" y="120"/>
                      <a:pt x="176" y="207"/>
                    </a:cubicBezTo>
                    <a:cubicBezTo>
                      <a:pt x="276" y="300"/>
                      <a:pt x="404" y="357"/>
                      <a:pt x="404" y="35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Freeform 249"/>
              <p:cNvSpPr>
                <a:spLocks/>
              </p:cNvSpPr>
              <p:nvPr/>
            </p:nvSpPr>
            <p:spPr bwMode="auto">
              <a:xfrm>
                <a:off x="623289" y="1570404"/>
                <a:ext cx="934686" cy="925253"/>
              </a:xfrm>
              <a:custGeom>
                <a:avLst/>
                <a:gdLst>
                  <a:gd name="T0" fmla="*/ 378 w 394"/>
                  <a:gd name="T1" fmla="*/ 390 h 390"/>
                  <a:gd name="T2" fmla="*/ 394 w 394"/>
                  <a:gd name="T3" fmla="*/ 361 h 390"/>
                  <a:gd name="T4" fmla="*/ 185 w 394"/>
                  <a:gd name="T5" fmla="*/ 183 h 390"/>
                  <a:gd name="T6" fmla="*/ 20 w 394"/>
                  <a:gd name="T7" fmla="*/ 0 h 390"/>
                  <a:gd name="T8" fmla="*/ 0 w 394"/>
                  <a:gd name="T9" fmla="*/ 16 h 390"/>
                  <a:gd name="T10" fmla="*/ 157 w 394"/>
                  <a:gd name="T11" fmla="*/ 221 h 390"/>
                  <a:gd name="T12" fmla="*/ 378 w 394"/>
                  <a:gd name="T13" fmla="*/ 39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4" h="390">
                    <a:moveTo>
                      <a:pt x="378" y="390"/>
                    </a:moveTo>
                    <a:cubicBezTo>
                      <a:pt x="394" y="361"/>
                      <a:pt x="394" y="361"/>
                      <a:pt x="394" y="361"/>
                    </a:cubicBezTo>
                    <a:cubicBezTo>
                      <a:pt x="394" y="361"/>
                      <a:pt x="287" y="280"/>
                      <a:pt x="185" y="183"/>
                    </a:cubicBezTo>
                    <a:cubicBezTo>
                      <a:pt x="98" y="100"/>
                      <a:pt x="20" y="0"/>
                      <a:pt x="20" y="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66" y="132"/>
                      <a:pt x="157" y="221"/>
                    </a:cubicBezTo>
                    <a:cubicBezTo>
                      <a:pt x="256" y="318"/>
                      <a:pt x="378" y="390"/>
                      <a:pt x="378" y="39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Freeform 250"/>
              <p:cNvSpPr>
                <a:spLocks/>
              </p:cNvSpPr>
              <p:nvPr/>
            </p:nvSpPr>
            <p:spPr bwMode="auto">
              <a:xfrm>
                <a:off x="623289" y="1570404"/>
                <a:ext cx="910881" cy="868211"/>
              </a:xfrm>
              <a:custGeom>
                <a:avLst/>
                <a:gdLst>
                  <a:gd name="T0" fmla="*/ 371 w 384"/>
                  <a:gd name="T1" fmla="*/ 366 h 366"/>
                  <a:gd name="T2" fmla="*/ 384 w 384"/>
                  <a:gd name="T3" fmla="*/ 344 h 366"/>
                  <a:gd name="T4" fmla="*/ 185 w 384"/>
                  <a:gd name="T5" fmla="*/ 183 h 366"/>
                  <a:gd name="T6" fmla="*/ 20 w 384"/>
                  <a:gd name="T7" fmla="*/ 0 h 366"/>
                  <a:gd name="T8" fmla="*/ 0 w 384"/>
                  <a:gd name="T9" fmla="*/ 16 h 366"/>
                  <a:gd name="T10" fmla="*/ 173 w 384"/>
                  <a:gd name="T11" fmla="*/ 211 h 366"/>
                  <a:gd name="T12" fmla="*/ 371 w 384"/>
                  <a:gd name="T13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4" h="366">
                    <a:moveTo>
                      <a:pt x="371" y="366"/>
                    </a:moveTo>
                    <a:cubicBezTo>
                      <a:pt x="384" y="344"/>
                      <a:pt x="384" y="344"/>
                      <a:pt x="384" y="344"/>
                    </a:cubicBezTo>
                    <a:cubicBezTo>
                      <a:pt x="384" y="344"/>
                      <a:pt x="287" y="280"/>
                      <a:pt x="185" y="183"/>
                    </a:cubicBezTo>
                    <a:cubicBezTo>
                      <a:pt x="98" y="100"/>
                      <a:pt x="20" y="0"/>
                      <a:pt x="20" y="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82" y="122"/>
                      <a:pt x="173" y="211"/>
                    </a:cubicBezTo>
                    <a:cubicBezTo>
                      <a:pt x="272" y="308"/>
                      <a:pt x="371" y="366"/>
                      <a:pt x="371" y="36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Freeform 251"/>
              <p:cNvSpPr>
                <a:spLocks/>
              </p:cNvSpPr>
              <p:nvPr/>
            </p:nvSpPr>
            <p:spPr bwMode="auto">
              <a:xfrm>
                <a:off x="704137" y="1529980"/>
                <a:ext cx="830033" cy="908635"/>
              </a:xfrm>
              <a:custGeom>
                <a:avLst/>
                <a:gdLst>
                  <a:gd name="T0" fmla="*/ 337 w 350"/>
                  <a:gd name="T1" fmla="*/ 383 h 383"/>
                  <a:gd name="T2" fmla="*/ 350 w 350"/>
                  <a:gd name="T3" fmla="*/ 361 h 383"/>
                  <a:gd name="T4" fmla="*/ 160 w 350"/>
                  <a:gd name="T5" fmla="*/ 180 h 383"/>
                  <a:gd name="T6" fmla="*/ 21 w 350"/>
                  <a:gd name="T7" fmla="*/ 0 h 383"/>
                  <a:gd name="T8" fmla="*/ 0 w 350"/>
                  <a:gd name="T9" fmla="*/ 17 h 383"/>
                  <a:gd name="T10" fmla="*/ 157 w 350"/>
                  <a:gd name="T11" fmla="*/ 222 h 383"/>
                  <a:gd name="T12" fmla="*/ 337 w 350"/>
                  <a:gd name="T13" fmla="*/ 383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0" h="383">
                    <a:moveTo>
                      <a:pt x="337" y="383"/>
                    </a:moveTo>
                    <a:cubicBezTo>
                      <a:pt x="350" y="361"/>
                      <a:pt x="350" y="361"/>
                      <a:pt x="350" y="361"/>
                    </a:cubicBezTo>
                    <a:cubicBezTo>
                      <a:pt x="350" y="361"/>
                      <a:pt x="258" y="280"/>
                      <a:pt x="160" y="180"/>
                    </a:cubicBezTo>
                    <a:cubicBezTo>
                      <a:pt x="75" y="95"/>
                      <a:pt x="21" y="0"/>
                      <a:pt x="21" y="0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7"/>
                      <a:pt x="67" y="133"/>
                      <a:pt x="157" y="222"/>
                    </a:cubicBezTo>
                    <a:cubicBezTo>
                      <a:pt x="256" y="320"/>
                      <a:pt x="337" y="383"/>
                      <a:pt x="337" y="38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Freeform 252"/>
              <p:cNvSpPr>
                <a:spLocks/>
              </p:cNvSpPr>
              <p:nvPr/>
            </p:nvSpPr>
            <p:spPr bwMode="auto">
              <a:xfrm>
                <a:off x="704137" y="1529980"/>
                <a:ext cx="936931" cy="842160"/>
              </a:xfrm>
              <a:custGeom>
                <a:avLst/>
                <a:gdLst>
                  <a:gd name="T0" fmla="*/ 377 w 395"/>
                  <a:gd name="T1" fmla="*/ 355 h 355"/>
                  <a:gd name="T2" fmla="*/ 395 w 395"/>
                  <a:gd name="T3" fmla="*/ 325 h 355"/>
                  <a:gd name="T4" fmla="*/ 190 w 395"/>
                  <a:gd name="T5" fmla="*/ 163 h 355"/>
                  <a:gd name="T6" fmla="*/ 21 w 395"/>
                  <a:gd name="T7" fmla="*/ 0 h 355"/>
                  <a:gd name="T8" fmla="*/ 0 w 395"/>
                  <a:gd name="T9" fmla="*/ 17 h 355"/>
                  <a:gd name="T10" fmla="*/ 180 w 395"/>
                  <a:gd name="T11" fmla="*/ 203 h 355"/>
                  <a:gd name="T12" fmla="*/ 377 w 395"/>
                  <a:gd name="T13" fmla="*/ 355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5" h="355">
                    <a:moveTo>
                      <a:pt x="377" y="355"/>
                    </a:moveTo>
                    <a:cubicBezTo>
                      <a:pt x="395" y="325"/>
                      <a:pt x="395" y="325"/>
                      <a:pt x="395" y="325"/>
                    </a:cubicBezTo>
                    <a:cubicBezTo>
                      <a:pt x="395" y="325"/>
                      <a:pt x="295" y="256"/>
                      <a:pt x="190" y="163"/>
                    </a:cubicBezTo>
                    <a:cubicBezTo>
                      <a:pt x="93" y="77"/>
                      <a:pt x="21" y="0"/>
                      <a:pt x="21" y="0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7"/>
                      <a:pt x="86" y="116"/>
                      <a:pt x="180" y="203"/>
                    </a:cubicBezTo>
                    <a:cubicBezTo>
                      <a:pt x="281" y="298"/>
                      <a:pt x="377" y="355"/>
                      <a:pt x="377" y="35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Freeform 253"/>
              <p:cNvSpPr>
                <a:spLocks/>
              </p:cNvSpPr>
              <p:nvPr/>
            </p:nvSpPr>
            <p:spPr bwMode="auto">
              <a:xfrm>
                <a:off x="723001" y="1463955"/>
                <a:ext cx="918067" cy="908185"/>
              </a:xfrm>
              <a:custGeom>
                <a:avLst/>
                <a:gdLst>
                  <a:gd name="T0" fmla="*/ 369 w 387"/>
                  <a:gd name="T1" fmla="*/ 383 h 383"/>
                  <a:gd name="T2" fmla="*/ 387 w 387"/>
                  <a:gd name="T3" fmla="*/ 353 h 383"/>
                  <a:gd name="T4" fmla="*/ 192 w 387"/>
                  <a:gd name="T5" fmla="*/ 188 h 383"/>
                  <a:gd name="T6" fmla="*/ 30 w 387"/>
                  <a:gd name="T7" fmla="*/ 0 h 383"/>
                  <a:gd name="T8" fmla="*/ 0 w 387"/>
                  <a:gd name="T9" fmla="*/ 25 h 383"/>
                  <a:gd name="T10" fmla="*/ 167 w 387"/>
                  <a:gd name="T11" fmla="*/ 214 h 383"/>
                  <a:gd name="T12" fmla="*/ 369 w 387"/>
                  <a:gd name="T13" fmla="*/ 383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7" h="383">
                    <a:moveTo>
                      <a:pt x="369" y="383"/>
                    </a:moveTo>
                    <a:cubicBezTo>
                      <a:pt x="387" y="353"/>
                      <a:pt x="387" y="353"/>
                      <a:pt x="387" y="353"/>
                    </a:cubicBezTo>
                    <a:cubicBezTo>
                      <a:pt x="387" y="353"/>
                      <a:pt x="295" y="285"/>
                      <a:pt x="192" y="188"/>
                    </a:cubicBezTo>
                    <a:cubicBezTo>
                      <a:pt x="105" y="105"/>
                      <a:pt x="30" y="0"/>
                      <a:pt x="30" y="0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77" y="124"/>
                      <a:pt x="167" y="214"/>
                    </a:cubicBezTo>
                    <a:cubicBezTo>
                      <a:pt x="266" y="313"/>
                      <a:pt x="369" y="383"/>
                      <a:pt x="369" y="38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Freeform 254"/>
              <p:cNvSpPr>
                <a:spLocks/>
              </p:cNvSpPr>
              <p:nvPr/>
            </p:nvSpPr>
            <p:spPr bwMode="auto">
              <a:xfrm>
                <a:off x="860442" y="1416345"/>
                <a:ext cx="740203" cy="837219"/>
              </a:xfrm>
              <a:custGeom>
                <a:avLst/>
                <a:gdLst>
                  <a:gd name="T0" fmla="*/ 282 w 312"/>
                  <a:gd name="T1" fmla="*/ 353 h 353"/>
                  <a:gd name="T2" fmla="*/ 312 w 312"/>
                  <a:gd name="T3" fmla="*/ 318 h 353"/>
                  <a:gd name="T4" fmla="*/ 150 w 312"/>
                  <a:gd name="T5" fmla="*/ 177 h 353"/>
                  <a:gd name="T6" fmla="*/ 30 w 312"/>
                  <a:gd name="T7" fmla="*/ 0 h 353"/>
                  <a:gd name="T8" fmla="*/ 0 w 312"/>
                  <a:gd name="T9" fmla="*/ 24 h 353"/>
                  <a:gd name="T10" fmla="*/ 123 w 312"/>
                  <a:gd name="T11" fmla="*/ 204 h 353"/>
                  <a:gd name="T12" fmla="*/ 282 w 312"/>
                  <a:gd name="T13" fmla="*/ 353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2" h="353">
                    <a:moveTo>
                      <a:pt x="282" y="353"/>
                    </a:moveTo>
                    <a:cubicBezTo>
                      <a:pt x="312" y="318"/>
                      <a:pt x="312" y="318"/>
                      <a:pt x="312" y="318"/>
                    </a:cubicBezTo>
                    <a:cubicBezTo>
                      <a:pt x="312" y="318"/>
                      <a:pt x="232" y="255"/>
                      <a:pt x="150" y="177"/>
                    </a:cubicBezTo>
                    <a:cubicBezTo>
                      <a:pt x="92" y="121"/>
                      <a:pt x="30" y="0"/>
                      <a:pt x="30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37" y="109"/>
                      <a:pt x="123" y="204"/>
                    </a:cubicBezTo>
                    <a:cubicBezTo>
                      <a:pt x="217" y="307"/>
                      <a:pt x="282" y="353"/>
                      <a:pt x="282" y="35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Freeform 255"/>
              <p:cNvSpPr>
                <a:spLocks/>
              </p:cNvSpPr>
              <p:nvPr/>
            </p:nvSpPr>
            <p:spPr bwMode="auto">
              <a:xfrm>
                <a:off x="860442" y="1416345"/>
                <a:ext cx="877643" cy="782872"/>
              </a:xfrm>
              <a:custGeom>
                <a:avLst/>
                <a:gdLst>
                  <a:gd name="T0" fmla="*/ 347 w 370"/>
                  <a:gd name="T1" fmla="*/ 330 h 330"/>
                  <a:gd name="T2" fmla="*/ 370 w 370"/>
                  <a:gd name="T3" fmla="*/ 300 h 330"/>
                  <a:gd name="T4" fmla="*/ 181 w 370"/>
                  <a:gd name="T5" fmla="*/ 147 h 330"/>
                  <a:gd name="T6" fmla="*/ 30 w 370"/>
                  <a:gd name="T7" fmla="*/ 0 h 330"/>
                  <a:gd name="T8" fmla="*/ 0 w 370"/>
                  <a:gd name="T9" fmla="*/ 24 h 330"/>
                  <a:gd name="T10" fmla="*/ 155 w 370"/>
                  <a:gd name="T11" fmla="*/ 177 h 330"/>
                  <a:gd name="T12" fmla="*/ 347 w 370"/>
                  <a:gd name="T13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0" h="330">
                    <a:moveTo>
                      <a:pt x="347" y="330"/>
                    </a:moveTo>
                    <a:cubicBezTo>
                      <a:pt x="370" y="300"/>
                      <a:pt x="370" y="300"/>
                      <a:pt x="370" y="300"/>
                    </a:cubicBezTo>
                    <a:cubicBezTo>
                      <a:pt x="370" y="300"/>
                      <a:pt x="284" y="238"/>
                      <a:pt x="181" y="147"/>
                    </a:cubicBezTo>
                    <a:cubicBezTo>
                      <a:pt x="76" y="54"/>
                      <a:pt x="30" y="0"/>
                      <a:pt x="30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55" y="86"/>
                      <a:pt x="155" y="177"/>
                    </a:cubicBezTo>
                    <a:cubicBezTo>
                      <a:pt x="255" y="268"/>
                      <a:pt x="347" y="330"/>
                      <a:pt x="347" y="33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Freeform 256"/>
              <p:cNvSpPr>
                <a:spLocks/>
              </p:cNvSpPr>
              <p:nvPr/>
            </p:nvSpPr>
            <p:spPr bwMode="auto">
              <a:xfrm>
                <a:off x="957908" y="1375921"/>
                <a:ext cx="780177" cy="823296"/>
              </a:xfrm>
              <a:custGeom>
                <a:avLst/>
                <a:gdLst>
                  <a:gd name="T0" fmla="*/ 306 w 329"/>
                  <a:gd name="T1" fmla="*/ 347 h 347"/>
                  <a:gd name="T2" fmla="*/ 329 w 329"/>
                  <a:gd name="T3" fmla="*/ 317 h 347"/>
                  <a:gd name="T4" fmla="*/ 144 w 329"/>
                  <a:gd name="T5" fmla="*/ 155 h 347"/>
                  <a:gd name="T6" fmla="*/ 31 w 329"/>
                  <a:gd name="T7" fmla="*/ 0 h 347"/>
                  <a:gd name="T8" fmla="*/ 0 w 329"/>
                  <a:gd name="T9" fmla="*/ 29 h 347"/>
                  <a:gd name="T10" fmla="*/ 129 w 329"/>
                  <a:gd name="T11" fmla="*/ 196 h 347"/>
                  <a:gd name="T12" fmla="*/ 306 w 329"/>
                  <a:gd name="T13" fmla="*/ 347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9" h="347">
                    <a:moveTo>
                      <a:pt x="306" y="347"/>
                    </a:moveTo>
                    <a:cubicBezTo>
                      <a:pt x="329" y="317"/>
                      <a:pt x="329" y="317"/>
                      <a:pt x="329" y="317"/>
                    </a:cubicBezTo>
                    <a:cubicBezTo>
                      <a:pt x="329" y="317"/>
                      <a:pt x="237" y="256"/>
                      <a:pt x="144" y="155"/>
                    </a:cubicBezTo>
                    <a:cubicBezTo>
                      <a:pt x="60" y="65"/>
                      <a:pt x="31" y="0"/>
                      <a:pt x="31" y="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47" y="111"/>
                      <a:pt x="129" y="196"/>
                    </a:cubicBezTo>
                    <a:cubicBezTo>
                      <a:pt x="223" y="294"/>
                      <a:pt x="306" y="347"/>
                      <a:pt x="306" y="34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Freeform 257"/>
              <p:cNvSpPr>
                <a:spLocks/>
              </p:cNvSpPr>
              <p:nvPr/>
            </p:nvSpPr>
            <p:spPr bwMode="auto">
              <a:xfrm>
                <a:off x="957908" y="1375921"/>
                <a:ext cx="775686" cy="680914"/>
              </a:xfrm>
              <a:custGeom>
                <a:avLst/>
                <a:gdLst>
                  <a:gd name="T0" fmla="*/ 309 w 327"/>
                  <a:gd name="T1" fmla="*/ 287 h 287"/>
                  <a:gd name="T2" fmla="*/ 327 w 327"/>
                  <a:gd name="T3" fmla="*/ 261 h 287"/>
                  <a:gd name="T4" fmla="*/ 162 w 327"/>
                  <a:gd name="T5" fmla="*/ 134 h 287"/>
                  <a:gd name="T6" fmla="*/ 31 w 327"/>
                  <a:gd name="T7" fmla="*/ 0 h 287"/>
                  <a:gd name="T8" fmla="*/ 0 w 327"/>
                  <a:gd name="T9" fmla="*/ 29 h 287"/>
                  <a:gd name="T10" fmla="*/ 152 w 327"/>
                  <a:gd name="T11" fmla="*/ 170 h 287"/>
                  <a:gd name="T12" fmla="*/ 309 w 327"/>
                  <a:gd name="T13" fmla="*/ 287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7" h="287">
                    <a:moveTo>
                      <a:pt x="309" y="287"/>
                    </a:moveTo>
                    <a:cubicBezTo>
                      <a:pt x="327" y="261"/>
                      <a:pt x="327" y="261"/>
                      <a:pt x="327" y="261"/>
                    </a:cubicBezTo>
                    <a:cubicBezTo>
                      <a:pt x="327" y="261"/>
                      <a:pt x="248" y="211"/>
                      <a:pt x="162" y="134"/>
                    </a:cubicBezTo>
                    <a:cubicBezTo>
                      <a:pt x="81" y="62"/>
                      <a:pt x="31" y="0"/>
                      <a:pt x="31" y="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58" y="90"/>
                      <a:pt x="152" y="170"/>
                    </a:cubicBezTo>
                    <a:cubicBezTo>
                      <a:pt x="238" y="243"/>
                      <a:pt x="309" y="287"/>
                      <a:pt x="309" y="28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Freeform 258"/>
              <p:cNvSpPr>
                <a:spLocks/>
              </p:cNvSpPr>
              <p:nvPr/>
            </p:nvSpPr>
            <p:spPr bwMode="auto">
              <a:xfrm>
                <a:off x="1041001" y="1380862"/>
                <a:ext cx="692593" cy="675974"/>
              </a:xfrm>
              <a:custGeom>
                <a:avLst/>
                <a:gdLst>
                  <a:gd name="T0" fmla="*/ 274 w 292"/>
                  <a:gd name="T1" fmla="*/ 285 h 285"/>
                  <a:gd name="T2" fmla="*/ 292 w 292"/>
                  <a:gd name="T3" fmla="*/ 259 h 285"/>
                  <a:gd name="T4" fmla="*/ 146 w 292"/>
                  <a:gd name="T5" fmla="*/ 135 h 285"/>
                  <a:gd name="T6" fmla="*/ 25 w 292"/>
                  <a:gd name="T7" fmla="*/ 0 h 285"/>
                  <a:gd name="T8" fmla="*/ 0 w 292"/>
                  <a:gd name="T9" fmla="*/ 24 h 285"/>
                  <a:gd name="T10" fmla="*/ 121 w 292"/>
                  <a:gd name="T11" fmla="*/ 155 h 285"/>
                  <a:gd name="T12" fmla="*/ 274 w 292"/>
                  <a:gd name="T13" fmla="*/ 28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2" h="285">
                    <a:moveTo>
                      <a:pt x="274" y="285"/>
                    </a:moveTo>
                    <a:cubicBezTo>
                      <a:pt x="292" y="259"/>
                      <a:pt x="292" y="259"/>
                      <a:pt x="292" y="259"/>
                    </a:cubicBezTo>
                    <a:cubicBezTo>
                      <a:pt x="292" y="259"/>
                      <a:pt x="229" y="215"/>
                      <a:pt x="146" y="135"/>
                    </a:cubicBezTo>
                    <a:cubicBezTo>
                      <a:pt x="70" y="62"/>
                      <a:pt x="25" y="0"/>
                      <a:pt x="25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35" y="67"/>
                      <a:pt x="121" y="155"/>
                    </a:cubicBezTo>
                    <a:cubicBezTo>
                      <a:pt x="199" y="234"/>
                      <a:pt x="274" y="285"/>
                      <a:pt x="274" y="28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Freeform 259"/>
              <p:cNvSpPr>
                <a:spLocks/>
              </p:cNvSpPr>
              <p:nvPr/>
            </p:nvSpPr>
            <p:spPr bwMode="auto">
              <a:xfrm>
                <a:off x="1041001" y="1380862"/>
                <a:ext cx="699779" cy="571771"/>
              </a:xfrm>
              <a:custGeom>
                <a:avLst/>
                <a:gdLst>
                  <a:gd name="T0" fmla="*/ 282 w 295"/>
                  <a:gd name="T1" fmla="*/ 241 h 241"/>
                  <a:gd name="T2" fmla="*/ 295 w 295"/>
                  <a:gd name="T3" fmla="*/ 219 h 241"/>
                  <a:gd name="T4" fmla="*/ 164 w 295"/>
                  <a:gd name="T5" fmla="*/ 128 h 241"/>
                  <a:gd name="T6" fmla="*/ 25 w 295"/>
                  <a:gd name="T7" fmla="*/ 0 h 241"/>
                  <a:gd name="T8" fmla="*/ 0 w 295"/>
                  <a:gd name="T9" fmla="*/ 24 h 241"/>
                  <a:gd name="T10" fmla="*/ 142 w 295"/>
                  <a:gd name="T11" fmla="*/ 148 h 241"/>
                  <a:gd name="T12" fmla="*/ 282 w 295"/>
                  <a:gd name="T13" fmla="*/ 241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5" h="241">
                    <a:moveTo>
                      <a:pt x="282" y="241"/>
                    </a:moveTo>
                    <a:cubicBezTo>
                      <a:pt x="295" y="219"/>
                      <a:pt x="295" y="219"/>
                      <a:pt x="295" y="219"/>
                    </a:cubicBezTo>
                    <a:cubicBezTo>
                      <a:pt x="295" y="219"/>
                      <a:pt x="242" y="190"/>
                      <a:pt x="164" y="128"/>
                    </a:cubicBezTo>
                    <a:cubicBezTo>
                      <a:pt x="72" y="56"/>
                      <a:pt x="25" y="0"/>
                      <a:pt x="25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44" y="68"/>
                      <a:pt x="142" y="148"/>
                    </a:cubicBezTo>
                    <a:cubicBezTo>
                      <a:pt x="211" y="205"/>
                      <a:pt x="282" y="241"/>
                      <a:pt x="282" y="24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Freeform 260"/>
              <p:cNvSpPr>
                <a:spLocks/>
              </p:cNvSpPr>
              <p:nvPr/>
            </p:nvSpPr>
            <p:spPr bwMode="auto">
              <a:xfrm>
                <a:off x="1206738" y="1392540"/>
                <a:ext cx="534042" cy="560093"/>
              </a:xfrm>
              <a:custGeom>
                <a:avLst/>
                <a:gdLst>
                  <a:gd name="T0" fmla="*/ 212 w 225"/>
                  <a:gd name="T1" fmla="*/ 236 h 236"/>
                  <a:gd name="T2" fmla="*/ 225 w 225"/>
                  <a:gd name="T3" fmla="*/ 214 h 236"/>
                  <a:gd name="T4" fmla="*/ 113 w 225"/>
                  <a:gd name="T5" fmla="*/ 118 h 236"/>
                  <a:gd name="T6" fmla="*/ 25 w 225"/>
                  <a:gd name="T7" fmla="*/ 0 h 236"/>
                  <a:gd name="T8" fmla="*/ 0 w 225"/>
                  <a:gd name="T9" fmla="*/ 24 h 236"/>
                  <a:gd name="T10" fmla="*/ 87 w 225"/>
                  <a:gd name="T11" fmla="*/ 138 h 236"/>
                  <a:gd name="T12" fmla="*/ 212 w 225"/>
                  <a:gd name="T13" fmla="*/ 236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5" h="236">
                    <a:moveTo>
                      <a:pt x="212" y="236"/>
                    </a:moveTo>
                    <a:cubicBezTo>
                      <a:pt x="225" y="214"/>
                      <a:pt x="225" y="214"/>
                      <a:pt x="225" y="214"/>
                    </a:cubicBezTo>
                    <a:cubicBezTo>
                      <a:pt x="225" y="214"/>
                      <a:pt x="184" y="187"/>
                      <a:pt x="113" y="118"/>
                    </a:cubicBezTo>
                    <a:cubicBezTo>
                      <a:pt x="53" y="58"/>
                      <a:pt x="25" y="0"/>
                      <a:pt x="25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26" y="78"/>
                      <a:pt x="87" y="138"/>
                    </a:cubicBezTo>
                    <a:cubicBezTo>
                      <a:pt x="151" y="201"/>
                      <a:pt x="212" y="236"/>
                      <a:pt x="212" y="23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Freeform 261"/>
              <p:cNvSpPr>
                <a:spLocks/>
              </p:cNvSpPr>
              <p:nvPr/>
            </p:nvSpPr>
            <p:spPr bwMode="auto">
              <a:xfrm>
                <a:off x="1206738" y="1392540"/>
                <a:ext cx="465322" cy="419957"/>
              </a:xfrm>
              <a:custGeom>
                <a:avLst/>
                <a:gdLst>
                  <a:gd name="T0" fmla="*/ 180 w 196"/>
                  <a:gd name="T1" fmla="*/ 177 h 177"/>
                  <a:gd name="T2" fmla="*/ 196 w 196"/>
                  <a:gd name="T3" fmla="*/ 153 h 177"/>
                  <a:gd name="T4" fmla="*/ 111 w 196"/>
                  <a:gd name="T5" fmla="*/ 93 h 177"/>
                  <a:gd name="T6" fmla="*/ 25 w 196"/>
                  <a:gd name="T7" fmla="*/ 0 h 177"/>
                  <a:gd name="T8" fmla="*/ 0 w 196"/>
                  <a:gd name="T9" fmla="*/ 24 h 177"/>
                  <a:gd name="T10" fmla="*/ 86 w 196"/>
                  <a:gd name="T11" fmla="*/ 114 h 177"/>
                  <a:gd name="T12" fmla="*/ 180 w 196"/>
                  <a:gd name="T13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6" h="177">
                    <a:moveTo>
                      <a:pt x="180" y="177"/>
                    </a:moveTo>
                    <a:cubicBezTo>
                      <a:pt x="196" y="153"/>
                      <a:pt x="196" y="153"/>
                      <a:pt x="196" y="153"/>
                    </a:cubicBezTo>
                    <a:cubicBezTo>
                      <a:pt x="196" y="153"/>
                      <a:pt x="152" y="129"/>
                      <a:pt x="111" y="93"/>
                    </a:cubicBezTo>
                    <a:cubicBezTo>
                      <a:pt x="47" y="35"/>
                      <a:pt x="25" y="0"/>
                      <a:pt x="25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22" y="56"/>
                      <a:pt x="86" y="114"/>
                    </a:cubicBezTo>
                    <a:cubicBezTo>
                      <a:pt x="129" y="154"/>
                      <a:pt x="180" y="177"/>
                      <a:pt x="180" y="17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Freeform 262"/>
              <p:cNvSpPr>
                <a:spLocks/>
              </p:cNvSpPr>
              <p:nvPr/>
            </p:nvSpPr>
            <p:spPr bwMode="auto">
              <a:xfrm>
                <a:off x="1387297" y="1454073"/>
                <a:ext cx="284762" cy="358423"/>
              </a:xfrm>
              <a:custGeom>
                <a:avLst/>
                <a:gdLst>
                  <a:gd name="T0" fmla="*/ 104 w 120"/>
                  <a:gd name="T1" fmla="*/ 151 h 151"/>
                  <a:gd name="T2" fmla="*/ 120 w 120"/>
                  <a:gd name="T3" fmla="*/ 127 h 151"/>
                  <a:gd name="T4" fmla="*/ 52 w 120"/>
                  <a:gd name="T5" fmla="*/ 58 h 151"/>
                  <a:gd name="T6" fmla="*/ 12 w 120"/>
                  <a:gd name="T7" fmla="*/ 0 h 151"/>
                  <a:gd name="T8" fmla="*/ 0 w 120"/>
                  <a:gd name="T9" fmla="*/ 10 h 151"/>
                  <a:gd name="T10" fmla="*/ 57 w 120"/>
                  <a:gd name="T11" fmla="*/ 101 h 151"/>
                  <a:gd name="T12" fmla="*/ 104 w 120"/>
                  <a:gd name="T13" fmla="*/ 151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0" h="151">
                    <a:moveTo>
                      <a:pt x="104" y="151"/>
                    </a:moveTo>
                    <a:cubicBezTo>
                      <a:pt x="120" y="127"/>
                      <a:pt x="120" y="127"/>
                      <a:pt x="120" y="127"/>
                    </a:cubicBezTo>
                    <a:cubicBezTo>
                      <a:pt x="120" y="127"/>
                      <a:pt x="88" y="103"/>
                      <a:pt x="52" y="58"/>
                    </a:cubicBezTo>
                    <a:cubicBezTo>
                      <a:pt x="33" y="35"/>
                      <a:pt x="12" y="0"/>
                      <a:pt x="12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14" y="48"/>
                      <a:pt x="57" y="101"/>
                    </a:cubicBezTo>
                    <a:cubicBezTo>
                      <a:pt x="89" y="139"/>
                      <a:pt x="104" y="151"/>
                      <a:pt x="104" y="1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Freeform 263"/>
              <p:cNvSpPr>
                <a:spLocks/>
              </p:cNvSpPr>
              <p:nvPr/>
            </p:nvSpPr>
            <p:spPr bwMode="auto">
              <a:xfrm>
                <a:off x="1387297" y="1454073"/>
                <a:ext cx="256017" cy="242093"/>
              </a:xfrm>
              <a:custGeom>
                <a:avLst/>
                <a:gdLst>
                  <a:gd name="T0" fmla="*/ 96 w 108"/>
                  <a:gd name="T1" fmla="*/ 102 h 102"/>
                  <a:gd name="T2" fmla="*/ 108 w 108"/>
                  <a:gd name="T3" fmla="*/ 86 h 102"/>
                  <a:gd name="T4" fmla="*/ 63 w 108"/>
                  <a:gd name="T5" fmla="*/ 47 h 102"/>
                  <a:gd name="T6" fmla="*/ 12 w 108"/>
                  <a:gd name="T7" fmla="*/ 0 h 102"/>
                  <a:gd name="T8" fmla="*/ 0 w 108"/>
                  <a:gd name="T9" fmla="*/ 10 h 102"/>
                  <a:gd name="T10" fmla="*/ 57 w 108"/>
                  <a:gd name="T11" fmla="*/ 70 h 102"/>
                  <a:gd name="T12" fmla="*/ 96 w 108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" h="102">
                    <a:moveTo>
                      <a:pt x="96" y="102"/>
                    </a:moveTo>
                    <a:cubicBezTo>
                      <a:pt x="108" y="86"/>
                      <a:pt x="108" y="86"/>
                      <a:pt x="108" y="86"/>
                    </a:cubicBezTo>
                    <a:cubicBezTo>
                      <a:pt x="108" y="86"/>
                      <a:pt x="93" y="75"/>
                      <a:pt x="63" y="47"/>
                    </a:cubicBezTo>
                    <a:cubicBezTo>
                      <a:pt x="40" y="26"/>
                      <a:pt x="12" y="0"/>
                      <a:pt x="12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21" y="36"/>
                      <a:pt x="57" y="70"/>
                    </a:cubicBezTo>
                    <a:cubicBezTo>
                      <a:pt x="81" y="92"/>
                      <a:pt x="96" y="102"/>
                      <a:pt x="96" y="10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Freeform 264"/>
              <p:cNvSpPr>
                <a:spLocks/>
              </p:cNvSpPr>
              <p:nvPr/>
            </p:nvSpPr>
            <p:spPr bwMode="auto">
              <a:xfrm>
                <a:off x="599484" y="2305666"/>
                <a:ext cx="273085" cy="270839"/>
              </a:xfrm>
              <a:custGeom>
                <a:avLst/>
                <a:gdLst>
                  <a:gd name="T0" fmla="*/ 13 w 115"/>
                  <a:gd name="T1" fmla="*/ 0 h 114"/>
                  <a:gd name="T2" fmla="*/ 0 w 115"/>
                  <a:gd name="T3" fmla="*/ 9 h 114"/>
                  <a:gd name="T4" fmla="*/ 51 w 115"/>
                  <a:gd name="T5" fmla="*/ 66 h 114"/>
                  <a:gd name="T6" fmla="*/ 115 w 115"/>
                  <a:gd name="T7" fmla="*/ 114 h 114"/>
                  <a:gd name="T8" fmla="*/ 14 w 115"/>
                  <a:gd name="T9" fmla="*/ 1 h 114"/>
                  <a:gd name="T10" fmla="*/ 13 w 115"/>
                  <a:gd name="T11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5" h="114">
                    <a:moveTo>
                      <a:pt x="13" y="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35" y="51"/>
                      <a:pt x="51" y="66"/>
                    </a:cubicBezTo>
                    <a:cubicBezTo>
                      <a:pt x="85" y="100"/>
                      <a:pt x="115" y="114"/>
                      <a:pt x="115" y="114"/>
                    </a:cubicBezTo>
                    <a:cubicBezTo>
                      <a:pt x="115" y="114"/>
                      <a:pt x="64" y="67"/>
                      <a:pt x="14" y="1"/>
                    </a:cubicBezTo>
                    <a:cubicBezTo>
                      <a:pt x="14" y="0"/>
                      <a:pt x="13" y="0"/>
                      <a:pt x="13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Freeform 265"/>
              <p:cNvSpPr>
                <a:spLocks/>
              </p:cNvSpPr>
              <p:nvPr/>
            </p:nvSpPr>
            <p:spPr bwMode="auto">
              <a:xfrm>
                <a:off x="509205" y="2104446"/>
                <a:ext cx="389415" cy="443313"/>
              </a:xfrm>
              <a:custGeom>
                <a:avLst/>
                <a:gdLst>
                  <a:gd name="T0" fmla="*/ 0 w 164"/>
                  <a:gd name="T1" fmla="*/ 0 h 187"/>
                  <a:gd name="T2" fmla="*/ 51 w 164"/>
                  <a:gd name="T3" fmla="*/ 85 h 187"/>
                  <a:gd name="T4" fmla="*/ 57 w 164"/>
                  <a:gd name="T5" fmla="*/ 81 h 187"/>
                  <a:gd name="T6" fmla="*/ 104 w 164"/>
                  <a:gd name="T7" fmla="*/ 137 h 187"/>
                  <a:gd name="T8" fmla="*/ 164 w 164"/>
                  <a:gd name="T9" fmla="*/ 187 h 187"/>
                  <a:gd name="T10" fmla="*/ 164 w 164"/>
                  <a:gd name="T11" fmla="*/ 187 h 187"/>
                  <a:gd name="T12" fmla="*/ 116 w 164"/>
                  <a:gd name="T13" fmla="*/ 132 h 187"/>
                  <a:gd name="T14" fmla="*/ 109 w 164"/>
                  <a:gd name="T15" fmla="*/ 125 h 187"/>
                  <a:gd name="T16" fmla="*/ 0 w 164"/>
                  <a:gd name="T17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4" h="187">
                    <a:moveTo>
                      <a:pt x="0" y="0"/>
                    </a:moveTo>
                    <a:cubicBezTo>
                      <a:pt x="0" y="0"/>
                      <a:pt x="34" y="61"/>
                      <a:pt x="51" y="85"/>
                    </a:cubicBezTo>
                    <a:cubicBezTo>
                      <a:pt x="57" y="81"/>
                      <a:pt x="57" y="81"/>
                      <a:pt x="57" y="81"/>
                    </a:cubicBezTo>
                    <a:cubicBezTo>
                      <a:pt x="57" y="81"/>
                      <a:pt x="81" y="112"/>
                      <a:pt x="104" y="137"/>
                    </a:cubicBezTo>
                    <a:cubicBezTo>
                      <a:pt x="125" y="159"/>
                      <a:pt x="164" y="187"/>
                      <a:pt x="164" y="187"/>
                    </a:cubicBezTo>
                    <a:cubicBezTo>
                      <a:pt x="164" y="187"/>
                      <a:pt x="164" y="187"/>
                      <a:pt x="164" y="187"/>
                    </a:cubicBezTo>
                    <a:cubicBezTo>
                      <a:pt x="164" y="187"/>
                      <a:pt x="142" y="163"/>
                      <a:pt x="116" y="132"/>
                    </a:cubicBezTo>
                    <a:cubicBezTo>
                      <a:pt x="114" y="129"/>
                      <a:pt x="111" y="127"/>
                      <a:pt x="109" y="125"/>
                    </a:cubicBezTo>
                    <a:cubicBezTo>
                      <a:pt x="49" y="66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Freeform 266"/>
              <p:cNvSpPr>
                <a:spLocks/>
              </p:cNvSpPr>
              <p:nvPr/>
            </p:nvSpPr>
            <p:spPr bwMode="auto">
              <a:xfrm>
                <a:off x="630476" y="2296234"/>
                <a:ext cx="268144" cy="280271"/>
              </a:xfrm>
              <a:custGeom>
                <a:avLst/>
                <a:gdLst>
                  <a:gd name="T0" fmla="*/ 6 w 113"/>
                  <a:gd name="T1" fmla="*/ 0 h 118"/>
                  <a:gd name="T2" fmla="*/ 0 w 113"/>
                  <a:gd name="T3" fmla="*/ 4 h 118"/>
                  <a:gd name="T4" fmla="*/ 1 w 113"/>
                  <a:gd name="T5" fmla="*/ 5 h 118"/>
                  <a:gd name="T6" fmla="*/ 102 w 113"/>
                  <a:gd name="T7" fmla="*/ 118 h 118"/>
                  <a:gd name="T8" fmla="*/ 113 w 113"/>
                  <a:gd name="T9" fmla="*/ 106 h 118"/>
                  <a:gd name="T10" fmla="*/ 53 w 113"/>
                  <a:gd name="T11" fmla="*/ 56 h 118"/>
                  <a:gd name="T12" fmla="*/ 6 w 113"/>
                  <a:gd name="T13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3" h="118">
                    <a:moveTo>
                      <a:pt x="6" y="0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1" y="4"/>
                      <a:pt x="1" y="5"/>
                    </a:cubicBezTo>
                    <a:cubicBezTo>
                      <a:pt x="51" y="71"/>
                      <a:pt x="102" y="118"/>
                      <a:pt x="102" y="118"/>
                    </a:cubicBezTo>
                    <a:cubicBezTo>
                      <a:pt x="113" y="106"/>
                      <a:pt x="113" y="106"/>
                      <a:pt x="113" y="106"/>
                    </a:cubicBezTo>
                    <a:cubicBezTo>
                      <a:pt x="113" y="106"/>
                      <a:pt x="74" y="78"/>
                      <a:pt x="53" y="56"/>
                    </a:cubicBezTo>
                    <a:cubicBezTo>
                      <a:pt x="30" y="31"/>
                      <a:pt x="6" y="0"/>
                      <a:pt x="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Freeform 267"/>
              <p:cNvSpPr>
                <a:spLocks/>
              </p:cNvSpPr>
              <p:nvPr/>
            </p:nvSpPr>
            <p:spPr bwMode="auto">
              <a:xfrm>
                <a:off x="556815" y="2071208"/>
                <a:ext cx="531347" cy="569076"/>
              </a:xfrm>
              <a:custGeom>
                <a:avLst/>
                <a:gdLst>
                  <a:gd name="T0" fmla="*/ 0 w 224"/>
                  <a:gd name="T1" fmla="*/ 0 h 240"/>
                  <a:gd name="T2" fmla="*/ 62 w 224"/>
                  <a:gd name="T3" fmla="*/ 101 h 240"/>
                  <a:gd name="T4" fmla="*/ 96 w 224"/>
                  <a:gd name="T5" fmla="*/ 146 h 240"/>
                  <a:gd name="T6" fmla="*/ 224 w 224"/>
                  <a:gd name="T7" fmla="*/ 240 h 240"/>
                  <a:gd name="T8" fmla="*/ 104 w 224"/>
                  <a:gd name="T9" fmla="*/ 120 h 240"/>
                  <a:gd name="T10" fmla="*/ 52 w 224"/>
                  <a:gd name="T11" fmla="*/ 56 h 240"/>
                  <a:gd name="T12" fmla="*/ 0 w 224"/>
                  <a:gd name="T13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4" h="240">
                    <a:moveTo>
                      <a:pt x="0" y="0"/>
                    </a:moveTo>
                    <a:cubicBezTo>
                      <a:pt x="0" y="0"/>
                      <a:pt x="25" y="51"/>
                      <a:pt x="62" y="101"/>
                    </a:cubicBezTo>
                    <a:cubicBezTo>
                      <a:pt x="73" y="117"/>
                      <a:pt x="85" y="132"/>
                      <a:pt x="96" y="146"/>
                    </a:cubicBezTo>
                    <a:cubicBezTo>
                      <a:pt x="163" y="209"/>
                      <a:pt x="224" y="240"/>
                      <a:pt x="224" y="240"/>
                    </a:cubicBezTo>
                    <a:cubicBezTo>
                      <a:pt x="224" y="240"/>
                      <a:pt x="167" y="195"/>
                      <a:pt x="104" y="120"/>
                    </a:cubicBezTo>
                    <a:cubicBezTo>
                      <a:pt x="85" y="97"/>
                      <a:pt x="67" y="75"/>
                      <a:pt x="52" y="56"/>
                    </a:cubicBezTo>
                    <a:cubicBezTo>
                      <a:pt x="23" y="27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Freeform 268"/>
              <p:cNvSpPr>
                <a:spLocks/>
              </p:cNvSpPr>
              <p:nvPr/>
            </p:nvSpPr>
            <p:spPr bwMode="auto">
              <a:xfrm>
                <a:off x="509205" y="2071208"/>
                <a:ext cx="275330" cy="346296"/>
              </a:xfrm>
              <a:custGeom>
                <a:avLst/>
                <a:gdLst>
                  <a:gd name="T0" fmla="*/ 20 w 116"/>
                  <a:gd name="T1" fmla="*/ 0 h 146"/>
                  <a:gd name="T2" fmla="*/ 0 w 116"/>
                  <a:gd name="T3" fmla="*/ 14 h 146"/>
                  <a:gd name="T4" fmla="*/ 109 w 116"/>
                  <a:gd name="T5" fmla="*/ 139 h 146"/>
                  <a:gd name="T6" fmla="*/ 116 w 116"/>
                  <a:gd name="T7" fmla="*/ 146 h 146"/>
                  <a:gd name="T8" fmla="*/ 82 w 116"/>
                  <a:gd name="T9" fmla="*/ 101 h 146"/>
                  <a:gd name="T10" fmla="*/ 20 w 116"/>
                  <a:gd name="T11" fmla="*/ 0 h 146"/>
                  <a:gd name="T12" fmla="*/ 20 w 116"/>
                  <a:gd name="T13" fmla="*/ 0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6" h="146">
                    <a:moveTo>
                      <a:pt x="20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49" y="80"/>
                      <a:pt x="109" y="139"/>
                    </a:cubicBezTo>
                    <a:cubicBezTo>
                      <a:pt x="111" y="141"/>
                      <a:pt x="114" y="143"/>
                      <a:pt x="116" y="146"/>
                    </a:cubicBezTo>
                    <a:cubicBezTo>
                      <a:pt x="105" y="132"/>
                      <a:pt x="93" y="117"/>
                      <a:pt x="82" y="101"/>
                    </a:cubicBezTo>
                    <a:cubicBezTo>
                      <a:pt x="45" y="51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Freeform 269"/>
              <p:cNvSpPr>
                <a:spLocks/>
              </p:cNvSpPr>
              <p:nvPr/>
            </p:nvSpPr>
            <p:spPr bwMode="auto">
              <a:xfrm>
                <a:off x="506959" y="1975988"/>
                <a:ext cx="633305" cy="593330"/>
              </a:xfrm>
              <a:custGeom>
                <a:avLst/>
                <a:gdLst>
                  <a:gd name="T0" fmla="*/ 0 w 267"/>
                  <a:gd name="T1" fmla="*/ 0 h 250"/>
                  <a:gd name="T2" fmla="*/ 73 w 267"/>
                  <a:gd name="T3" fmla="*/ 96 h 250"/>
                  <a:gd name="T4" fmla="*/ 120 w 267"/>
                  <a:gd name="T5" fmla="*/ 141 h 250"/>
                  <a:gd name="T6" fmla="*/ 267 w 267"/>
                  <a:gd name="T7" fmla="*/ 250 h 250"/>
                  <a:gd name="T8" fmla="*/ 267 w 267"/>
                  <a:gd name="T9" fmla="*/ 250 h 250"/>
                  <a:gd name="T10" fmla="*/ 230 w 267"/>
                  <a:gd name="T11" fmla="*/ 212 h 250"/>
                  <a:gd name="T12" fmla="*/ 146 w 267"/>
                  <a:gd name="T13" fmla="*/ 149 h 250"/>
                  <a:gd name="T14" fmla="*/ 0 w 267"/>
                  <a:gd name="T15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7" h="250">
                    <a:moveTo>
                      <a:pt x="0" y="0"/>
                    </a:moveTo>
                    <a:cubicBezTo>
                      <a:pt x="0" y="0"/>
                      <a:pt x="27" y="39"/>
                      <a:pt x="73" y="96"/>
                    </a:cubicBezTo>
                    <a:cubicBezTo>
                      <a:pt x="88" y="111"/>
                      <a:pt x="104" y="127"/>
                      <a:pt x="120" y="141"/>
                    </a:cubicBezTo>
                    <a:cubicBezTo>
                      <a:pt x="212" y="221"/>
                      <a:pt x="267" y="250"/>
                      <a:pt x="267" y="250"/>
                    </a:cubicBezTo>
                    <a:cubicBezTo>
                      <a:pt x="267" y="250"/>
                      <a:pt x="267" y="250"/>
                      <a:pt x="267" y="250"/>
                    </a:cubicBezTo>
                    <a:cubicBezTo>
                      <a:pt x="267" y="250"/>
                      <a:pt x="255" y="238"/>
                      <a:pt x="230" y="212"/>
                    </a:cubicBezTo>
                    <a:cubicBezTo>
                      <a:pt x="202" y="193"/>
                      <a:pt x="172" y="170"/>
                      <a:pt x="146" y="149"/>
                    </a:cubicBezTo>
                    <a:cubicBezTo>
                      <a:pt x="56" y="72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Freeform 270"/>
              <p:cNvSpPr>
                <a:spLocks/>
              </p:cNvSpPr>
              <p:nvPr/>
            </p:nvSpPr>
            <p:spPr bwMode="auto">
              <a:xfrm>
                <a:off x="680332" y="2203708"/>
                <a:ext cx="459932" cy="436576"/>
              </a:xfrm>
              <a:custGeom>
                <a:avLst/>
                <a:gdLst>
                  <a:gd name="T0" fmla="*/ 0 w 194"/>
                  <a:gd name="T1" fmla="*/ 0 h 184"/>
                  <a:gd name="T2" fmla="*/ 52 w 194"/>
                  <a:gd name="T3" fmla="*/ 64 h 184"/>
                  <a:gd name="T4" fmla="*/ 172 w 194"/>
                  <a:gd name="T5" fmla="*/ 184 h 184"/>
                  <a:gd name="T6" fmla="*/ 194 w 194"/>
                  <a:gd name="T7" fmla="*/ 154 h 184"/>
                  <a:gd name="T8" fmla="*/ 47 w 194"/>
                  <a:gd name="T9" fmla="*/ 45 h 184"/>
                  <a:gd name="T10" fmla="*/ 0 w 194"/>
                  <a:gd name="T11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4" h="184">
                    <a:moveTo>
                      <a:pt x="0" y="0"/>
                    </a:moveTo>
                    <a:cubicBezTo>
                      <a:pt x="15" y="19"/>
                      <a:pt x="33" y="41"/>
                      <a:pt x="52" y="64"/>
                    </a:cubicBezTo>
                    <a:cubicBezTo>
                      <a:pt x="115" y="139"/>
                      <a:pt x="172" y="184"/>
                      <a:pt x="172" y="184"/>
                    </a:cubicBezTo>
                    <a:cubicBezTo>
                      <a:pt x="194" y="154"/>
                      <a:pt x="194" y="154"/>
                      <a:pt x="194" y="154"/>
                    </a:cubicBezTo>
                    <a:cubicBezTo>
                      <a:pt x="194" y="154"/>
                      <a:pt x="139" y="125"/>
                      <a:pt x="47" y="45"/>
                    </a:cubicBezTo>
                    <a:cubicBezTo>
                      <a:pt x="31" y="31"/>
                      <a:pt x="15" y="15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Freeform 271"/>
              <p:cNvSpPr>
                <a:spLocks/>
              </p:cNvSpPr>
              <p:nvPr/>
            </p:nvSpPr>
            <p:spPr bwMode="auto">
              <a:xfrm>
                <a:off x="561756" y="1933319"/>
                <a:ext cx="687652" cy="673728"/>
              </a:xfrm>
              <a:custGeom>
                <a:avLst/>
                <a:gdLst>
                  <a:gd name="T0" fmla="*/ 0 w 290"/>
                  <a:gd name="T1" fmla="*/ 0 h 284"/>
                  <a:gd name="T2" fmla="*/ 109 w 290"/>
                  <a:gd name="T3" fmla="*/ 125 h 284"/>
                  <a:gd name="T4" fmla="*/ 207 w 290"/>
                  <a:gd name="T5" fmla="*/ 230 h 284"/>
                  <a:gd name="T6" fmla="*/ 290 w 290"/>
                  <a:gd name="T7" fmla="*/ 284 h 284"/>
                  <a:gd name="T8" fmla="*/ 132 w 290"/>
                  <a:gd name="T9" fmla="*/ 139 h 284"/>
                  <a:gd name="T10" fmla="*/ 79 w 290"/>
                  <a:gd name="T11" fmla="*/ 80 h 284"/>
                  <a:gd name="T12" fmla="*/ 0 w 290"/>
                  <a:gd name="T13" fmla="*/ 0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" h="284">
                    <a:moveTo>
                      <a:pt x="0" y="0"/>
                    </a:moveTo>
                    <a:cubicBezTo>
                      <a:pt x="0" y="0"/>
                      <a:pt x="57" y="68"/>
                      <a:pt x="109" y="125"/>
                    </a:cubicBezTo>
                    <a:cubicBezTo>
                      <a:pt x="152" y="172"/>
                      <a:pt x="185" y="207"/>
                      <a:pt x="207" y="230"/>
                    </a:cubicBezTo>
                    <a:cubicBezTo>
                      <a:pt x="252" y="261"/>
                      <a:pt x="290" y="284"/>
                      <a:pt x="290" y="284"/>
                    </a:cubicBezTo>
                    <a:cubicBezTo>
                      <a:pt x="290" y="284"/>
                      <a:pt x="200" y="211"/>
                      <a:pt x="132" y="139"/>
                    </a:cubicBezTo>
                    <a:cubicBezTo>
                      <a:pt x="114" y="119"/>
                      <a:pt x="96" y="99"/>
                      <a:pt x="79" y="80"/>
                    </a:cubicBezTo>
                    <a:cubicBezTo>
                      <a:pt x="37" y="39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Freeform 272"/>
              <p:cNvSpPr>
                <a:spLocks/>
              </p:cNvSpPr>
              <p:nvPr/>
            </p:nvSpPr>
            <p:spPr bwMode="auto">
              <a:xfrm>
                <a:off x="506959" y="1933319"/>
                <a:ext cx="545720" cy="545720"/>
              </a:xfrm>
              <a:custGeom>
                <a:avLst/>
                <a:gdLst>
                  <a:gd name="T0" fmla="*/ 23 w 230"/>
                  <a:gd name="T1" fmla="*/ 0 h 230"/>
                  <a:gd name="T2" fmla="*/ 0 w 230"/>
                  <a:gd name="T3" fmla="*/ 18 h 230"/>
                  <a:gd name="T4" fmla="*/ 146 w 230"/>
                  <a:gd name="T5" fmla="*/ 167 h 230"/>
                  <a:gd name="T6" fmla="*/ 230 w 230"/>
                  <a:gd name="T7" fmla="*/ 230 h 230"/>
                  <a:gd name="T8" fmla="*/ 132 w 230"/>
                  <a:gd name="T9" fmla="*/ 125 h 230"/>
                  <a:gd name="T10" fmla="*/ 23 w 230"/>
                  <a:gd name="T11" fmla="*/ 0 h 230"/>
                  <a:gd name="T12" fmla="*/ 23 w 230"/>
                  <a:gd name="T13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0" h="230">
                    <a:moveTo>
                      <a:pt x="23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0" y="18"/>
                      <a:pt x="56" y="90"/>
                      <a:pt x="146" y="167"/>
                    </a:cubicBezTo>
                    <a:cubicBezTo>
                      <a:pt x="172" y="188"/>
                      <a:pt x="202" y="211"/>
                      <a:pt x="230" y="230"/>
                    </a:cubicBezTo>
                    <a:cubicBezTo>
                      <a:pt x="208" y="207"/>
                      <a:pt x="175" y="172"/>
                      <a:pt x="132" y="125"/>
                    </a:cubicBezTo>
                    <a:cubicBezTo>
                      <a:pt x="80" y="68"/>
                      <a:pt x="23" y="0"/>
                      <a:pt x="23" y="0"/>
                    </a:cubicBezTo>
                    <a:cubicBezTo>
                      <a:pt x="23" y="0"/>
                      <a:pt x="23" y="0"/>
                      <a:pt x="23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Freeform 273"/>
              <p:cNvSpPr>
                <a:spLocks noEditPoints="1"/>
              </p:cNvSpPr>
              <p:nvPr/>
            </p:nvSpPr>
            <p:spPr bwMode="auto">
              <a:xfrm>
                <a:off x="519086" y="1831361"/>
                <a:ext cx="777932" cy="714152"/>
              </a:xfrm>
              <a:custGeom>
                <a:avLst/>
                <a:gdLst>
                  <a:gd name="T0" fmla="*/ 286 w 328"/>
                  <a:gd name="T1" fmla="*/ 274 h 301"/>
                  <a:gd name="T2" fmla="*/ 328 w 328"/>
                  <a:gd name="T3" fmla="*/ 301 h 301"/>
                  <a:gd name="T4" fmla="*/ 328 w 328"/>
                  <a:gd name="T5" fmla="*/ 301 h 301"/>
                  <a:gd name="T6" fmla="*/ 325 w 328"/>
                  <a:gd name="T7" fmla="*/ 299 h 301"/>
                  <a:gd name="T8" fmla="*/ 286 w 328"/>
                  <a:gd name="T9" fmla="*/ 274 h 301"/>
                  <a:gd name="T10" fmla="*/ 0 w 328"/>
                  <a:gd name="T11" fmla="*/ 0 h 301"/>
                  <a:gd name="T12" fmla="*/ 97 w 328"/>
                  <a:gd name="T13" fmla="*/ 123 h 301"/>
                  <a:gd name="T14" fmla="*/ 143 w 328"/>
                  <a:gd name="T15" fmla="*/ 166 h 301"/>
                  <a:gd name="T16" fmla="*/ 275 w 328"/>
                  <a:gd name="T17" fmla="*/ 266 h 301"/>
                  <a:gd name="T18" fmla="*/ 156 w 328"/>
                  <a:gd name="T19" fmla="*/ 168 h 301"/>
                  <a:gd name="T20" fmla="*/ 0 w 328"/>
                  <a:gd name="T21" fmla="*/ 0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8" h="301">
                    <a:moveTo>
                      <a:pt x="286" y="274"/>
                    </a:moveTo>
                    <a:cubicBezTo>
                      <a:pt x="311" y="291"/>
                      <a:pt x="328" y="301"/>
                      <a:pt x="328" y="301"/>
                    </a:cubicBezTo>
                    <a:cubicBezTo>
                      <a:pt x="328" y="301"/>
                      <a:pt x="328" y="301"/>
                      <a:pt x="328" y="301"/>
                    </a:cubicBezTo>
                    <a:cubicBezTo>
                      <a:pt x="328" y="301"/>
                      <a:pt x="327" y="300"/>
                      <a:pt x="325" y="299"/>
                    </a:cubicBezTo>
                    <a:cubicBezTo>
                      <a:pt x="315" y="292"/>
                      <a:pt x="301" y="284"/>
                      <a:pt x="286" y="274"/>
                    </a:cubicBezTo>
                    <a:moveTo>
                      <a:pt x="0" y="0"/>
                    </a:moveTo>
                    <a:cubicBezTo>
                      <a:pt x="0" y="0"/>
                      <a:pt x="41" y="57"/>
                      <a:pt x="97" y="123"/>
                    </a:cubicBezTo>
                    <a:cubicBezTo>
                      <a:pt x="112" y="137"/>
                      <a:pt x="128" y="152"/>
                      <a:pt x="143" y="166"/>
                    </a:cubicBezTo>
                    <a:cubicBezTo>
                      <a:pt x="187" y="205"/>
                      <a:pt x="238" y="241"/>
                      <a:pt x="275" y="266"/>
                    </a:cubicBezTo>
                    <a:cubicBezTo>
                      <a:pt x="239" y="242"/>
                      <a:pt x="196" y="209"/>
                      <a:pt x="156" y="168"/>
                    </a:cubicBezTo>
                    <a:cubicBezTo>
                      <a:pt x="74" y="84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Freeform 274"/>
              <p:cNvSpPr>
                <a:spLocks/>
              </p:cNvSpPr>
              <p:nvPr/>
            </p:nvSpPr>
            <p:spPr bwMode="auto">
              <a:xfrm>
                <a:off x="749052" y="2123310"/>
                <a:ext cx="547966" cy="483737"/>
              </a:xfrm>
              <a:custGeom>
                <a:avLst/>
                <a:gdLst>
                  <a:gd name="T0" fmla="*/ 0 w 231"/>
                  <a:gd name="T1" fmla="*/ 0 h 204"/>
                  <a:gd name="T2" fmla="*/ 53 w 231"/>
                  <a:gd name="T3" fmla="*/ 59 h 204"/>
                  <a:gd name="T4" fmla="*/ 211 w 231"/>
                  <a:gd name="T5" fmla="*/ 204 h 204"/>
                  <a:gd name="T6" fmla="*/ 231 w 231"/>
                  <a:gd name="T7" fmla="*/ 178 h 204"/>
                  <a:gd name="T8" fmla="*/ 189 w 231"/>
                  <a:gd name="T9" fmla="*/ 151 h 204"/>
                  <a:gd name="T10" fmla="*/ 178 w 231"/>
                  <a:gd name="T11" fmla="*/ 143 h 204"/>
                  <a:gd name="T12" fmla="*/ 46 w 231"/>
                  <a:gd name="T13" fmla="*/ 43 h 204"/>
                  <a:gd name="T14" fmla="*/ 0 w 231"/>
                  <a:gd name="T15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1" h="204">
                    <a:moveTo>
                      <a:pt x="0" y="0"/>
                    </a:moveTo>
                    <a:cubicBezTo>
                      <a:pt x="17" y="19"/>
                      <a:pt x="35" y="39"/>
                      <a:pt x="53" y="59"/>
                    </a:cubicBezTo>
                    <a:cubicBezTo>
                      <a:pt x="121" y="131"/>
                      <a:pt x="211" y="204"/>
                      <a:pt x="211" y="204"/>
                    </a:cubicBezTo>
                    <a:cubicBezTo>
                      <a:pt x="231" y="178"/>
                      <a:pt x="231" y="178"/>
                      <a:pt x="231" y="178"/>
                    </a:cubicBezTo>
                    <a:cubicBezTo>
                      <a:pt x="231" y="178"/>
                      <a:pt x="214" y="168"/>
                      <a:pt x="189" y="151"/>
                    </a:cubicBezTo>
                    <a:cubicBezTo>
                      <a:pt x="185" y="149"/>
                      <a:pt x="182" y="146"/>
                      <a:pt x="178" y="143"/>
                    </a:cubicBezTo>
                    <a:cubicBezTo>
                      <a:pt x="141" y="118"/>
                      <a:pt x="90" y="82"/>
                      <a:pt x="46" y="43"/>
                    </a:cubicBezTo>
                    <a:cubicBezTo>
                      <a:pt x="31" y="29"/>
                      <a:pt x="15" y="14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Freeform 275"/>
              <p:cNvSpPr>
                <a:spLocks noEditPoints="1"/>
              </p:cNvSpPr>
              <p:nvPr/>
            </p:nvSpPr>
            <p:spPr bwMode="auto">
              <a:xfrm>
                <a:off x="604425" y="1764887"/>
                <a:ext cx="759067" cy="813864"/>
              </a:xfrm>
              <a:custGeom>
                <a:avLst/>
                <a:gdLst>
                  <a:gd name="T0" fmla="*/ 224 w 320"/>
                  <a:gd name="T1" fmla="*/ 263 h 343"/>
                  <a:gd name="T2" fmla="*/ 289 w 320"/>
                  <a:gd name="T3" fmla="*/ 327 h 343"/>
                  <a:gd name="T4" fmla="*/ 320 w 320"/>
                  <a:gd name="T5" fmla="*/ 343 h 343"/>
                  <a:gd name="T6" fmla="*/ 224 w 320"/>
                  <a:gd name="T7" fmla="*/ 263 h 343"/>
                  <a:gd name="T8" fmla="*/ 0 w 320"/>
                  <a:gd name="T9" fmla="*/ 0 h 343"/>
                  <a:gd name="T10" fmla="*/ 41 w 320"/>
                  <a:gd name="T11" fmla="*/ 56 h 343"/>
                  <a:gd name="T12" fmla="*/ 5 w 320"/>
                  <a:gd name="T13" fmla="*/ 5 h 343"/>
                  <a:gd name="T14" fmla="*/ 0 w 320"/>
                  <a:gd name="T15" fmla="*/ 0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0" h="343">
                    <a:moveTo>
                      <a:pt x="224" y="263"/>
                    </a:moveTo>
                    <a:cubicBezTo>
                      <a:pt x="258" y="297"/>
                      <a:pt x="282" y="319"/>
                      <a:pt x="289" y="327"/>
                    </a:cubicBezTo>
                    <a:cubicBezTo>
                      <a:pt x="308" y="338"/>
                      <a:pt x="320" y="343"/>
                      <a:pt x="320" y="343"/>
                    </a:cubicBezTo>
                    <a:cubicBezTo>
                      <a:pt x="320" y="343"/>
                      <a:pt x="278" y="312"/>
                      <a:pt x="224" y="263"/>
                    </a:cubicBezTo>
                    <a:moveTo>
                      <a:pt x="0" y="0"/>
                    </a:moveTo>
                    <a:cubicBezTo>
                      <a:pt x="0" y="0"/>
                      <a:pt x="17" y="24"/>
                      <a:pt x="41" y="56"/>
                    </a:cubicBezTo>
                    <a:cubicBezTo>
                      <a:pt x="27" y="36"/>
                      <a:pt x="14" y="19"/>
                      <a:pt x="5" y="5"/>
                    </a:cubicBezTo>
                    <a:cubicBezTo>
                      <a:pt x="2" y="2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Freeform 276"/>
              <p:cNvSpPr>
                <a:spLocks/>
              </p:cNvSpPr>
              <p:nvPr/>
            </p:nvSpPr>
            <p:spPr bwMode="auto">
              <a:xfrm>
                <a:off x="519086" y="1764887"/>
                <a:ext cx="770745" cy="775686"/>
              </a:xfrm>
              <a:custGeom>
                <a:avLst/>
                <a:gdLst>
                  <a:gd name="T0" fmla="*/ 36 w 325"/>
                  <a:gd name="T1" fmla="*/ 0 h 327"/>
                  <a:gd name="T2" fmla="*/ 0 w 325"/>
                  <a:gd name="T3" fmla="*/ 28 h 327"/>
                  <a:gd name="T4" fmla="*/ 156 w 325"/>
                  <a:gd name="T5" fmla="*/ 196 h 327"/>
                  <a:gd name="T6" fmla="*/ 275 w 325"/>
                  <a:gd name="T7" fmla="*/ 294 h 327"/>
                  <a:gd name="T8" fmla="*/ 286 w 325"/>
                  <a:gd name="T9" fmla="*/ 302 h 327"/>
                  <a:gd name="T10" fmla="*/ 325 w 325"/>
                  <a:gd name="T11" fmla="*/ 327 h 327"/>
                  <a:gd name="T12" fmla="*/ 260 w 325"/>
                  <a:gd name="T13" fmla="*/ 263 h 327"/>
                  <a:gd name="T14" fmla="*/ 164 w 325"/>
                  <a:gd name="T15" fmla="*/ 166 h 327"/>
                  <a:gd name="T16" fmla="*/ 77 w 325"/>
                  <a:gd name="T17" fmla="*/ 56 h 327"/>
                  <a:gd name="T18" fmla="*/ 36 w 325"/>
                  <a:gd name="T19" fmla="*/ 0 h 327"/>
                  <a:gd name="T20" fmla="*/ 36 w 325"/>
                  <a:gd name="T21" fmla="*/ 0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5" h="327">
                    <a:moveTo>
                      <a:pt x="36" y="0"/>
                    </a:move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74" y="112"/>
                      <a:pt x="156" y="196"/>
                    </a:cubicBezTo>
                    <a:cubicBezTo>
                      <a:pt x="196" y="237"/>
                      <a:pt x="239" y="270"/>
                      <a:pt x="275" y="294"/>
                    </a:cubicBezTo>
                    <a:cubicBezTo>
                      <a:pt x="279" y="297"/>
                      <a:pt x="282" y="300"/>
                      <a:pt x="286" y="302"/>
                    </a:cubicBezTo>
                    <a:cubicBezTo>
                      <a:pt x="301" y="312"/>
                      <a:pt x="315" y="320"/>
                      <a:pt x="325" y="327"/>
                    </a:cubicBezTo>
                    <a:cubicBezTo>
                      <a:pt x="318" y="319"/>
                      <a:pt x="294" y="297"/>
                      <a:pt x="260" y="263"/>
                    </a:cubicBezTo>
                    <a:cubicBezTo>
                      <a:pt x="230" y="235"/>
                      <a:pt x="196" y="202"/>
                      <a:pt x="164" y="166"/>
                    </a:cubicBezTo>
                    <a:cubicBezTo>
                      <a:pt x="132" y="129"/>
                      <a:pt x="102" y="90"/>
                      <a:pt x="77" y="56"/>
                    </a:cubicBezTo>
                    <a:cubicBezTo>
                      <a:pt x="53" y="24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Freeform 277"/>
              <p:cNvSpPr>
                <a:spLocks/>
              </p:cNvSpPr>
              <p:nvPr/>
            </p:nvSpPr>
            <p:spPr bwMode="auto">
              <a:xfrm>
                <a:off x="1171255" y="2462420"/>
                <a:ext cx="26051" cy="18864"/>
              </a:xfrm>
              <a:custGeom>
                <a:avLst/>
                <a:gdLst>
                  <a:gd name="T0" fmla="*/ 0 w 11"/>
                  <a:gd name="T1" fmla="*/ 0 h 8"/>
                  <a:gd name="T2" fmla="*/ 11 w 11"/>
                  <a:gd name="T3" fmla="*/ 8 h 8"/>
                  <a:gd name="T4" fmla="*/ 0 w 11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0" y="0"/>
                    </a:moveTo>
                    <a:cubicBezTo>
                      <a:pt x="4" y="3"/>
                      <a:pt x="7" y="6"/>
                      <a:pt x="11" y="8"/>
                    </a:cubicBezTo>
                    <a:cubicBezTo>
                      <a:pt x="7" y="6"/>
                      <a:pt x="4" y="3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Freeform 278"/>
              <p:cNvSpPr>
                <a:spLocks/>
              </p:cNvSpPr>
              <p:nvPr/>
            </p:nvSpPr>
            <p:spPr bwMode="auto">
              <a:xfrm>
                <a:off x="561756" y="1696166"/>
                <a:ext cx="842160" cy="813864"/>
              </a:xfrm>
              <a:custGeom>
                <a:avLst/>
                <a:gdLst>
                  <a:gd name="T0" fmla="*/ 0 w 355"/>
                  <a:gd name="T1" fmla="*/ 0 h 343"/>
                  <a:gd name="T2" fmla="*/ 23 w 355"/>
                  <a:gd name="T3" fmla="*/ 34 h 343"/>
                  <a:gd name="T4" fmla="*/ 158 w 355"/>
                  <a:gd name="T5" fmla="*/ 182 h 343"/>
                  <a:gd name="T6" fmla="*/ 355 w 355"/>
                  <a:gd name="T7" fmla="*/ 343 h 343"/>
                  <a:gd name="T8" fmla="*/ 355 w 355"/>
                  <a:gd name="T9" fmla="*/ 343 h 343"/>
                  <a:gd name="T10" fmla="*/ 249 w 355"/>
                  <a:gd name="T11" fmla="*/ 246 h 343"/>
                  <a:gd name="T12" fmla="*/ 176 w 355"/>
                  <a:gd name="T13" fmla="*/ 187 h 343"/>
                  <a:gd name="T14" fmla="*/ 0 w 355"/>
                  <a:gd name="T15" fmla="*/ 0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5" h="343">
                    <a:moveTo>
                      <a:pt x="0" y="0"/>
                    </a:moveTo>
                    <a:cubicBezTo>
                      <a:pt x="0" y="0"/>
                      <a:pt x="8" y="13"/>
                      <a:pt x="23" y="34"/>
                    </a:cubicBezTo>
                    <a:cubicBezTo>
                      <a:pt x="39" y="54"/>
                      <a:pt x="103" y="127"/>
                      <a:pt x="158" y="182"/>
                    </a:cubicBezTo>
                    <a:cubicBezTo>
                      <a:pt x="258" y="283"/>
                      <a:pt x="355" y="343"/>
                      <a:pt x="355" y="343"/>
                    </a:cubicBezTo>
                    <a:cubicBezTo>
                      <a:pt x="355" y="343"/>
                      <a:pt x="355" y="343"/>
                      <a:pt x="355" y="343"/>
                    </a:cubicBezTo>
                    <a:cubicBezTo>
                      <a:pt x="355" y="343"/>
                      <a:pt x="309" y="305"/>
                      <a:pt x="249" y="246"/>
                    </a:cubicBezTo>
                    <a:cubicBezTo>
                      <a:pt x="224" y="229"/>
                      <a:pt x="199" y="209"/>
                      <a:pt x="176" y="187"/>
                    </a:cubicBezTo>
                    <a:cubicBezTo>
                      <a:pt x="83" y="10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Freeform 279"/>
              <p:cNvSpPr>
                <a:spLocks/>
              </p:cNvSpPr>
              <p:nvPr/>
            </p:nvSpPr>
            <p:spPr bwMode="auto">
              <a:xfrm>
                <a:off x="616103" y="1777014"/>
                <a:ext cx="787813" cy="801736"/>
              </a:xfrm>
              <a:custGeom>
                <a:avLst/>
                <a:gdLst>
                  <a:gd name="T0" fmla="*/ 0 w 332"/>
                  <a:gd name="T1" fmla="*/ 0 h 338"/>
                  <a:gd name="T2" fmla="*/ 36 w 332"/>
                  <a:gd name="T3" fmla="*/ 51 h 338"/>
                  <a:gd name="T4" fmla="*/ 124 w 332"/>
                  <a:gd name="T5" fmla="*/ 159 h 338"/>
                  <a:gd name="T6" fmla="*/ 219 w 332"/>
                  <a:gd name="T7" fmla="*/ 258 h 338"/>
                  <a:gd name="T8" fmla="*/ 315 w 332"/>
                  <a:gd name="T9" fmla="*/ 338 h 338"/>
                  <a:gd name="T10" fmla="*/ 332 w 332"/>
                  <a:gd name="T11" fmla="*/ 309 h 338"/>
                  <a:gd name="T12" fmla="*/ 135 w 332"/>
                  <a:gd name="T13" fmla="*/ 148 h 338"/>
                  <a:gd name="T14" fmla="*/ 0 w 332"/>
                  <a:gd name="T15" fmla="*/ 0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2" h="338">
                    <a:moveTo>
                      <a:pt x="0" y="0"/>
                    </a:moveTo>
                    <a:cubicBezTo>
                      <a:pt x="9" y="14"/>
                      <a:pt x="22" y="31"/>
                      <a:pt x="36" y="51"/>
                    </a:cubicBezTo>
                    <a:cubicBezTo>
                      <a:pt x="60" y="84"/>
                      <a:pt x="92" y="125"/>
                      <a:pt x="124" y="159"/>
                    </a:cubicBezTo>
                    <a:cubicBezTo>
                      <a:pt x="160" y="198"/>
                      <a:pt x="192" y="231"/>
                      <a:pt x="219" y="258"/>
                    </a:cubicBezTo>
                    <a:cubicBezTo>
                      <a:pt x="273" y="307"/>
                      <a:pt x="315" y="338"/>
                      <a:pt x="315" y="338"/>
                    </a:cubicBezTo>
                    <a:cubicBezTo>
                      <a:pt x="332" y="309"/>
                      <a:pt x="332" y="309"/>
                      <a:pt x="332" y="309"/>
                    </a:cubicBezTo>
                    <a:cubicBezTo>
                      <a:pt x="332" y="309"/>
                      <a:pt x="235" y="249"/>
                      <a:pt x="135" y="148"/>
                    </a:cubicBezTo>
                    <a:cubicBezTo>
                      <a:pt x="80" y="93"/>
                      <a:pt x="16" y="2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Freeform 280"/>
              <p:cNvSpPr>
                <a:spLocks/>
              </p:cNvSpPr>
              <p:nvPr/>
            </p:nvSpPr>
            <p:spPr bwMode="auto">
              <a:xfrm>
                <a:off x="701442" y="1897836"/>
                <a:ext cx="434330" cy="490923"/>
              </a:xfrm>
              <a:custGeom>
                <a:avLst/>
                <a:gdLst>
                  <a:gd name="T0" fmla="*/ 0 w 183"/>
                  <a:gd name="T1" fmla="*/ 0 h 207"/>
                  <a:gd name="T2" fmla="*/ 87 w 183"/>
                  <a:gd name="T3" fmla="*/ 110 h 207"/>
                  <a:gd name="T4" fmla="*/ 183 w 183"/>
                  <a:gd name="T5" fmla="*/ 207 h 207"/>
                  <a:gd name="T6" fmla="*/ 88 w 183"/>
                  <a:gd name="T7" fmla="*/ 108 h 207"/>
                  <a:gd name="T8" fmla="*/ 0 w 183"/>
                  <a:gd name="T9" fmla="*/ 0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3" h="207">
                    <a:moveTo>
                      <a:pt x="0" y="0"/>
                    </a:moveTo>
                    <a:cubicBezTo>
                      <a:pt x="25" y="34"/>
                      <a:pt x="55" y="73"/>
                      <a:pt x="87" y="110"/>
                    </a:cubicBezTo>
                    <a:cubicBezTo>
                      <a:pt x="119" y="146"/>
                      <a:pt x="153" y="179"/>
                      <a:pt x="183" y="207"/>
                    </a:cubicBezTo>
                    <a:cubicBezTo>
                      <a:pt x="156" y="180"/>
                      <a:pt x="124" y="147"/>
                      <a:pt x="88" y="108"/>
                    </a:cubicBezTo>
                    <a:cubicBezTo>
                      <a:pt x="56" y="74"/>
                      <a:pt x="24" y="33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Freeform 281"/>
              <p:cNvSpPr>
                <a:spLocks/>
              </p:cNvSpPr>
              <p:nvPr/>
            </p:nvSpPr>
            <p:spPr bwMode="auto">
              <a:xfrm>
                <a:off x="623289" y="1649005"/>
                <a:ext cx="896508" cy="846652"/>
              </a:xfrm>
              <a:custGeom>
                <a:avLst/>
                <a:gdLst>
                  <a:gd name="T0" fmla="*/ 0 w 378"/>
                  <a:gd name="T1" fmla="*/ 0 h 357"/>
                  <a:gd name="T2" fmla="*/ 138 w 378"/>
                  <a:gd name="T3" fmla="*/ 181 h 357"/>
                  <a:gd name="T4" fmla="*/ 223 w 378"/>
                  <a:gd name="T5" fmla="*/ 266 h 357"/>
                  <a:gd name="T6" fmla="*/ 378 w 378"/>
                  <a:gd name="T7" fmla="*/ 357 h 357"/>
                  <a:gd name="T8" fmla="*/ 378 w 378"/>
                  <a:gd name="T9" fmla="*/ 357 h 357"/>
                  <a:gd name="T10" fmla="*/ 378 w 378"/>
                  <a:gd name="T11" fmla="*/ 357 h 357"/>
                  <a:gd name="T12" fmla="*/ 157 w 378"/>
                  <a:gd name="T13" fmla="*/ 188 h 357"/>
                  <a:gd name="T14" fmla="*/ 152 w 378"/>
                  <a:gd name="T15" fmla="*/ 183 h 357"/>
                  <a:gd name="T16" fmla="*/ 29 w 378"/>
                  <a:gd name="T17" fmla="*/ 31 h 357"/>
                  <a:gd name="T18" fmla="*/ 0 w 378"/>
                  <a:gd name="T19" fmla="*/ 0 h 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8" h="357">
                    <a:moveTo>
                      <a:pt x="0" y="0"/>
                    </a:moveTo>
                    <a:cubicBezTo>
                      <a:pt x="0" y="0"/>
                      <a:pt x="72" y="110"/>
                      <a:pt x="138" y="181"/>
                    </a:cubicBezTo>
                    <a:cubicBezTo>
                      <a:pt x="168" y="212"/>
                      <a:pt x="197" y="241"/>
                      <a:pt x="223" y="266"/>
                    </a:cubicBezTo>
                    <a:cubicBezTo>
                      <a:pt x="303" y="323"/>
                      <a:pt x="378" y="357"/>
                      <a:pt x="378" y="357"/>
                    </a:cubicBezTo>
                    <a:cubicBezTo>
                      <a:pt x="378" y="357"/>
                      <a:pt x="378" y="357"/>
                      <a:pt x="378" y="357"/>
                    </a:cubicBezTo>
                    <a:cubicBezTo>
                      <a:pt x="378" y="357"/>
                      <a:pt x="378" y="357"/>
                      <a:pt x="378" y="357"/>
                    </a:cubicBezTo>
                    <a:cubicBezTo>
                      <a:pt x="378" y="357"/>
                      <a:pt x="256" y="285"/>
                      <a:pt x="157" y="188"/>
                    </a:cubicBezTo>
                    <a:cubicBezTo>
                      <a:pt x="155" y="186"/>
                      <a:pt x="154" y="184"/>
                      <a:pt x="152" y="183"/>
                    </a:cubicBezTo>
                    <a:cubicBezTo>
                      <a:pt x="100" y="131"/>
                      <a:pt x="56" y="71"/>
                      <a:pt x="29" y="31"/>
                    </a:cubicBezTo>
                    <a:cubicBezTo>
                      <a:pt x="12" y="12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Freeform 282"/>
              <p:cNvSpPr>
                <a:spLocks noEditPoints="1"/>
              </p:cNvSpPr>
              <p:nvPr/>
            </p:nvSpPr>
            <p:spPr bwMode="auto">
              <a:xfrm>
                <a:off x="983959" y="2082886"/>
                <a:ext cx="574016" cy="412771"/>
              </a:xfrm>
              <a:custGeom>
                <a:avLst/>
                <a:gdLst>
                  <a:gd name="T0" fmla="*/ 242 w 242"/>
                  <a:gd name="T1" fmla="*/ 145 h 174"/>
                  <a:gd name="T2" fmla="*/ 226 w 242"/>
                  <a:gd name="T3" fmla="*/ 174 h 174"/>
                  <a:gd name="T4" fmla="*/ 226 w 242"/>
                  <a:gd name="T5" fmla="*/ 174 h 174"/>
                  <a:gd name="T6" fmla="*/ 226 w 242"/>
                  <a:gd name="T7" fmla="*/ 174 h 174"/>
                  <a:gd name="T8" fmla="*/ 226 w 242"/>
                  <a:gd name="T9" fmla="*/ 174 h 174"/>
                  <a:gd name="T10" fmla="*/ 242 w 242"/>
                  <a:gd name="T11" fmla="*/ 145 h 174"/>
                  <a:gd name="T12" fmla="*/ 242 w 242"/>
                  <a:gd name="T13" fmla="*/ 145 h 174"/>
                  <a:gd name="T14" fmla="*/ 242 w 242"/>
                  <a:gd name="T15" fmla="*/ 145 h 174"/>
                  <a:gd name="T16" fmla="*/ 0 w 242"/>
                  <a:gd name="T17" fmla="*/ 0 h 174"/>
                  <a:gd name="T18" fmla="*/ 5 w 242"/>
                  <a:gd name="T19" fmla="*/ 5 h 174"/>
                  <a:gd name="T20" fmla="*/ 226 w 242"/>
                  <a:gd name="T21" fmla="*/ 174 h 174"/>
                  <a:gd name="T22" fmla="*/ 4 w 242"/>
                  <a:gd name="T23" fmla="*/ 4 h 174"/>
                  <a:gd name="T24" fmla="*/ 0 w 242"/>
                  <a:gd name="T25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2" h="174">
                    <a:moveTo>
                      <a:pt x="242" y="145"/>
                    </a:moveTo>
                    <a:cubicBezTo>
                      <a:pt x="226" y="174"/>
                      <a:pt x="226" y="174"/>
                      <a:pt x="226" y="174"/>
                    </a:cubicBezTo>
                    <a:cubicBezTo>
                      <a:pt x="226" y="174"/>
                      <a:pt x="226" y="174"/>
                      <a:pt x="226" y="174"/>
                    </a:cubicBezTo>
                    <a:cubicBezTo>
                      <a:pt x="226" y="174"/>
                      <a:pt x="226" y="174"/>
                      <a:pt x="226" y="174"/>
                    </a:cubicBezTo>
                    <a:cubicBezTo>
                      <a:pt x="226" y="174"/>
                      <a:pt x="226" y="174"/>
                      <a:pt x="226" y="174"/>
                    </a:cubicBezTo>
                    <a:cubicBezTo>
                      <a:pt x="242" y="145"/>
                      <a:pt x="242" y="145"/>
                      <a:pt x="242" y="145"/>
                    </a:cubicBezTo>
                    <a:cubicBezTo>
                      <a:pt x="242" y="145"/>
                      <a:pt x="242" y="145"/>
                      <a:pt x="242" y="145"/>
                    </a:cubicBezTo>
                    <a:cubicBezTo>
                      <a:pt x="242" y="145"/>
                      <a:pt x="242" y="145"/>
                      <a:pt x="242" y="145"/>
                    </a:cubicBezTo>
                    <a:moveTo>
                      <a:pt x="0" y="0"/>
                    </a:moveTo>
                    <a:cubicBezTo>
                      <a:pt x="2" y="1"/>
                      <a:pt x="3" y="3"/>
                      <a:pt x="5" y="5"/>
                    </a:cubicBezTo>
                    <a:cubicBezTo>
                      <a:pt x="104" y="102"/>
                      <a:pt x="226" y="174"/>
                      <a:pt x="226" y="174"/>
                    </a:cubicBezTo>
                    <a:cubicBezTo>
                      <a:pt x="226" y="174"/>
                      <a:pt x="104" y="101"/>
                      <a:pt x="4" y="4"/>
                    </a:cubicBezTo>
                    <a:cubicBezTo>
                      <a:pt x="3" y="3"/>
                      <a:pt x="1" y="1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Freeform 283"/>
              <p:cNvSpPr>
                <a:spLocks/>
              </p:cNvSpPr>
              <p:nvPr/>
            </p:nvSpPr>
            <p:spPr bwMode="auto">
              <a:xfrm>
                <a:off x="561756" y="1649005"/>
                <a:ext cx="590635" cy="630609"/>
              </a:xfrm>
              <a:custGeom>
                <a:avLst/>
                <a:gdLst>
                  <a:gd name="T0" fmla="*/ 26 w 249"/>
                  <a:gd name="T1" fmla="*/ 0 h 266"/>
                  <a:gd name="T2" fmla="*/ 0 w 249"/>
                  <a:gd name="T3" fmla="*/ 20 h 266"/>
                  <a:gd name="T4" fmla="*/ 176 w 249"/>
                  <a:gd name="T5" fmla="*/ 207 h 266"/>
                  <a:gd name="T6" fmla="*/ 249 w 249"/>
                  <a:gd name="T7" fmla="*/ 266 h 266"/>
                  <a:gd name="T8" fmla="*/ 164 w 249"/>
                  <a:gd name="T9" fmla="*/ 181 h 266"/>
                  <a:gd name="T10" fmla="*/ 26 w 249"/>
                  <a:gd name="T11" fmla="*/ 0 h 266"/>
                  <a:gd name="T12" fmla="*/ 26 w 249"/>
                  <a:gd name="T13" fmla="*/ 0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9" h="266">
                    <a:moveTo>
                      <a:pt x="26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83" y="120"/>
                      <a:pt x="176" y="207"/>
                    </a:cubicBezTo>
                    <a:cubicBezTo>
                      <a:pt x="199" y="229"/>
                      <a:pt x="224" y="249"/>
                      <a:pt x="249" y="266"/>
                    </a:cubicBezTo>
                    <a:cubicBezTo>
                      <a:pt x="223" y="241"/>
                      <a:pt x="194" y="212"/>
                      <a:pt x="164" y="181"/>
                    </a:cubicBezTo>
                    <a:cubicBezTo>
                      <a:pt x="98" y="110"/>
                      <a:pt x="26" y="0"/>
                      <a:pt x="26" y="0"/>
                    </a:cubicBezTo>
                    <a:cubicBezTo>
                      <a:pt x="26" y="0"/>
                      <a:pt x="26" y="0"/>
                      <a:pt x="2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Freeform 284"/>
              <p:cNvSpPr>
                <a:spLocks/>
              </p:cNvSpPr>
              <p:nvPr/>
            </p:nvSpPr>
            <p:spPr bwMode="auto">
              <a:xfrm>
                <a:off x="623289" y="1608582"/>
                <a:ext cx="70966" cy="113635"/>
              </a:xfrm>
              <a:custGeom>
                <a:avLst/>
                <a:gdLst>
                  <a:gd name="T0" fmla="*/ 0 w 30"/>
                  <a:gd name="T1" fmla="*/ 0 h 48"/>
                  <a:gd name="T2" fmla="*/ 29 w 30"/>
                  <a:gd name="T3" fmla="*/ 48 h 48"/>
                  <a:gd name="T4" fmla="*/ 30 w 30"/>
                  <a:gd name="T5" fmla="*/ 48 h 48"/>
                  <a:gd name="T6" fmla="*/ 0 w 30"/>
                  <a:gd name="T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48">
                    <a:moveTo>
                      <a:pt x="0" y="0"/>
                    </a:moveTo>
                    <a:cubicBezTo>
                      <a:pt x="0" y="0"/>
                      <a:pt x="10" y="19"/>
                      <a:pt x="29" y="48"/>
                    </a:cubicBezTo>
                    <a:cubicBezTo>
                      <a:pt x="30" y="48"/>
                      <a:pt x="30" y="48"/>
                      <a:pt x="30" y="48"/>
                    </a:cubicBezTo>
                    <a:cubicBezTo>
                      <a:pt x="11" y="2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Freeform 285"/>
              <p:cNvSpPr>
                <a:spLocks/>
              </p:cNvSpPr>
              <p:nvPr/>
            </p:nvSpPr>
            <p:spPr bwMode="auto">
              <a:xfrm>
                <a:off x="623289" y="1608582"/>
                <a:ext cx="253771" cy="300932"/>
              </a:xfrm>
              <a:custGeom>
                <a:avLst/>
                <a:gdLst>
                  <a:gd name="T0" fmla="*/ 0 w 107"/>
                  <a:gd name="T1" fmla="*/ 0 h 127"/>
                  <a:gd name="T2" fmla="*/ 0 w 107"/>
                  <a:gd name="T3" fmla="*/ 0 h 127"/>
                  <a:gd name="T4" fmla="*/ 30 w 107"/>
                  <a:gd name="T5" fmla="*/ 48 h 127"/>
                  <a:gd name="T6" fmla="*/ 107 w 107"/>
                  <a:gd name="T7" fmla="*/ 127 h 127"/>
                  <a:gd name="T8" fmla="*/ 0 w 107"/>
                  <a:gd name="T9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127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1" y="20"/>
                      <a:pt x="30" y="48"/>
                    </a:cubicBezTo>
                    <a:cubicBezTo>
                      <a:pt x="50" y="69"/>
                      <a:pt x="77" y="97"/>
                      <a:pt x="107" y="127"/>
                    </a:cubicBezTo>
                    <a:cubicBezTo>
                      <a:pt x="46" y="6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Freeform 286"/>
              <p:cNvSpPr>
                <a:spLocks/>
              </p:cNvSpPr>
              <p:nvPr/>
            </p:nvSpPr>
            <p:spPr bwMode="auto">
              <a:xfrm>
                <a:off x="1522492" y="2403132"/>
                <a:ext cx="35483" cy="23805"/>
              </a:xfrm>
              <a:custGeom>
                <a:avLst/>
                <a:gdLst>
                  <a:gd name="T0" fmla="*/ 1 w 15"/>
                  <a:gd name="T1" fmla="*/ 0 h 10"/>
                  <a:gd name="T2" fmla="*/ 0 w 15"/>
                  <a:gd name="T3" fmla="*/ 1 h 10"/>
                  <a:gd name="T4" fmla="*/ 15 w 15"/>
                  <a:gd name="T5" fmla="*/ 10 h 10"/>
                  <a:gd name="T6" fmla="*/ 15 w 15"/>
                  <a:gd name="T7" fmla="*/ 10 h 10"/>
                  <a:gd name="T8" fmla="*/ 1 w 15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0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0" y="7"/>
                      <a:pt x="15" y="10"/>
                      <a:pt x="15" y="1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5" y="10"/>
                      <a:pt x="10" y="6"/>
                      <a:pt x="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Freeform 287"/>
              <p:cNvSpPr>
                <a:spLocks noEditPoints="1"/>
              </p:cNvSpPr>
              <p:nvPr/>
            </p:nvSpPr>
            <p:spPr bwMode="auto">
              <a:xfrm>
                <a:off x="692010" y="1722217"/>
                <a:ext cx="827787" cy="773440"/>
              </a:xfrm>
              <a:custGeom>
                <a:avLst/>
                <a:gdLst>
                  <a:gd name="T0" fmla="*/ 349 w 349"/>
                  <a:gd name="T1" fmla="*/ 326 h 326"/>
                  <a:gd name="T2" fmla="*/ 349 w 349"/>
                  <a:gd name="T3" fmla="*/ 326 h 326"/>
                  <a:gd name="T4" fmla="*/ 349 w 349"/>
                  <a:gd name="T5" fmla="*/ 326 h 326"/>
                  <a:gd name="T6" fmla="*/ 0 w 349"/>
                  <a:gd name="T7" fmla="*/ 0 h 326"/>
                  <a:gd name="T8" fmla="*/ 123 w 349"/>
                  <a:gd name="T9" fmla="*/ 152 h 326"/>
                  <a:gd name="T10" fmla="*/ 1 w 349"/>
                  <a:gd name="T11" fmla="*/ 0 h 326"/>
                  <a:gd name="T12" fmla="*/ 0 w 349"/>
                  <a:gd name="T13" fmla="*/ 0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9" h="326">
                    <a:moveTo>
                      <a:pt x="349" y="326"/>
                    </a:moveTo>
                    <a:cubicBezTo>
                      <a:pt x="349" y="326"/>
                      <a:pt x="349" y="326"/>
                      <a:pt x="349" y="326"/>
                    </a:cubicBezTo>
                    <a:cubicBezTo>
                      <a:pt x="349" y="326"/>
                      <a:pt x="349" y="326"/>
                      <a:pt x="349" y="326"/>
                    </a:cubicBezTo>
                    <a:moveTo>
                      <a:pt x="0" y="0"/>
                    </a:moveTo>
                    <a:cubicBezTo>
                      <a:pt x="27" y="40"/>
                      <a:pt x="71" y="100"/>
                      <a:pt x="123" y="152"/>
                    </a:cubicBezTo>
                    <a:cubicBezTo>
                      <a:pt x="71" y="100"/>
                      <a:pt x="28" y="41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Freeform 288"/>
              <p:cNvSpPr>
                <a:spLocks/>
              </p:cNvSpPr>
              <p:nvPr/>
            </p:nvSpPr>
            <p:spPr bwMode="auto">
              <a:xfrm>
                <a:off x="694255" y="1722217"/>
                <a:ext cx="863720" cy="773440"/>
              </a:xfrm>
              <a:custGeom>
                <a:avLst/>
                <a:gdLst>
                  <a:gd name="T0" fmla="*/ 0 w 364"/>
                  <a:gd name="T1" fmla="*/ 0 h 326"/>
                  <a:gd name="T2" fmla="*/ 0 w 364"/>
                  <a:gd name="T3" fmla="*/ 0 h 326"/>
                  <a:gd name="T4" fmla="*/ 122 w 364"/>
                  <a:gd name="T5" fmla="*/ 152 h 326"/>
                  <a:gd name="T6" fmla="*/ 126 w 364"/>
                  <a:gd name="T7" fmla="*/ 156 h 326"/>
                  <a:gd name="T8" fmla="*/ 348 w 364"/>
                  <a:gd name="T9" fmla="*/ 326 h 326"/>
                  <a:gd name="T10" fmla="*/ 348 w 364"/>
                  <a:gd name="T11" fmla="*/ 326 h 326"/>
                  <a:gd name="T12" fmla="*/ 348 w 364"/>
                  <a:gd name="T13" fmla="*/ 326 h 326"/>
                  <a:gd name="T14" fmla="*/ 364 w 364"/>
                  <a:gd name="T15" fmla="*/ 297 h 326"/>
                  <a:gd name="T16" fmla="*/ 349 w 364"/>
                  <a:gd name="T17" fmla="*/ 288 h 326"/>
                  <a:gd name="T18" fmla="*/ 341 w 364"/>
                  <a:gd name="T19" fmla="*/ 302 h 326"/>
                  <a:gd name="T20" fmla="*/ 143 w 364"/>
                  <a:gd name="T21" fmla="*/ 147 h 326"/>
                  <a:gd name="T22" fmla="*/ 77 w 364"/>
                  <a:gd name="T23" fmla="*/ 79 h 326"/>
                  <a:gd name="T24" fmla="*/ 0 w 364"/>
                  <a:gd name="T25" fmla="*/ 0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4" h="326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7" y="41"/>
                      <a:pt x="70" y="100"/>
                      <a:pt x="122" y="152"/>
                    </a:cubicBezTo>
                    <a:cubicBezTo>
                      <a:pt x="123" y="153"/>
                      <a:pt x="125" y="155"/>
                      <a:pt x="126" y="156"/>
                    </a:cubicBezTo>
                    <a:cubicBezTo>
                      <a:pt x="226" y="253"/>
                      <a:pt x="348" y="326"/>
                      <a:pt x="348" y="326"/>
                    </a:cubicBezTo>
                    <a:cubicBezTo>
                      <a:pt x="348" y="326"/>
                      <a:pt x="348" y="326"/>
                      <a:pt x="348" y="326"/>
                    </a:cubicBezTo>
                    <a:cubicBezTo>
                      <a:pt x="348" y="326"/>
                      <a:pt x="348" y="326"/>
                      <a:pt x="348" y="326"/>
                    </a:cubicBezTo>
                    <a:cubicBezTo>
                      <a:pt x="364" y="297"/>
                      <a:pt x="364" y="297"/>
                      <a:pt x="364" y="297"/>
                    </a:cubicBezTo>
                    <a:cubicBezTo>
                      <a:pt x="364" y="297"/>
                      <a:pt x="359" y="294"/>
                      <a:pt x="349" y="288"/>
                    </a:cubicBezTo>
                    <a:cubicBezTo>
                      <a:pt x="341" y="302"/>
                      <a:pt x="341" y="302"/>
                      <a:pt x="341" y="302"/>
                    </a:cubicBezTo>
                    <a:cubicBezTo>
                      <a:pt x="341" y="302"/>
                      <a:pt x="242" y="244"/>
                      <a:pt x="143" y="147"/>
                    </a:cubicBezTo>
                    <a:cubicBezTo>
                      <a:pt x="120" y="125"/>
                      <a:pt x="98" y="101"/>
                      <a:pt x="77" y="79"/>
                    </a:cubicBezTo>
                    <a:cubicBezTo>
                      <a:pt x="47" y="49"/>
                      <a:pt x="20" y="21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Freeform 289"/>
              <p:cNvSpPr>
                <a:spLocks/>
              </p:cNvSpPr>
              <p:nvPr/>
            </p:nvSpPr>
            <p:spPr bwMode="auto">
              <a:xfrm>
                <a:off x="623289" y="1570404"/>
                <a:ext cx="654864" cy="675974"/>
              </a:xfrm>
              <a:custGeom>
                <a:avLst/>
                <a:gdLst>
                  <a:gd name="T0" fmla="*/ 20 w 276"/>
                  <a:gd name="T1" fmla="*/ 0 h 285"/>
                  <a:gd name="T2" fmla="*/ 0 w 276"/>
                  <a:gd name="T3" fmla="*/ 16 h 285"/>
                  <a:gd name="T4" fmla="*/ 107 w 276"/>
                  <a:gd name="T5" fmla="*/ 143 h 285"/>
                  <a:gd name="T6" fmla="*/ 164 w 276"/>
                  <a:gd name="T7" fmla="*/ 197 h 285"/>
                  <a:gd name="T8" fmla="*/ 276 w 276"/>
                  <a:gd name="T9" fmla="*/ 285 h 285"/>
                  <a:gd name="T10" fmla="*/ 191 w 276"/>
                  <a:gd name="T11" fmla="*/ 205 h 285"/>
                  <a:gd name="T12" fmla="*/ 83 w 276"/>
                  <a:gd name="T13" fmla="*/ 76 h 285"/>
                  <a:gd name="T14" fmla="*/ 20 w 276"/>
                  <a:gd name="T15" fmla="*/ 0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6" h="285">
                    <a:moveTo>
                      <a:pt x="20" y="0"/>
                    </a:move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46" y="76"/>
                      <a:pt x="107" y="143"/>
                    </a:cubicBezTo>
                    <a:cubicBezTo>
                      <a:pt x="126" y="161"/>
                      <a:pt x="146" y="180"/>
                      <a:pt x="164" y="197"/>
                    </a:cubicBezTo>
                    <a:cubicBezTo>
                      <a:pt x="201" y="230"/>
                      <a:pt x="241" y="260"/>
                      <a:pt x="276" y="285"/>
                    </a:cubicBezTo>
                    <a:cubicBezTo>
                      <a:pt x="251" y="262"/>
                      <a:pt x="222" y="235"/>
                      <a:pt x="191" y="205"/>
                    </a:cubicBezTo>
                    <a:cubicBezTo>
                      <a:pt x="148" y="163"/>
                      <a:pt x="111" y="115"/>
                      <a:pt x="83" y="76"/>
                    </a:cubicBezTo>
                    <a:cubicBezTo>
                      <a:pt x="46" y="33"/>
                      <a:pt x="20" y="0"/>
                      <a:pt x="2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Freeform 290"/>
              <p:cNvSpPr>
                <a:spLocks/>
              </p:cNvSpPr>
              <p:nvPr/>
            </p:nvSpPr>
            <p:spPr bwMode="auto">
              <a:xfrm>
                <a:off x="877060" y="1909514"/>
                <a:ext cx="626567" cy="529101"/>
              </a:xfrm>
              <a:custGeom>
                <a:avLst/>
                <a:gdLst>
                  <a:gd name="T0" fmla="*/ 0 w 264"/>
                  <a:gd name="T1" fmla="*/ 0 h 223"/>
                  <a:gd name="T2" fmla="*/ 66 w 264"/>
                  <a:gd name="T3" fmla="*/ 68 h 223"/>
                  <a:gd name="T4" fmla="*/ 264 w 264"/>
                  <a:gd name="T5" fmla="*/ 223 h 223"/>
                  <a:gd name="T6" fmla="*/ 169 w 264"/>
                  <a:gd name="T7" fmla="*/ 142 h 223"/>
                  <a:gd name="T8" fmla="*/ 57 w 264"/>
                  <a:gd name="T9" fmla="*/ 54 h 223"/>
                  <a:gd name="T10" fmla="*/ 0 w 264"/>
                  <a:gd name="T11" fmla="*/ 0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4" h="223">
                    <a:moveTo>
                      <a:pt x="0" y="0"/>
                    </a:moveTo>
                    <a:cubicBezTo>
                      <a:pt x="21" y="22"/>
                      <a:pt x="43" y="46"/>
                      <a:pt x="66" y="68"/>
                    </a:cubicBezTo>
                    <a:cubicBezTo>
                      <a:pt x="165" y="165"/>
                      <a:pt x="264" y="223"/>
                      <a:pt x="264" y="223"/>
                    </a:cubicBezTo>
                    <a:cubicBezTo>
                      <a:pt x="264" y="223"/>
                      <a:pt x="225" y="193"/>
                      <a:pt x="169" y="142"/>
                    </a:cubicBezTo>
                    <a:cubicBezTo>
                      <a:pt x="134" y="117"/>
                      <a:pt x="94" y="87"/>
                      <a:pt x="57" y="54"/>
                    </a:cubicBezTo>
                    <a:cubicBezTo>
                      <a:pt x="39" y="37"/>
                      <a:pt x="19" y="18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Freeform 291"/>
              <p:cNvSpPr>
                <a:spLocks/>
              </p:cNvSpPr>
              <p:nvPr/>
            </p:nvSpPr>
            <p:spPr bwMode="auto">
              <a:xfrm>
                <a:off x="704137" y="1570404"/>
                <a:ext cx="830033" cy="816109"/>
              </a:xfrm>
              <a:custGeom>
                <a:avLst/>
                <a:gdLst>
                  <a:gd name="T0" fmla="*/ 0 w 350"/>
                  <a:gd name="T1" fmla="*/ 0 h 344"/>
                  <a:gd name="T2" fmla="*/ 49 w 350"/>
                  <a:gd name="T3" fmla="*/ 76 h 344"/>
                  <a:gd name="T4" fmla="*/ 151 w 350"/>
                  <a:gd name="T5" fmla="*/ 183 h 344"/>
                  <a:gd name="T6" fmla="*/ 350 w 350"/>
                  <a:gd name="T7" fmla="*/ 344 h 344"/>
                  <a:gd name="T8" fmla="*/ 350 w 350"/>
                  <a:gd name="T9" fmla="*/ 344 h 344"/>
                  <a:gd name="T10" fmla="*/ 216 w 350"/>
                  <a:gd name="T11" fmla="*/ 219 h 344"/>
                  <a:gd name="T12" fmla="*/ 180 w 350"/>
                  <a:gd name="T13" fmla="*/ 186 h 344"/>
                  <a:gd name="T14" fmla="*/ 0 w 350"/>
                  <a:gd name="T15" fmla="*/ 0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0" h="344">
                    <a:moveTo>
                      <a:pt x="0" y="0"/>
                    </a:moveTo>
                    <a:cubicBezTo>
                      <a:pt x="0" y="0"/>
                      <a:pt x="19" y="32"/>
                      <a:pt x="49" y="76"/>
                    </a:cubicBezTo>
                    <a:cubicBezTo>
                      <a:pt x="78" y="108"/>
                      <a:pt x="114" y="147"/>
                      <a:pt x="151" y="183"/>
                    </a:cubicBezTo>
                    <a:cubicBezTo>
                      <a:pt x="253" y="280"/>
                      <a:pt x="350" y="344"/>
                      <a:pt x="350" y="344"/>
                    </a:cubicBezTo>
                    <a:cubicBezTo>
                      <a:pt x="350" y="344"/>
                      <a:pt x="350" y="344"/>
                      <a:pt x="350" y="344"/>
                    </a:cubicBezTo>
                    <a:cubicBezTo>
                      <a:pt x="350" y="344"/>
                      <a:pt x="291" y="292"/>
                      <a:pt x="216" y="219"/>
                    </a:cubicBezTo>
                    <a:cubicBezTo>
                      <a:pt x="204" y="209"/>
                      <a:pt x="192" y="198"/>
                      <a:pt x="180" y="186"/>
                    </a:cubicBezTo>
                    <a:cubicBezTo>
                      <a:pt x="86" y="99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Freeform 292"/>
              <p:cNvSpPr>
                <a:spLocks/>
              </p:cNvSpPr>
              <p:nvPr/>
            </p:nvSpPr>
            <p:spPr bwMode="auto">
              <a:xfrm>
                <a:off x="820018" y="1750963"/>
                <a:ext cx="714152" cy="652169"/>
              </a:xfrm>
              <a:custGeom>
                <a:avLst/>
                <a:gdLst>
                  <a:gd name="T0" fmla="*/ 0 w 301"/>
                  <a:gd name="T1" fmla="*/ 0 h 275"/>
                  <a:gd name="T2" fmla="*/ 0 w 301"/>
                  <a:gd name="T3" fmla="*/ 0 h 275"/>
                  <a:gd name="T4" fmla="*/ 102 w 301"/>
                  <a:gd name="T5" fmla="*/ 107 h 275"/>
                  <a:gd name="T6" fmla="*/ 297 w 301"/>
                  <a:gd name="T7" fmla="*/ 275 h 275"/>
                  <a:gd name="T8" fmla="*/ 301 w 301"/>
                  <a:gd name="T9" fmla="*/ 268 h 275"/>
                  <a:gd name="T10" fmla="*/ 102 w 301"/>
                  <a:gd name="T11" fmla="*/ 107 h 275"/>
                  <a:gd name="T12" fmla="*/ 0 w 301"/>
                  <a:gd name="T13" fmla="*/ 0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1" h="275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9" y="32"/>
                      <a:pt x="65" y="71"/>
                      <a:pt x="102" y="107"/>
                    </a:cubicBezTo>
                    <a:cubicBezTo>
                      <a:pt x="182" y="183"/>
                      <a:pt x="265" y="249"/>
                      <a:pt x="297" y="275"/>
                    </a:cubicBezTo>
                    <a:cubicBezTo>
                      <a:pt x="301" y="268"/>
                      <a:pt x="301" y="268"/>
                      <a:pt x="301" y="268"/>
                    </a:cubicBezTo>
                    <a:cubicBezTo>
                      <a:pt x="301" y="268"/>
                      <a:pt x="204" y="204"/>
                      <a:pt x="102" y="107"/>
                    </a:cubicBezTo>
                    <a:cubicBezTo>
                      <a:pt x="65" y="71"/>
                      <a:pt x="29" y="32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Freeform 293"/>
              <p:cNvSpPr>
                <a:spLocks/>
              </p:cNvSpPr>
              <p:nvPr/>
            </p:nvSpPr>
            <p:spPr bwMode="auto">
              <a:xfrm>
                <a:off x="820018" y="1750963"/>
                <a:ext cx="704720" cy="654415"/>
              </a:xfrm>
              <a:custGeom>
                <a:avLst/>
                <a:gdLst>
                  <a:gd name="T0" fmla="*/ 0 w 297"/>
                  <a:gd name="T1" fmla="*/ 0 h 276"/>
                  <a:gd name="T2" fmla="*/ 108 w 297"/>
                  <a:gd name="T3" fmla="*/ 129 h 276"/>
                  <a:gd name="T4" fmla="*/ 193 w 297"/>
                  <a:gd name="T5" fmla="*/ 209 h 276"/>
                  <a:gd name="T6" fmla="*/ 296 w 297"/>
                  <a:gd name="T7" fmla="*/ 276 h 276"/>
                  <a:gd name="T8" fmla="*/ 297 w 297"/>
                  <a:gd name="T9" fmla="*/ 275 h 276"/>
                  <a:gd name="T10" fmla="*/ 102 w 297"/>
                  <a:gd name="T11" fmla="*/ 107 h 276"/>
                  <a:gd name="T12" fmla="*/ 0 w 297"/>
                  <a:gd name="T13" fmla="*/ 0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7" h="276">
                    <a:moveTo>
                      <a:pt x="0" y="0"/>
                    </a:moveTo>
                    <a:cubicBezTo>
                      <a:pt x="28" y="39"/>
                      <a:pt x="65" y="87"/>
                      <a:pt x="108" y="129"/>
                    </a:cubicBezTo>
                    <a:cubicBezTo>
                      <a:pt x="139" y="159"/>
                      <a:pt x="168" y="186"/>
                      <a:pt x="193" y="209"/>
                    </a:cubicBezTo>
                    <a:cubicBezTo>
                      <a:pt x="237" y="241"/>
                      <a:pt x="276" y="264"/>
                      <a:pt x="296" y="276"/>
                    </a:cubicBezTo>
                    <a:cubicBezTo>
                      <a:pt x="297" y="275"/>
                      <a:pt x="297" y="275"/>
                      <a:pt x="297" y="275"/>
                    </a:cubicBezTo>
                    <a:cubicBezTo>
                      <a:pt x="265" y="249"/>
                      <a:pt x="182" y="183"/>
                      <a:pt x="102" y="107"/>
                    </a:cubicBezTo>
                    <a:cubicBezTo>
                      <a:pt x="65" y="71"/>
                      <a:pt x="29" y="32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Freeform 294"/>
              <p:cNvSpPr>
                <a:spLocks/>
              </p:cNvSpPr>
              <p:nvPr/>
            </p:nvSpPr>
            <p:spPr bwMode="auto">
              <a:xfrm>
                <a:off x="1278153" y="2246378"/>
                <a:ext cx="244339" cy="192237"/>
              </a:xfrm>
              <a:custGeom>
                <a:avLst/>
                <a:gdLst>
                  <a:gd name="T0" fmla="*/ 0 w 103"/>
                  <a:gd name="T1" fmla="*/ 0 h 81"/>
                  <a:gd name="T2" fmla="*/ 95 w 103"/>
                  <a:gd name="T3" fmla="*/ 81 h 81"/>
                  <a:gd name="T4" fmla="*/ 103 w 103"/>
                  <a:gd name="T5" fmla="*/ 67 h 81"/>
                  <a:gd name="T6" fmla="*/ 0 w 103"/>
                  <a:gd name="T7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3" h="81">
                    <a:moveTo>
                      <a:pt x="0" y="0"/>
                    </a:moveTo>
                    <a:cubicBezTo>
                      <a:pt x="56" y="51"/>
                      <a:pt x="95" y="81"/>
                      <a:pt x="95" y="81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83" y="55"/>
                      <a:pt x="44" y="32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Freeform 295"/>
              <p:cNvSpPr>
                <a:spLocks/>
              </p:cNvSpPr>
              <p:nvPr/>
            </p:nvSpPr>
            <p:spPr bwMode="auto">
              <a:xfrm>
                <a:off x="846069" y="1675056"/>
                <a:ext cx="752330" cy="697084"/>
              </a:xfrm>
              <a:custGeom>
                <a:avLst/>
                <a:gdLst>
                  <a:gd name="T0" fmla="*/ 0 w 317"/>
                  <a:gd name="T1" fmla="*/ 0 h 294"/>
                  <a:gd name="T2" fmla="*/ 100 w 317"/>
                  <a:gd name="T3" fmla="*/ 119 h 294"/>
                  <a:gd name="T4" fmla="*/ 156 w 317"/>
                  <a:gd name="T5" fmla="*/ 175 h 294"/>
                  <a:gd name="T6" fmla="*/ 317 w 317"/>
                  <a:gd name="T7" fmla="*/ 294 h 294"/>
                  <a:gd name="T8" fmla="*/ 115 w 317"/>
                  <a:gd name="T9" fmla="*/ 125 h 294"/>
                  <a:gd name="T10" fmla="*/ 0 w 317"/>
                  <a:gd name="T11" fmla="*/ 0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7" h="294">
                    <a:moveTo>
                      <a:pt x="0" y="0"/>
                    </a:moveTo>
                    <a:cubicBezTo>
                      <a:pt x="24" y="34"/>
                      <a:pt x="59" y="78"/>
                      <a:pt x="100" y="119"/>
                    </a:cubicBezTo>
                    <a:cubicBezTo>
                      <a:pt x="119" y="139"/>
                      <a:pt x="138" y="158"/>
                      <a:pt x="156" y="175"/>
                    </a:cubicBezTo>
                    <a:cubicBezTo>
                      <a:pt x="243" y="250"/>
                      <a:pt x="317" y="294"/>
                      <a:pt x="317" y="294"/>
                    </a:cubicBezTo>
                    <a:cubicBezTo>
                      <a:pt x="317" y="294"/>
                      <a:pt x="214" y="224"/>
                      <a:pt x="115" y="125"/>
                    </a:cubicBezTo>
                    <a:cubicBezTo>
                      <a:pt x="71" y="81"/>
                      <a:pt x="31" y="35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Freeform 296"/>
              <p:cNvSpPr>
                <a:spLocks/>
              </p:cNvSpPr>
              <p:nvPr/>
            </p:nvSpPr>
            <p:spPr bwMode="auto">
              <a:xfrm>
                <a:off x="704137" y="1542107"/>
                <a:ext cx="512033" cy="547965"/>
              </a:xfrm>
              <a:custGeom>
                <a:avLst/>
                <a:gdLst>
                  <a:gd name="T0" fmla="*/ 14 w 216"/>
                  <a:gd name="T1" fmla="*/ 0 h 231"/>
                  <a:gd name="T2" fmla="*/ 0 w 216"/>
                  <a:gd name="T3" fmla="*/ 12 h 231"/>
                  <a:gd name="T4" fmla="*/ 180 w 216"/>
                  <a:gd name="T5" fmla="*/ 198 h 231"/>
                  <a:gd name="T6" fmla="*/ 216 w 216"/>
                  <a:gd name="T7" fmla="*/ 231 h 231"/>
                  <a:gd name="T8" fmla="*/ 160 w 216"/>
                  <a:gd name="T9" fmla="*/ 175 h 231"/>
                  <a:gd name="T10" fmla="*/ 60 w 216"/>
                  <a:gd name="T11" fmla="*/ 56 h 231"/>
                  <a:gd name="T12" fmla="*/ 14 w 216"/>
                  <a:gd name="T13" fmla="*/ 0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6" h="231">
                    <a:moveTo>
                      <a:pt x="14" y="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86" y="111"/>
                      <a:pt x="180" y="198"/>
                    </a:cubicBezTo>
                    <a:cubicBezTo>
                      <a:pt x="192" y="210"/>
                      <a:pt x="204" y="221"/>
                      <a:pt x="216" y="231"/>
                    </a:cubicBezTo>
                    <a:cubicBezTo>
                      <a:pt x="198" y="214"/>
                      <a:pt x="179" y="195"/>
                      <a:pt x="160" y="175"/>
                    </a:cubicBezTo>
                    <a:cubicBezTo>
                      <a:pt x="119" y="134"/>
                      <a:pt x="84" y="90"/>
                      <a:pt x="60" y="56"/>
                    </a:cubicBezTo>
                    <a:cubicBezTo>
                      <a:pt x="39" y="31"/>
                      <a:pt x="23" y="11"/>
                      <a:pt x="14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Freeform 297"/>
              <p:cNvSpPr>
                <a:spLocks/>
              </p:cNvSpPr>
              <p:nvPr/>
            </p:nvSpPr>
            <p:spPr bwMode="auto">
              <a:xfrm>
                <a:off x="723001" y="1523243"/>
                <a:ext cx="16619" cy="18864"/>
              </a:xfrm>
              <a:custGeom>
                <a:avLst/>
                <a:gdLst>
                  <a:gd name="T0" fmla="*/ 0 w 7"/>
                  <a:gd name="T1" fmla="*/ 0 h 8"/>
                  <a:gd name="T2" fmla="*/ 6 w 7"/>
                  <a:gd name="T3" fmla="*/ 8 h 8"/>
                  <a:gd name="T4" fmla="*/ 7 w 7"/>
                  <a:gd name="T5" fmla="*/ 8 h 8"/>
                  <a:gd name="T6" fmla="*/ 0 w 7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8">
                    <a:moveTo>
                      <a:pt x="0" y="0"/>
                    </a:moveTo>
                    <a:cubicBezTo>
                      <a:pt x="0" y="0"/>
                      <a:pt x="2" y="3"/>
                      <a:pt x="6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2" y="3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Freeform 298"/>
              <p:cNvSpPr>
                <a:spLocks/>
              </p:cNvSpPr>
              <p:nvPr/>
            </p:nvSpPr>
            <p:spPr bwMode="auto">
              <a:xfrm>
                <a:off x="1548543" y="2229759"/>
                <a:ext cx="92525" cy="71415"/>
              </a:xfrm>
              <a:custGeom>
                <a:avLst/>
                <a:gdLst>
                  <a:gd name="T0" fmla="*/ 1 w 39"/>
                  <a:gd name="T1" fmla="*/ 0 h 30"/>
                  <a:gd name="T2" fmla="*/ 0 w 39"/>
                  <a:gd name="T3" fmla="*/ 2 h 30"/>
                  <a:gd name="T4" fmla="*/ 39 w 39"/>
                  <a:gd name="T5" fmla="*/ 30 h 30"/>
                  <a:gd name="T6" fmla="*/ 39 w 39"/>
                  <a:gd name="T7" fmla="*/ 30 h 30"/>
                  <a:gd name="T8" fmla="*/ 1 w 39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0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4" y="20"/>
                      <a:pt x="39" y="30"/>
                      <a:pt x="39" y="30"/>
                    </a:cubicBezTo>
                    <a:cubicBezTo>
                      <a:pt x="39" y="30"/>
                      <a:pt x="39" y="30"/>
                      <a:pt x="39" y="30"/>
                    </a:cubicBezTo>
                    <a:cubicBezTo>
                      <a:pt x="39" y="30"/>
                      <a:pt x="25" y="19"/>
                      <a:pt x="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Freeform 299"/>
              <p:cNvSpPr>
                <a:spLocks/>
              </p:cNvSpPr>
              <p:nvPr/>
            </p:nvSpPr>
            <p:spPr bwMode="auto">
              <a:xfrm>
                <a:off x="1548543" y="2229759"/>
                <a:ext cx="2246" cy="4941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2 h 2"/>
                  <a:gd name="T4" fmla="*/ 0 w 1"/>
                  <a:gd name="T5" fmla="*/ 2 h 2"/>
                  <a:gd name="T6" fmla="*/ 1 w 1"/>
                  <a:gd name="T7" fmla="*/ 0 h 2"/>
                  <a:gd name="T8" fmla="*/ 1 w 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Freeform 300"/>
              <p:cNvSpPr>
                <a:spLocks/>
              </p:cNvSpPr>
              <p:nvPr/>
            </p:nvSpPr>
            <p:spPr bwMode="auto">
              <a:xfrm>
                <a:off x="798908" y="1603641"/>
                <a:ext cx="842160" cy="768499"/>
              </a:xfrm>
              <a:custGeom>
                <a:avLst/>
                <a:gdLst>
                  <a:gd name="T0" fmla="*/ 0 w 355"/>
                  <a:gd name="T1" fmla="*/ 0 h 324"/>
                  <a:gd name="T2" fmla="*/ 20 w 355"/>
                  <a:gd name="T3" fmla="*/ 30 h 324"/>
                  <a:gd name="T4" fmla="*/ 135 w 355"/>
                  <a:gd name="T5" fmla="*/ 155 h 324"/>
                  <a:gd name="T6" fmla="*/ 337 w 355"/>
                  <a:gd name="T7" fmla="*/ 324 h 324"/>
                  <a:gd name="T8" fmla="*/ 355 w 355"/>
                  <a:gd name="T9" fmla="*/ 294 h 324"/>
                  <a:gd name="T10" fmla="*/ 316 w 355"/>
                  <a:gd name="T11" fmla="*/ 266 h 324"/>
                  <a:gd name="T12" fmla="*/ 308 w 355"/>
                  <a:gd name="T13" fmla="*/ 274 h 324"/>
                  <a:gd name="T14" fmla="*/ 140 w 355"/>
                  <a:gd name="T15" fmla="*/ 137 h 324"/>
                  <a:gd name="T16" fmla="*/ 0 w 355"/>
                  <a:gd name="T17" fmla="*/ 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5" h="324">
                    <a:moveTo>
                      <a:pt x="0" y="0"/>
                    </a:moveTo>
                    <a:cubicBezTo>
                      <a:pt x="6" y="9"/>
                      <a:pt x="13" y="19"/>
                      <a:pt x="20" y="30"/>
                    </a:cubicBezTo>
                    <a:cubicBezTo>
                      <a:pt x="51" y="65"/>
                      <a:pt x="91" y="111"/>
                      <a:pt x="135" y="155"/>
                    </a:cubicBezTo>
                    <a:cubicBezTo>
                      <a:pt x="234" y="254"/>
                      <a:pt x="337" y="324"/>
                      <a:pt x="337" y="324"/>
                    </a:cubicBezTo>
                    <a:cubicBezTo>
                      <a:pt x="355" y="294"/>
                      <a:pt x="355" y="294"/>
                      <a:pt x="355" y="294"/>
                    </a:cubicBezTo>
                    <a:cubicBezTo>
                      <a:pt x="355" y="294"/>
                      <a:pt x="340" y="284"/>
                      <a:pt x="316" y="266"/>
                    </a:cubicBezTo>
                    <a:cubicBezTo>
                      <a:pt x="308" y="274"/>
                      <a:pt x="308" y="274"/>
                      <a:pt x="308" y="274"/>
                    </a:cubicBezTo>
                    <a:cubicBezTo>
                      <a:pt x="308" y="274"/>
                      <a:pt x="243" y="231"/>
                      <a:pt x="140" y="137"/>
                    </a:cubicBezTo>
                    <a:cubicBezTo>
                      <a:pt x="83" y="86"/>
                      <a:pt x="32" y="34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Freeform 301"/>
              <p:cNvSpPr>
                <a:spLocks/>
              </p:cNvSpPr>
              <p:nvPr/>
            </p:nvSpPr>
            <p:spPr bwMode="auto">
              <a:xfrm>
                <a:off x="1529678" y="2234700"/>
                <a:ext cx="18864" cy="18864"/>
              </a:xfrm>
              <a:custGeom>
                <a:avLst/>
                <a:gdLst>
                  <a:gd name="T0" fmla="*/ 8 w 8"/>
                  <a:gd name="T1" fmla="*/ 0 h 8"/>
                  <a:gd name="T2" fmla="*/ 0 w 8"/>
                  <a:gd name="T3" fmla="*/ 8 h 8"/>
                  <a:gd name="T4" fmla="*/ 0 w 8"/>
                  <a:gd name="T5" fmla="*/ 8 h 8"/>
                  <a:gd name="T6" fmla="*/ 0 w 8"/>
                  <a:gd name="T7" fmla="*/ 8 h 8"/>
                  <a:gd name="T8" fmla="*/ 8 w 8"/>
                  <a:gd name="T9" fmla="*/ 0 h 8"/>
                  <a:gd name="T10" fmla="*/ 8 w 8"/>
                  <a:gd name="T1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8">
                    <a:moveTo>
                      <a:pt x="8" y="0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Freeform 302"/>
              <p:cNvSpPr>
                <a:spLocks/>
              </p:cNvSpPr>
              <p:nvPr/>
            </p:nvSpPr>
            <p:spPr bwMode="auto">
              <a:xfrm>
                <a:off x="736925" y="1542107"/>
                <a:ext cx="109144" cy="132949"/>
              </a:xfrm>
              <a:custGeom>
                <a:avLst/>
                <a:gdLst>
                  <a:gd name="T0" fmla="*/ 1 w 46"/>
                  <a:gd name="T1" fmla="*/ 0 h 56"/>
                  <a:gd name="T2" fmla="*/ 0 w 46"/>
                  <a:gd name="T3" fmla="*/ 0 h 56"/>
                  <a:gd name="T4" fmla="*/ 46 w 46"/>
                  <a:gd name="T5" fmla="*/ 56 h 56"/>
                  <a:gd name="T6" fmla="*/ 26 w 46"/>
                  <a:gd name="T7" fmla="*/ 26 h 56"/>
                  <a:gd name="T8" fmla="*/ 1 w 46"/>
                  <a:gd name="T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56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" y="11"/>
                      <a:pt x="25" y="31"/>
                      <a:pt x="46" y="56"/>
                    </a:cubicBezTo>
                    <a:cubicBezTo>
                      <a:pt x="39" y="45"/>
                      <a:pt x="32" y="35"/>
                      <a:pt x="26" y="26"/>
                    </a:cubicBezTo>
                    <a:cubicBezTo>
                      <a:pt x="15" y="15"/>
                      <a:pt x="7" y="6"/>
                      <a:pt x="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Freeform 303"/>
              <p:cNvSpPr>
                <a:spLocks/>
              </p:cNvSpPr>
              <p:nvPr/>
            </p:nvSpPr>
            <p:spPr bwMode="auto">
              <a:xfrm>
                <a:off x="917484" y="1594209"/>
                <a:ext cx="16619" cy="16619"/>
              </a:xfrm>
              <a:custGeom>
                <a:avLst/>
                <a:gdLst>
                  <a:gd name="T0" fmla="*/ 0 w 7"/>
                  <a:gd name="T1" fmla="*/ 0 h 7"/>
                  <a:gd name="T2" fmla="*/ 7 w 7"/>
                  <a:gd name="T3" fmla="*/ 7 h 7"/>
                  <a:gd name="T4" fmla="*/ 7 w 7"/>
                  <a:gd name="T5" fmla="*/ 7 h 7"/>
                  <a:gd name="T6" fmla="*/ 0 w 7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7">
                    <a:moveTo>
                      <a:pt x="0" y="0"/>
                    </a:moveTo>
                    <a:cubicBezTo>
                      <a:pt x="2" y="2"/>
                      <a:pt x="4" y="4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4" y="4"/>
                      <a:pt x="2" y="2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Freeform 304"/>
              <p:cNvSpPr>
                <a:spLocks/>
              </p:cNvSpPr>
              <p:nvPr/>
            </p:nvSpPr>
            <p:spPr bwMode="auto">
              <a:xfrm>
                <a:off x="793967" y="1463955"/>
                <a:ext cx="249279" cy="308118"/>
              </a:xfrm>
              <a:custGeom>
                <a:avLst/>
                <a:gdLst>
                  <a:gd name="T0" fmla="*/ 0 w 105"/>
                  <a:gd name="T1" fmla="*/ 0 h 130"/>
                  <a:gd name="T2" fmla="*/ 105 w 105"/>
                  <a:gd name="T3" fmla="*/ 130 h 130"/>
                  <a:gd name="T4" fmla="*/ 59 w 105"/>
                  <a:gd name="T5" fmla="*/ 62 h 130"/>
                  <a:gd name="T6" fmla="*/ 52 w 105"/>
                  <a:gd name="T7" fmla="*/ 55 h 130"/>
                  <a:gd name="T8" fmla="*/ 0 w 105"/>
                  <a:gd name="T9" fmla="*/ 0 h 130"/>
                  <a:gd name="T10" fmla="*/ 0 w 105"/>
                  <a:gd name="T11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5" h="130">
                    <a:moveTo>
                      <a:pt x="0" y="0"/>
                    </a:moveTo>
                    <a:cubicBezTo>
                      <a:pt x="0" y="0"/>
                      <a:pt x="45" y="63"/>
                      <a:pt x="105" y="130"/>
                    </a:cubicBezTo>
                    <a:cubicBezTo>
                      <a:pt x="86" y="104"/>
                      <a:pt x="71" y="81"/>
                      <a:pt x="59" y="62"/>
                    </a:cubicBezTo>
                    <a:cubicBezTo>
                      <a:pt x="56" y="59"/>
                      <a:pt x="54" y="57"/>
                      <a:pt x="52" y="55"/>
                    </a:cubicBezTo>
                    <a:cubicBezTo>
                      <a:pt x="20" y="23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Oval 305"/>
              <p:cNvSpPr>
                <a:spLocks noChangeArrowheads="1"/>
              </p:cNvSpPr>
              <p:nvPr/>
            </p:nvSpPr>
            <p:spPr bwMode="auto">
              <a:xfrm>
                <a:off x="1598399" y="2170471"/>
                <a:ext cx="449" cy="44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Freeform 306"/>
              <p:cNvSpPr>
                <a:spLocks/>
              </p:cNvSpPr>
              <p:nvPr/>
            </p:nvSpPr>
            <p:spPr bwMode="auto">
              <a:xfrm>
                <a:off x="1550789" y="2170471"/>
                <a:ext cx="47610" cy="59288"/>
              </a:xfrm>
              <a:custGeom>
                <a:avLst/>
                <a:gdLst>
                  <a:gd name="T0" fmla="*/ 20 w 20"/>
                  <a:gd name="T1" fmla="*/ 0 h 25"/>
                  <a:gd name="T2" fmla="*/ 0 w 20"/>
                  <a:gd name="T3" fmla="*/ 25 h 25"/>
                  <a:gd name="T4" fmla="*/ 0 w 20"/>
                  <a:gd name="T5" fmla="*/ 25 h 25"/>
                  <a:gd name="T6" fmla="*/ 20 w 20"/>
                  <a:gd name="T7" fmla="*/ 0 h 25"/>
                  <a:gd name="T8" fmla="*/ 20 w 20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5">
                    <a:moveTo>
                      <a:pt x="20" y="0"/>
                    </a:move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Freeform 307"/>
              <p:cNvSpPr>
                <a:spLocks/>
              </p:cNvSpPr>
              <p:nvPr/>
            </p:nvSpPr>
            <p:spPr bwMode="auto">
              <a:xfrm>
                <a:off x="723001" y="1463955"/>
                <a:ext cx="503050" cy="514728"/>
              </a:xfrm>
              <a:custGeom>
                <a:avLst/>
                <a:gdLst>
                  <a:gd name="T0" fmla="*/ 30 w 212"/>
                  <a:gd name="T1" fmla="*/ 0 h 217"/>
                  <a:gd name="T2" fmla="*/ 0 w 212"/>
                  <a:gd name="T3" fmla="*/ 25 h 217"/>
                  <a:gd name="T4" fmla="*/ 7 w 212"/>
                  <a:gd name="T5" fmla="*/ 33 h 217"/>
                  <a:gd name="T6" fmla="*/ 13 w 212"/>
                  <a:gd name="T7" fmla="*/ 28 h 217"/>
                  <a:gd name="T8" fmla="*/ 182 w 212"/>
                  <a:gd name="T9" fmla="*/ 191 h 217"/>
                  <a:gd name="T10" fmla="*/ 212 w 212"/>
                  <a:gd name="T11" fmla="*/ 217 h 217"/>
                  <a:gd name="T12" fmla="*/ 181 w 212"/>
                  <a:gd name="T13" fmla="*/ 184 h 217"/>
                  <a:gd name="T14" fmla="*/ 135 w 212"/>
                  <a:gd name="T15" fmla="*/ 130 h 217"/>
                  <a:gd name="T16" fmla="*/ 30 w 212"/>
                  <a:gd name="T17" fmla="*/ 0 h 217"/>
                  <a:gd name="T18" fmla="*/ 30 w 212"/>
                  <a:gd name="T19" fmla="*/ 0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2" h="217">
                    <a:moveTo>
                      <a:pt x="30" y="0"/>
                    </a:move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2" y="28"/>
                      <a:pt x="7" y="33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3" y="28"/>
                      <a:pt x="85" y="105"/>
                      <a:pt x="182" y="191"/>
                    </a:cubicBezTo>
                    <a:cubicBezTo>
                      <a:pt x="192" y="200"/>
                      <a:pt x="202" y="209"/>
                      <a:pt x="212" y="217"/>
                    </a:cubicBezTo>
                    <a:cubicBezTo>
                      <a:pt x="202" y="207"/>
                      <a:pt x="192" y="196"/>
                      <a:pt x="181" y="184"/>
                    </a:cubicBezTo>
                    <a:cubicBezTo>
                      <a:pt x="164" y="166"/>
                      <a:pt x="149" y="147"/>
                      <a:pt x="135" y="130"/>
                    </a:cubicBezTo>
                    <a:cubicBezTo>
                      <a:pt x="75" y="63"/>
                      <a:pt x="30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Freeform 308"/>
              <p:cNvSpPr>
                <a:spLocks/>
              </p:cNvSpPr>
              <p:nvPr/>
            </p:nvSpPr>
            <p:spPr bwMode="auto">
              <a:xfrm>
                <a:off x="1548543" y="2229759"/>
                <a:ext cx="2246" cy="4941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2 h 2"/>
                  <a:gd name="T4" fmla="*/ 0 w 1"/>
                  <a:gd name="T5" fmla="*/ 2 h 2"/>
                  <a:gd name="T6" fmla="*/ 1 w 1"/>
                  <a:gd name="T7" fmla="*/ 0 h 2"/>
                  <a:gd name="T8" fmla="*/ 1 w 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Freeform 309"/>
              <p:cNvSpPr>
                <a:spLocks/>
              </p:cNvSpPr>
              <p:nvPr/>
            </p:nvSpPr>
            <p:spPr bwMode="auto">
              <a:xfrm>
                <a:off x="1226052" y="1978683"/>
                <a:ext cx="322491" cy="274881"/>
              </a:xfrm>
              <a:custGeom>
                <a:avLst/>
                <a:gdLst>
                  <a:gd name="T0" fmla="*/ 0 w 136"/>
                  <a:gd name="T1" fmla="*/ 0 h 116"/>
                  <a:gd name="T2" fmla="*/ 128 w 136"/>
                  <a:gd name="T3" fmla="*/ 116 h 116"/>
                  <a:gd name="T4" fmla="*/ 128 w 136"/>
                  <a:gd name="T5" fmla="*/ 116 h 116"/>
                  <a:gd name="T6" fmla="*/ 136 w 136"/>
                  <a:gd name="T7" fmla="*/ 108 h 116"/>
                  <a:gd name="T8" fmla="*/ 136 w 136"/>
                  <a:gd name="T9" fmla="*/ 108 h 116"/>
                  <a:gd name="T10" fmla="*/ 128 w 136"/>
                  <a:gd name="T11" fmla="*/ 116 h 116"/>
                  <a:gd name="T12" fmla="*/ 0 w 136"/>
                  <a:gd name="T13" fmla="*/ 0 h 116"/>
                  <a:gd name="T14" fmla="*/ 0 w 136"/>
                  <a:gd name="T15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6" h="116">
                    <a:moveTo>
                      <a:pt x="0" y="0"/>
                    </a:moveTo>
                    <a:cubicBezTo>
                      <a:pt x="77" y="80"/>
                      <a:pt x="128" y="116"/>
                      <a:pt x="128" y="116"/>
                    </a:cubicBezTo>
                    <a:cubicBezTo>
                      <a:pt x="128" y="116"/>
                      <a:pt x="128" y="116"/>
                      <a:pt x="128" y="116"/>
                    </a:cubicBezTo>
                    <a:cubicBezTo>
                      <a:pt x="136" y="108"/>
                      <a:pt x="136" y="108"/>
                      <a:pt x="136" y="108"/>
                    </a:cubicBezTo>
                    <a:cubicBezTo>
                      <a:pt x="136" y="108"/>
                      <a:pt x="136" y="108"/>
                      <a:pt x="136" y="108"/>
                    </a:cubicBezTo>
                    <a:cubicBezTo>
                      <a:pt x="128" y="116"/>
                      <a:pt x="128" y="116"/>
                      <a:pt x="128" y="116"/>
                    </a:cubicBezTo>
                    <a:cubicBezTo>
                      <a:pt x="128" y="116"/>
                      <a:pt x="77" y="8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Freeform 310"/>
              <p:cNvSpPr>
                <a:spLocks/>
              </p:cNvSpPr>
              <p:nvPr/>
            </p:nvSpPr>
            <p:spPr bwMode="auto">
              <a:xfrm>
                <a:off x="739620" y="1529980"/>
                <a:ext cx="59288" cy="73661"/>
              </a:xfrm>
              <a:custGeom>
                <a:avLst/>
                <a:gdLst>
                  <a:gd name="T0" fmla="*/ 6 w 25"/>
                  <a:gd name="T1" fmla="*/ 0 h 31"/>
                  <a:gd name="T2" fmla="*/ 0 w 25"/>
                  <a:gd name="T3" fmla="*/ 5 h 31"/>
                  <a:gd name="T4" fmla="*/ 25 w 25"/>
                  <a:gd name="T5" fmla="*/ 31 h 31"/>
                  <a:gd name="T6" fmla="*/ 6 w 25"/>
                  <a:gd name="T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" h="31">
                    <a:moveTo>
                      <a:pt x="6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6" y="11"/>
                      <a:pt x="14" y="20"/>
                      <a:pt x="25" y="31"/>
                    </a:cubicBezTo>
                    <a:cubicBezTo>
                      <a:pt x="13" y="12"/>
                      <a:pt x="6" y="0"/>
                      <a:pt x="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Freeform 311"/>
              <p:cNvSpPr>
                <a:spLocks noEditPoints="1"/>
              </p:cNvSpPr>
              <p:nvPr/>
            </p:nvSpPr>
            <p:spPr bwMode="auto">
              <a:xfrm>
                <a:off x="1380111" y="1985420"/>
                <a:ext cx="218288" cy="185051"/>
              </a:xfrm>
              <a:custGeom>
                <a:avLst/>
                <a:gdLst>
                  <a:gd name="T0" fmla="*/ 75 w 92"/>
                  <a:gd name="T1" fmla="*/ 64 h 78"/>
                  <a:gd name="T2" fmla="*/ 86 w 92"/>
                  <a:gd name="T3" fmla="*/ 73 h 78"/>
                  <a:gd name="T4" fmla="*/ 92 w 92"/>
                  <a:gd name="T5" fmla="*/ 78 h 78"/>
                  <a:gd name="T6" fmla="*/ 92 w 92"/>
                  <a:gd name="T7" fmla="*/ 77 h 78"/>
                  <a:gd name="T8" fmla="*/ 75 w 92"/>
                  <a:gd name="T9" fmla="*/ 64 h 78"/>
                  <a:gd name="T10" fmla="*/ 2 w 92"/>
                  <a:gd name="T11" fmla="*/ 0 h 78"/>
                  <a:gd name="T12" fmla="*/ 0 w 92"/>
                  <a:gd name="T13" fmla="*/ 0 h 78"/>
                  <a:gd name="T14" fmla="*/ 35 w 92"/>
                  <a:gd name="T15" fmla="*/ 30 h 78"/>
                  <a:gd name="T16" fmla="*/ 2 w 92"/>
                  <a:gd name="T17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" h="78">
                    <a:moveTo>
                      <a:pt x="75" y="64"/>
                    </a:moveTo>
                    <a:cubicBezTo>
                      <a:pt x="80" y="68"/>
                      <a:pt x="84" y="71"/>
                      <a:pt x="86" y="73"/>
                    </a:cubicBezTo>
                    <a:cubicBezTo>
                      <a:pt x="90" y="76"/>
                      <a:pt x="91" y="77"/>
                      <a:pt x="92" y="78"/>
                    </a:cubicBezTo>
                    <a:cubicBezTo>
                      <a:pt x="92" y="77"/>
                      <a:pt x="92" y="77"/>
                      <a:pt x="92" y="77"/>
                    </a:cubicBezTo>
                    <a:cubicBezTo>
                      <a:pt x="92" y="77"/>
                      <a:pt x="87" y="73"/>
                      <a:pt x="75" y="64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3" y="11"/>
                      <a:pt x="24" y="21"/>
                      <a:pt x="35" y="30"/>
                    </a:cubicBezTo>
                    <a:cubicBezTo>
                      <a:pt x="25" y="21"/>
                      <a:pt x="14" y="11"/>
                      <a:pt x="2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Freeform 312"/>
              <p:cNvSpPr>
                <a:spLocks/>
              </p:cNvSpPr>
              <p:nvPr/>
            </p:nvSpPr>
            <p:spPr bwMode="auto">
              <a:xfrm>
                <a:off x="1154636" y="1767582"/>
                <a:ext cx="229966" cy="217839"/>
              </a:xfrm>
              <a:custGeom>
                <a:avLst/>
                <a:gdLst>
                  <a:gd name="T0" fmla="*/ 0 w 97"/>
                  <a:gd name="T1" fmla="*/ 0 h 92"/>
                  <a:gd name="T2" fmla="*/ 26 w 97"/>
                  <a:gd name="T3" fmla="*/ 29 h 92"/>
                  <a:gd name="T4" fmla="*/ 95 w 97"/>
                  <a:gd name="T5" fmla="*/ 92 h 92"/>
                  <a:gd name="T6" fmla="*/ 97 w 97"/>
                  <a:gd name="T7" fmla="*/ 92 h 92"/>
                  <a:gd name="T8" fmla="*/ 45 w 97"/>
                  <a:gd name="T9" fmla="*/ 42 h 92"/>
                  <a:gd name="T10" fmla="*/ 31 w 97"/>
                  <a:gd name="T11" fmla="*/ 29 h 92"/>
                  <a:gd name="T12" fmla="*/ 0 w 97"/>
                  <a:gd name="T13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" h="92">
                    <a:moveTo>
                      <a:pt x="0" y="0"/>
                    </a:moveTo>
                    <a:cubicBezTo>
                      <a:pt x="9" y="11"/>
                      <a:pt x="18" y="21"/>
                      <a:pt x="26" y="29"/>
                    </a:cubicBezTo>
                    <a:cubicBezTo>
                      <a:pt x="50" y="52"/>
                      <a:pt x="74" y="73"/>
                      <a:pt x="95" y="92"/>
                    </a:cubicBezTo>
                    <a:cubicBezTo>
                      <a:pt x="97" y="92"/>
                      <a:pt x="97" y="92"/>
                      <a:pt x="97" y="92"/>
                    </a:cubicBezTo>
                    <a:cubicBezTo>
                      <a:pt x="81" y="78"/>
                      <a:pt x="64" y="61"/>
                      <a:pt x="45" y="42"/>
                    </a:cubicBezTo>
                    <a:cubicBezTo>
                      <a:pt x="40" y="37"/>
                      <a:pt x="36" y="33"/>
                      <a:pt x="31" y="29"/>
                    </a:cubicBezTo>
                    <a:cubicBezTo>
                      <a:pt x="20" y="19"/>
                      <a:pt x="10" y="9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Freeform 313"/>
              <p:cNvSpPr>
                <a:spLocks/>
              </p:cNvSpPr>
              <p:nvPr/>
            </p:nvSpPr>
            <p:spPr bwMode="auto">
              <a:xfrm>
                <a:off x="860442" y="1473387"/>
                <a:ext cx="723584" cy="685406"/>
              </a:xfrm>
              <a:custGeom>
                <a:avLst/>
                <a:gdLst>
                  <a:gd name="T0" fmla="*/ 0 w 305"/>
                  <a:gd name="T1" fmla="*/ 0 h 289"/>
                  <a:gd name="T2" fmla="*/ 31 w 305"/>
                  <a:gd name="T3" fmla="*/ 58 h 289"/>
                  <a:gd name="T4" fmla="*/ 176 w 305"/>
                  <a:gd name="T5" fmla="*/ 189 h 289"/>
                  <a:gd name="T6" fmla="*/ 305 w 305"/>
                  <a:gd name="T7" fmla="*/ 289 h 289"/>
                  <a:gd name="T8" fmla="*/ 294 w 305"/>
                  <a:gd name="T9" fmla="*/ 280 h 289"/>
                  <a:gd name="T10" fmla="*/ 254 w 305"/>
                  <a:gd name="T11" fmla="*/ 246 h 289"/>
                  <a:gd name="T12" fmla="*/ 219 w 305"/>
                  <a:gd name="T13" fmla="*/ 216 h 289"/>
                  <a:gd name="T14" fmla="*/ 150 w 305"/>
                  <a:gd name="T15" fmla="*/ 153 h 289"/>
                  <a:gd name="T16" fmla="*/ 124 w 305"/>
                  <a:gd name="T17" fmla="*/ 124 h 289"/>
                  <a:gd name="T18" fmla="*/ 0 w 305"/>
                  <a:gd name="T19" fmla="*/ 0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5" h="289">
                    <a:moveTo>
                      <a:pt x="0" y="0"/>
                    </a:moveTo>
                    <a:cubicBezTo>
                      <a:pt x="0" y="0"/>
                      <a:pt x="9" y="23"/>
                      <a:pt x="31" y="58"/>
                    </a:cubicBezTo>
                    <a:cubicBezTo>
                      <a:pt x="70" y="97"/>
                      <a:pt x="123" y="147"/>
                      <a:pt x="176" y="189"/>
                    </a:cubicBezTo>
                    <a:cubicBezTo>
                      <a:pt x="261" y="255"/>
                      <a:pt x="294" y="280"/>
                      <a:pt x="305" y="289"/>
                    </a:cubicBezTo>
                    <a:cubicBezTo>
                      <a:pt x="303" y="287"/>
                      <a:pt x="299" y="284"/>
                      <a:pt x="294" y="280"/>
                    </a:cubicBezTo>
                    <a:cubicBezTo>
                      <a:pt x="285" y="273"/>
                      <a:pt x="271" y="262"/>
                      <a:pt x="254" y="246"/>
                    </a:cubicBezTo>
                    <a:cubicBezTo>
                      <a:pt x="243" y="237"/>
                      <a:pt x="232" y="227"/>
                      <a:pt x="219" y="216"/>
                    </a:cubicBezTo>
                    <a:cubicBezTo>
                      <a:pt x="198" y="197"/>
                      <a:pt x="174" y="176"/>
                      <a:pt x="150" y="153"/>
                    </a:cubicBezTo>
                    <a:cubicBezTo>
                      <a:pt x="142" y="145"/>
                      <a:pt x="133" y="135"/>
                      <a:pt x="124" y="124"/>
                    </a:cubicBezTo>
                    <a:cubicBezTo>
                      <a:pt x="44" y="49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Freeform 314"/>
              <p:cNvSpPr>
                <a:spLocks/>
              </p:cNvSpPr>
              <p:nvPr/>
            </p:nvSpPr>
            <p:spPr bwMode="auto">
              <a:xfrm>
                <a:off x="1584026" y="2158793"/>
                <a:ext cx="14373" cy="11678"/>
              </a:xfrm>
              <a:custGeom>
                <a:avLst/>
                <a:gdLst>
                  <a:gd name="T0" fmla="*/ 0 w 6"/>
                  <a:gd name="T1" fmla="*/ 0 h 5"/>
                  <a:gd name="T2" fmla="*/ 6 w 6"/>
                  <a:gd name="T3" fmla="*/ 5 h 5"/>
                  <a:gd name="T4" fmla="*/ 6 w 6"/>
                  <a:gd name="T5" fmla="*/ 5 h 5"/>
                  <a:gd name="T6" fmla="*/ 0 w 6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5">
                    <a:moveTo>
                      <a:pt x="0" y="0"/>
                    </a:moveTo>
                    <a:cubicBezTo>
                      <a:pt x="3" y="2"/>
                      <a:pt x="5" y="4"/>
                      <a:pt x="6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4"/>
                      <a:pt x="4" y="3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315"/>
              <p:cNvSpPr>
                <a:spLocks/>
              </p:cNvSpPr>
              <p:nvPr/>
            </p:nvSpPr>
            <p:spPr bwMode="auto">
              <a:xfrm>
                <a:off x="934103" y="1610828"/>
                <a:ext cx="664296" cy="618932"/>
              </a:xfrm>
              <a:custGeom>
                <a:avLst/>
                <a:gdLst>
                  <a:gd name="T0" fmla="*/ 0 w 280"/>
                  <a:gd name="T1" fmla="*/ 0 h 261"/>
                  <a:gd name="T2" fmla="*/ 46 w 280"/>
                  <a:gd name="T3" fmla="*/ 68 h 261"/>
                  <a:gd name="T4" fmla="*/ 103 w 280"/>
                  <a:gd name="T5" fmla="*/ 126 h 261"/>
                  <a:gd name="T6" fmla="*/ 260 w 280"/>
                  <a:gd name="T7" fmla="*/ 261 h 261"/>
                  <a:gd name="T8" fmla="*/ 280 w 280"/>
                  <a:gd name="T9" fmla="*/ 236 h 261"/>
                  <a:gd name="T10" fmla="*/ 274 w 280"/>
                  <a:gd name="T11" fmla="*/ 231 h 261"/>
                  <a:gd name="T12" fmla="*/ 145 w 280"/>
                  <a:gd name="T13" fmla="*/ 131 h 261"/>
                  <a:gd name="T14" fmla="*/ 0 w 280"/>
                  <a:gd name="T15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0" h="261">
                    <a:moveTo>
                      <a:pt x="0" y="0"/>
                    </a:moveTo>
                    <a:cubicBezTo>
                      <a:pt x="12" y="19"/>
                      <a:pt x="27" y="42"/>
                      <a:pt x="46" y="68"/>
                    </a:cubicBezTo>
                    <a:cubicBezTo>
                      <a:pt x="64" y="87"/>
                      <a:pt x="84" y="107"/>
                      <a:pt x="103" y="126"/>
                    </a:cubicBezTo>
                    <a:cubicBezTo>
                      <a:pt x="165" y="185"/>
                      <a:pt x="223" y="233"/>
                      <a:pt x="260" y="261"/>
                    </a:cubicBezTo>
                    <a:cubicBezTo>
                      <a:pt x="280" y="236"/>
                      <a:pt x="280" y="236"/>
                      <a:pt x="280" y="236"/>
                    </a:cubicBezTo>
                    <a:cubicBezTo>
                      <a:pt x="279" y="235"/>
                      <a:pt x="277" y="233"/>
                      <a:pt x="274" y="231"/>
                    </a:cubicBezTo>
                    <a:cubicBezTo>
                      <a:pt x="263" y="222"/>
                      <a:pt x="230" y="197"/>
                      <a:pt x="145" y="131"/>
                    </a:cubicBezTo>
                    <a:cubicBezTo>
                      <a:pt x="92" y="89"/>
                      <a:pt x="39" y="39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Freeform 316"/>
              <p:cNvSpPr>
                <a:spLocks/>
              </p:cNvSpPr>
              <p:nvPr/>
            </p:nvSpPr>
            <p:spPr bwMode="auto">
              <a:xfrm>
                <a:off x="1043247" y="1772073"/>
                <a:ext cx="507542" cy="462627"/>
              </a:xfrm>
              <a:custGeom>
                <a:avLst/>
                <a:gdLst>
                  <a:gd name="T0" fmla="*/ 0 w 214"/>
                  <a:gd name="T1" fmla="*/ 0 h 195"/>
                  <a:gd name="T2" fmla="*/ 46 w 214"/>
                  <a:gd name="T3" fmla="*/ 54 h 195"/>
                  <a:gd name="T4" fmla="*/ 77 w 214"/>
                  <a:gd name="T5" fmla="*/ 87 h 195"/>
                  <a:gd name="T6" fmla="*/ 213 w 214"/>
                  <a:gd name="T7" fmla="*/ 195 h 195"/>
                  <a:gd name="T8" fmla="*/ 214 w 214"/>
                  <a:gd name="T9" fmla="*/ 193 h 195"/>
                  <a:gd name="T10" fmla="*/ 57 w 214"/>
                  <a:gd name="T11" fmla="*/ 58 h 195"/>
                  <a:gd name="T12" fmla="*/ 0 w 214"/>
                  <a:gd name="T13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4" h="195">
                    <a:moveTo>
                      <a:pt x="0" y="0"/>
                    </a:moveTo>
                    <a:cubicBezTo>
                      <a:pt x="14" y="17"/>
                      <a:pt x="29" y="36"/>
                      <a:pt x="46" y="54"/>
                    </a:cubicBezTo>
                    <a:cubicBezTo>
                      <a:pt x="57" y="66"/>
                      <a:pt x="67" y="77"/>
                      <a:pt x="77" y="87"/>
                    </a:cubicBezTo>
                    <a:cubicBezTo>
                      <a:pt x="130" y="133"/>
                      <a:pt x="180" y="170"/>
                      <a:pt x="213" y="195"/>
                    </a:cubicBezTo>
                    <a:cubicBezTo>
                      <a:pt x="214" y="193"/>
                      <a:pt x="214" y="193"/>
                      <a:pt x="214" y="193"/>
                    </a:cubicBezTo>
                    <a:cubicBezTo>
                      <a:pt x="177" y="165"/>
                      <a:pt x="119" y="117"/>
                      <a:pt x="57" y="58"/>
                    </a:cubicBezTo>
                    <a:cubicBezTo>
                      <a:pt x="38" y="39"/>
                      <a:pt x="18" y="19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Freeform 317"/>
              <p:cNvSpPr>
                <a:spLocks/>
              </p:cNvSpPr>
              <p:nvPr/>
            </p:nvSpPr>
            <p:spPr bwMode="auto">
              <a:xfrm>
                <a:off x="1226052" y="1978683"/>
                <a:ext cx="322491" cy="274881"/>
              </a:xfrm>
              <a:custGeom>
                <a:avLst/>
                <a:gdLst>
                  <a:gd name="T0" fmla="*/ 0 w 136"/>
                  <a:gd name="T1" fmla="*/ 0 h 116"/>
                  <a:gd name="T2" fmla="*/ 128 w 136"/>
                  <a:gd name="T3" fmla="*/ 116 h 116"/>
                  <a:gd name="T4" fmla="*/ 136 w 136"/>
                  <a:gd name="T5" fmla="*/ 108 h 116"/>
                  <a:gd name="T6" fmla="*/ 0 w 136"/>
                  <a:gd name="T7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6" h="116">
                    <a:moveTo>
                      <a:pt x="0" y="0"/>
                    </a:moveTo>
                    <a:cubicBezTo>
                      <a:pt x="77" y="80"/>
                      <a:pt x="128" y="116"/>
                      <a:pt x="128" y="116"/>
                    </a:cubicBezTo>
                    <a:cubicBezTo>
                      <a:pt x="136" y="108"/>
                      <a:pt x="136" y="108"/>
                      <a:pt x="136" y="108"/>
                    </a:cubicBezTo>
                    <a:cubicBezTo>
                      <a:pt x="103" y="83"/>
                      <a:pt x="53" y="46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Freeform 318"/>
              <p:cNvSpPr>
                <a:spLocks/>
              </p:cNvSpPr>
              <p:nvPr/>
            </p:nvSpPr>
            <p:spPr bwMode="auto">
              <a:xfrm>
                <a:off x="931857" y="1416345"/>
                <a:ext cx="673728" cy="728075"/>
              </a:xfrm>
              <a:custGeom>
                <a:avLst/>
                <a:gdLst>
                  <a:gd name="T0" fmla="*/ 0 w 284"/>
                  <a:gd name="T1" fmla="*/ 0 h 307"/>
                  <a:gd name="T2" fmla="*/ 129 w 284"/>
                  <a:gd name="T3" fmla="*/ 179 h 307"/>
                  <a:gd name="T4" fmla="*/ 139 w 284"/>
                  <a:gd name="T5" fmla="*/ 190 h 307"/>
                  <a:gd name="T6" fmla="*/ 284 w 284"/>
                  <a:gd name="T7" fmla="*/ 307 h 307"/>
                  <a:gd name="T8" fmla="*/ 140 w 284"/>
                  <a:gd name="T9" fmla="*/ 179 h 307"/>
                  <a:gd name="T10" fmla="*/ 11 w 284"/>
                  <a:gd name="T11" fmla="*/ 13 h 307"/>
                  <a:gd name="T12" fmla="*/ 0 w 284"/>
                  <a:gd name="T13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4" h="307">
                    <a:moveTo>
                      <a:pt x="0" y="0"/>
                    </a:moveTo>
                    <a:cubicBezTo>
                      <a:pt x="0" y="0"/>
                      <a:pt x="42" y="90"/>
                      <a:pt x="129" y="179"/>
                    </a:cubicBezTo>
                    <a:cubicBezTo>
                      <a:pt x="133" y="183"/>
                      <a:pt x="136" y="186"/>
                      <a:pt x="139" y="190"/>
                    </a:cubicBezTo>
                    <a:cubicBezTo>
                      <a:pt x="198" y="242"/>
                      <a:pt x="251" y="283"/>
                      <a:pt x="284" y="307"/>
                    </a:cubicBezTo>
                    <a:cubicBezTo>
                      <a:pt x="252" y="283"/>
                      <a:pt x="198" y="239"/>
                      <a:pt x="140" y="179"/>
                    </a:cubicBezTo>
                    <a:cubicBezTo>
                      <a:pt x="63" y="99"/>
                      <a:pt x="16" y="21"/>
                      <a:pt x="11" y="13"/>
                    </a:cubicBezTo>
                    <a:cubicBezTo>
                      <a:pt x="3" y="4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Freeform 319"/>
              <p:cNvSpPr>
                <a:spLocks/>
              </p:cNvSpPr>
              <p:nvPr/>
            </p:nvSpPr>
            <p:spPr bwMode="auto">
              <a:xfrm>
                <a:off x="860442" y="1416345"/>
                <a:ext cx="401093" cy="450499"/>
              </a:xfrm>
              <a:custGeom>
                <a:avLst/>
                <a:gdLst>
                  <a:gd name="T0" fmla="*/ 30 w 169"/>
                  <a:gd name="T1" fmla="*/ 0 h 190"/>
                  <a:gd name="T2" fmla="*/ 0 w 169"/>
                  <a:gd name="T3" fmla="*/ 24 h 190"/>
                  <a:gd name="T4" fmla="*/ 155 w 169"/>
                  <a:gd name="T5" fmla="*/ 177 h 190"/>
                  <a:gd name="T6" fmla="*/ 169 w 169"/>
                  <a:gd name="T7" fmla="*/ 190 h 190"/>
                  <a:gd name="T8" fmla="*/ 159 w 169"/>
                  <a:gd name="T9" fmla="*/ 179 h 190"/>
                  <a:gd name="T10" fmla="*/ 30 w 169"/>
                  <a:gd name="T11" fmla="*/ 0 h 190"/>
                  <a:gd name="T12" fmla="*/ 30 w 169"/>
                  <a:gd name="T13" fmla="*/ 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9" h="190">
                    <a:moveTo>
                      <a:pt x="30" y="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55" y="86"/>
                      <a:pt x="155" y="177"/>
                    </a:cubicBezTo>
                    <a:cubicBezTo>
                      <a:pt x="160" y="181"/>
                      <a:pt x="164" y="185"/>
                      <a:pt x="169" y="190"/>
                    </a:cubicBezTo>
                    <a:cubicBezTo>
                      <a:pt x="166" y="186"/>
                      <a:pt x="163" y="183"/>
                      <a:pt x="159" y="179"/>
                    </a:cubicBezTo>
                    <a:cubicBezTo>
                      <a:pt x="72" y="90"/>
                      <a:pt x="30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Freeform 320"/>
              <p:cNvSpPr>
                <a:spLocks/>
              </p:cNvSpPr>
              <p:nvPr/>
            </p:nvSpPr>
            <p:spPr bwMode="auto">
              <a:xfrm>
                <a:off x="1531924" y="1969251"/>
                <a:ext cx="206161" cy="158551"/>
              </a:xfrm>
              <a:custGeom>
                <a:avLst/>
                <a:gdLst>
                  <a:gd name="T0" fmla="*/ 0 w 87"/>
                  <a:gd name="T1" fmla="*/ 0 h 67"/>
                  <a:gd name="T2" fmla="*/ 87 w 87"/>
                  <a:gd name="T3" fmla="*/ 67 h 67"/>
                  <a:gd name="T4" fmla="*/ 0 w 87"/>
                  <a:gd name="T5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7" h="67">
                    <a:moveTo>
                      <a:pt x="0" y="0"/>
                    </a:moveTo>
                    <a:cubicBezTo>
                      <a:pt x="50" y="43"/>
                      <a:pt x="87" y="67"/>
                      <a:pt x="87" y="67"/>
                    </a:cubicBezTo>
                    <a:cubicBezTo>
                      <a:pt x="87" y="67"/>
                      <a:pt x="52" y="42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Freeform 321"/>
              <p:cNvSpPr>
                <a:spLocks/>
              </p:cNvSpPr>
              <p:nvPr/>
            </p:nvSpPr>
            <p:spPr bwMode="auto">
              <a:xfrm>
                <a:off x="957908" y="1444641"/>
                <a:ext cx="574016" cy="524610"/>
              </a:xfrm>
              <a:custGeom>
                <a:avLst/>
                <a:gdLst>
                  <a:gd name="T0" fmla="*/ 0 w 242"/>
                  <a:gd name="T1" fmla="*/ 0 h 221"/>
                  <a:gd name="T2" fmla="*/ 0 w 242"/>
                  <a:gd name="T3" fmla="*/ 1 h 221"/>
                  <a:gd name="T4" fmla="*/ 140 w 242"/>
                  <a:gd name="T5" fmla="*/ 135 h 221"/>
                  <a:gd name="T6" fmla="*/ 242 w 242"/>
                  <a:gd name="T7" fmla="*/ 221 h 221"/>
                  <a:gd name="T8" fmla="*/ 185 w 242"/>
                  <a:gd name="T9" fmla="*/ 169 h 221"/>
                  <a:gd name="T10" fmla="*/ 152 w 242"/>
                  <a:gd name="T11" fmla="*/ 141 h 221"/>
                  <a:gd name="T12" fmla="*/ 0 w 242"/>
                  <a:gd name="T13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2" h="22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20" y="22"/>
                      <a:pt x="65" y="69"/>
                      <a:pt x="140" y="135"/>
                    </a:cubicBezTo>
                    <a:cubicBezTo>
                      <a:pt x="178" y="168"/>
                      <a:pt x="212" y="197"/>
                      <a:pt x="242" y="221"/>
                    </a:cubicBezTo>
                    <a:cubicBezTo>
                      <a:pt x="224" y="205"/>
                      <a:pt x="205" y="188"/>
                      <a:pt x="185" y="169"/>
                    </a:cubicBezTo>
                    <a:cubicBezTo>
                      <a:pt x="174" y="160"/>
                      <a:pt x="163" y="151"/>
                      <a:pt x="152" y="141"/>
                    </a:cubicBezTo>
                    <a:cubicBezTo>
                      <a:pt x="58" y="61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Freeform 322"/>
              <p:cNvSpPr>
                <a:spLocks/>
              </p:cNvSpPr>
              <p:nvPr/>
            </p:nvSpPr>
            <p:spPr bwMode="auto">
              <a:xfrm>
                <a:off x="1605585" y="2144420"/>
                <a:ext cx="78152" cy="54797"/>
              </a:xfrm>
              <a:custGeom>
                <a:avLst/>
                <a:gdLst>
                  <a:gd name="T0" fmla="*/ 0 w 33"/>
                  <a:gd name="T1" fmla="*/ 0 h 23"/>
                  <a:gd name="T2" fmla="*/ 33 w 33"/>
                  <a:gd name="T3" fmla="*/ 23 h 23"/>
                  <a:gd name="T4" fmla="*/ 0 w 33"/>
                  <a:gd name="T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3" h="23">
                    <a:moveTo>
                      <a:pt x="0" y="0"/>
                    </a:moveTo>
                    <a:cubicBezTo>
                      <a:pt x="20" y="16"/>
                      <a:pt x="33" y="23"/>
                      <a:pt x="33" y="23"/>
                    </a:cubicBezTo>
                    <a:cubicBezTo>
                      <a:pt x="33" y="23"/>
                      <a:pt x="20" y="15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Freeform 323"/>
              <p:cNvSpPr>
                <a:spLocks/>
              </p:cNvSpPr>
              <p:nvPr/>
            </p:nvSpPr>
            <p:spPr bwMode="auto">
              <a:xfrm>
                <a:off x="957908" y="1447336"/>
                <a:ext cx="780177" cy="751881"/>
              </a:xfrm>
              <a:custGeom>
                <a:avLst/>
                <a:gdLst>
                  <a:gd name="T0" fmla="*/ 0 w 329"/>
                  <a:gd name="T1" fmla="*/ 0 h 317"/>
                  <a:gd name="T2" fmla="*/ 129 w 329"/>
                  <a:gd name="T3" fmla="*/ 166 h 317"/>
                  <a:gd name="T4" fmla="*/ 273 w 329"/>
                  <a:gd name="T5" fmla="*/ 294 h 317"/>
                  <a:gd name="T6" fmla="*/ 306 w 329"/>
                  <a:gd name="T7" fmla="*/ 317 h 317"/>
                  <a:gd name="T8" fmla="*/ 306 w 329"/>
                  <a:gd name="T9" fmla="*/ 317 h 317"/>
                  <a:gd name="T10" fmla="*/ 329 w 329"/>
                  <a:gd name="T11" fmla="*/ 287 h 317"/>
                  <a:gd name="T12" fmla="*/ 242 w 329"/>
                  <a:gd name="T13" fmla="*/ 220 h 317"/>
                  <a:gd name="T14" fmla="*/ 140 w 329"/>
                  <a:gd name="T15" fmla="*/ 134 h 317"/>
                  <a:gd name="T16" fmla="*/ 0 w 329"/>
                  <a:gd name="T17" fmla="*/ 0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9" h="317">
                    <a:moveTo>
                      <a:pt x="0" y="0"/>
                    </a:moveTo>
                    <a:cubicBezTo>
                      <a:pt x="5" y="8"/>
                      <a:pt x="52" y="86"/>
                      <a:pt x="129" y="166"/>
                    </a:cubicBezTo>
                    <a:cubicBezTo>
                      <a:pt x="187" y="226"/>
                      <a:pt x="241" y="270"/>
                      <a:pt x="273" y="294"/>
                    </a:cubicBezTo>
                    <a:cubicBezTo>
                      <a:pt x="293" y="309"/>
                      <a:pt x="306" y="317"/>
                      <a:pt x="306" y="317"/>
                    </a:cubicBezTo>
                    <a:cubicBezTo>
                      <a:pt x="306" y="317"/>
                      <a:pt x="306" y="317"/>
                      <a:pt x="306" y="317"/>
                    </a:cubicBezTo>
                    <a:cubicBezTo>
                      <a:pt x="329" y="287"/>
                      <a:pt x="329" y="287"/>
                      <a:pt x="329" y="287"/>
                    </a:cubicBezTo>
                    <a:cubicBezTo>
                      <a:pt x="329" y="287"/>
                      <a:pt x="292" y="263"/>
                      <a:pt x="242" y="220"/>
                    </a:cubicBezTo>
                    <a:cubicBezTo>
                      <a:pt x="212" y="196"/>
                      <a:pt x="178" y="167"/>
                      <a:pt x="140" y="134"/>
                    </a:cubicBezTo>
                    <a:cubicBezTo>
                      <a:pt x="65" y="68"/>
                      <a:pt x="20" y="21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324"/>
              <p:cNvSpPr>
                <a:spLocks/>
              </p:cNvSpPr>
              <p:nvPr/>
            </p:nvSpPr>
            <p:spPr bwMode="auto">
              <a:xfrm>
                <a:off x="1031120" y="1375921"/>
                <a:ext cx="33237" cy="45364"/>
              </a:xfrm>
              <a:custGeom>
                <a:avLst/>
                <a:gdLst>
                  <a:gd name="T0" fmla="*/ 0 w 14"/>
                  <a:gd name="T1" fmla="*/ 0 h 19"/>
                  <a:gd name="T2" fmla="*/ 11 w 14"/>
                  <a:gd name="T3" fmla="*/ 19 h 19"/>
                  <a:gd name="T4" fmla="*/ 14 w 14"/>
                  <a:gd name="T5" fmla="*/ 16 h 19"/>
                  <a:gd name="T6" fmla="*/ 0 w 14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9">
                    <a:moveTo>
                      <a:pt x="0" y="0"/>
                    </a:moveTo>
                    <a:cubicBezTo>
                      <a:pt x="0" y="0"/>
                      <a:pt x="4" y="7"/>
                      <a:pt x="11" y="19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5" y="6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325"/>
              <p:cNvSpPr>
                <a:spLocks/>
              </p:cNvSpPr>
              <p:nvPr/>
            </p:nvSpPr>
            <p:spPr bwMode="auto">
              <a:xfrm>
                <a:off x="1138018" y="1549294"/>
                <a:ext cx="552906" cy="507542"/>
              </a:xfrm>
              <a:custGeom>
                <a:avLst/>
                <a:gdLst>
                  <a:gd name="T0" fmla="*/ 0 w 233"/>
                  <a:gd name="T1" fmla="*/ 0 h 214"/>
                  <a:gd name="T2" fmla="*/ 68 w 233"/>
                  <a:gd name="T3" fmla="*/ 82 h 214"/>
                  <a:gd name="T4" fmla="*/ 109 w 233"/>
                  <a:gd name="T5" fmla="*/ 125 h 214"/>
                  <a:gd name="T6" fmla="*/ 233 w 233"/>
                  <a:gd name="T7" fmla="*/ 214 h 214"/>
                  <a:gd name="T8" fmla="*/ 80 w 233"/>
                  <a:gd name="T9" fmla="*/ 84 h 214"/>
                  <a:gd name="T10" fmla="*/ 0 w 233"/>
                  <a:gd name="T11" fmla="*/ 0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3" h="214">
                    <a:moveTo>
                      <a:pt x="0" y="0"/>
                    </a:moveTo>
                    <a:cubicBezTo>
                      <a:pt x="17" y="23"/>
                      <a:pt x="39" y="51"/>
                      <a:pt x="68" y="82"/>
                    </a:cubicBezTo>
                    <a:cubicBezTo>
                      <a:pt x="82" y="97"/>
                      <a:pt x="95" y="111"/>
                      <a:pt x="109" y="125"/>
                    </a:cubicBezTo>
                    <a:cubicBezTo>
                      <a:pt x="179" y="181"/>
                      <a:pt x="233" y="214"/>
                      <a:pt x="233" y="214"/>
                    </a:cubicBezTo>
                    <a:cubicBezTo>
                      <a:pt x="233" y="214"/>
                      <a:pt x="158" y="163"/>
                      <a:pt x="80" y="84"/>
                    </a:cubicBezTo>
                    <a:cubicBezTo>
                      <a:pt x="46" y="49"/>
                      <a:pt x="19" y="21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Freeform 326"/>
              <p:cNvSpPr>
                <a:spLocks/>
              </p:cNvSpPr>
              <p:nvPr/>
            </p:nvSpPr>
            <p:spPr bwMode="auto">
              <a:xfrm>
                <a:off x="957908" y="1375921"/>
                <a:ext cx="438822" cy="469813"/>
              </a:xfrm>
              <a:custGeom>
                <a:avLst/>
                <a:gdLst>
                  <a:gd name="T0" fmla="*/ 31 w 185"/>
                  <a:gd name="T1" fmla="*/ 0 h 198"/>
                  <a:gd name="T2" fmla="*/ 0 w 185"/>
                  <a:gd name="T3" fmla="*/ 29 h 198"/>
                  <a:gd name="T4" fmla="*/ 152 w 185"/>
                  <a:gd name="T5" fmla="*/ 170 h 198"/>
                  <a:gd name="T6" fmla="*/ 185 w 185"/>
                  <a:gd name="T7" fmla="*/ 198 h 198"/>
                  <a:gd name="T8" fmla="*/ 144 w 185"/>
                  <a:gd name="T9" fmla="*/ 155 h 198"/>
                  <a:gd name="T10" fmla="*/ 76 w 185"/>
                  <a:gd name="T11" fmla="*/ 73 h 198"/>
                  <a:gd name="T12" fmla="*/ 35 w 185"/>
                  <a:gd name="T13" fmla="*/ 26 h 198"/>
                  <a:gd name="T14" fmla="*/ 35 w 185"/>
                  <a:gd name="T15" fmla="*/ 26 h 198"/>
                  <a:gd name="T16" fmla="*/ 35 w 185"/>
                  <a:gd name="T17" fmla="*/ 26 h 198"/>
                  <a:gd name="T18" fmla="*/ 35 w 185"/>
                  <a:gd name="T19" fmla="*/ 26 h 198"/>
                  <a:gd name="T20" fmla="*/ 35 w 185"/>
                  <a:gd name="T21" fmla="*/ 26 h 198"/>
                  <a:gd name="T22" fmla="*/ 42 w 185"/>
                  <a:gd name="T23" fmla="*/ 19 h 198"/>
                  <a:gd name="T24" fmla="*/ 31 w 185"/>
                  <a:gd name="T25" fmla="*/ 0 h 198"/>
                  <a:gd name="T26" fmla="*/ 31 w 185"/>
                  <a:gd name="T27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5" h="198">
                    <a:moveTo>
                      <a:pt x="31" y="0"/>
                    </a:move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58" y="90"/>
                      <a:pt x="152" y="170"/>
                    </a:cubicBezTo>
                    <a:cubicBezTo>
                      <a:pt x="163" y="180"/>
                      <a:pt x="174" y="189"/>
                      <a:pt x="185" y="198"/>
                    </a:cubicBezTo>
                    <a:cubicBezTo>
                      <a:pt x="171" y="184"/>
                      <a:pt x="158" y="170"/>
                      <a:pt x="144" y="155"/>
                    </a:cubicBezTo>
                    <a:cubicBezTo>
                      <a:pt x="115" y="124"/>
                      <a:pt x="93" y="96"/>
                      <a:pt x="76" y="73"/>
                    </a:cubicBezTo>
                    <a:cubicBezTo>
                      <a:pt x="48" y="41"/>
                      <a:pt x="35" y="26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42" y="19"/>
                      <a:pt x="42" y="19"/>
                      <a:pt x="42" y="19"/>
                    </a:cubicBezTo>
                    <a:cubicBezTo>
                      <a:pt x="35" y="7"/>
                      <a:pt x="31" y="0"/>
                      <a:pt x="31" y="0"/>
                    </a:cubicBezTo>
                    <a:cubicBezTo>
                      <a:pt x="31" y="0"/>
                      <a:pt x="31" y="0"/>
                      <a:pt x="31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Freeform 327"/>
              <p:cNvSpPr>
                <a:spLocks/>
              </p:cNvSpPr>
              <p:nvPr/>
            </p:nvSpPr>
            <p:spPr bwMode="auto">
              <a:xfrm>
                <a:off x="1482068" y="1810251"/>
                <a:ext cx="251525" cy="185051"/>
              </a:xfrm>
              <a:custGeom>
                <a:avLst/>
                <a:gdLst>
                  <a:gd name="T0" fmla="*/ 0 w 106"/>
                  <a:gd name="T1" fmla="*/ 0 h 78"/>
                  <a:gd name="T2" fmla="*/ 106 w 106"/>
                  <a:gd name="T3" fmla="*/ 78 h 78"/>
                  <a:gd name="T4" fmla="*/ 106 w 106"/>
                  <a:gd name="T5" fmla="*/ 78 h 78"/>
                  <a:gd name="T6" fmla="*/ 46 w 106"/>
                  <a:gd name="T7" fmla="*/ 31 h 78"/>
                  <a:gd name="T8" fmla="*/ 0 w 106"/>
                  <a:gd name="T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78">
                    <a:moveTo>
                      <a:pt x="0" y="0"/>
                    </a:moveTo>
                    <a:cubicBezTo>
                      <a:pt x="60" y="48"/>
                      <a:pt x="106" y="78"/>
                      <a:pt x="106" y="78"/>
                    </a:cubicBezTo>
                    <a:cubicBezTo>
                      <a:pt x="106" y="78"/>
                      <a:pt x="106" y="78"/>
                      <a:pt x="106" y="78"/>
                    </a:cubicBezTo>
                    <a:cubicBezTo>
                      <a:pt x="106" y="78"/>
                      <a:pt x="83" y="62"/>
                      <a:pt x="46" y="31"/>
                    </a:cubicBezTo>
                    <a:cubicBezTo>
                      <a:pt x="32" y="23"/>
                      <a:pt x="16" y="12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Freeform 328"/>
              <p:cNvSpPr>
                <a:spLocks/>
              </p:cNvSpPr>
              <p:nvPr/>
            </p:nvSpPr>
            <p:spPr bwMode="auto">
              <a:xfrm>
                <a:off x="1100289" y="1492251"/>
                <a:ext cx="633305" cy="564584"/>
              </a:xfrm>
              <a:custGeom>
                <a:avLst/>
                <a:gdLst>
                  <a:gd name="T0" fmla="*/ 0 w 267"/>
                  <a:gd name="T1" fmla="*/ 0 h 238"/>
                  <a:gd name="T2" fmla="*/ 16 w 267"/>
                  <a:gd name="T3" fmla="*/ 24 h 238"/>
                  <a:gd name="T4" fmla="*/ 96 w 267"/>
                  <a:gd name="T5" fmla="*/ 108 h 238"/>
                  <a:gd name="T6" fmla="*/ 249 w 267"/>
                  <a:gd name="T7" fmla="*/ 238 h 238"/>
                  <a:gd name="T8" fmla="*/ 267 w 267"/>
                  <a:gd name="T9" fmla="*/ 212 h 238"/>
                  <a:gd name="T10" fmla="*/ 161 w 267"/>
                  <a:gd name="T11" fmla="*/ 134 h 238"/>
                  <a:gd name="T12" fmla="*/ 117 w 267"/>
                  <a:gd name="T13" fmla="*/ 101 h 238"/>
                  <a:gd name="T14" fmla="*/ 0 w 267"/>
                  <a:gd name="T15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7" h="238">
                    <a:moveTo>
                      <a:pt x="0" y="0"/>
                    </a:moveTo>
                    <a:cubicBezTo>
                      <a:pt x="5" y="7"/>
                      <a:pt x="10" y="15"/>
                      <a:pt x="16" y="24"/>
                    </a:cubicBezTo>
                    <a:cubicBezTo>
                      <a:pt x="35" y="45"/>
                      <a:pt x="62" y="73"/>
                      <a:pt x="96" y="108"/>
                    </a:cubicBezTo>
                    <a:cubicBezTo>
                      <a:pt x="174" y="187"/>
                      <a:pt x="249" y="238"/>
                      <a:pt x="249" y="238"/>
                    </a:cubicBezTo>
                    <a:cubicBezTo>
                      <a:pt x="267" y="212"/>
                      <a:pt x="267" y="212"/>
                      <a:pt x="267" y="212"/>
                    </a:cubicBezTo>
                    <a:cubicBezTo>
                      <a:pt x="267" y="212"/>
                      <a:pt x="221" y="182"/>
                      <a:pt x="161" y="134"/>
                    </a:cubicBezTo>
                    <a:cubicBezTo>
                      <a:pt x="147" y="124"/>
                      <a:pt x="132" y="113"/>
                      <a:pt x="117" y="101"/>
                    </a:cubicBezTo>
                    <a:cubicBezTo>
                      <a:pt x="61" y="55"/>
                      <a:pt x="22" y="21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329"/>
              <p:cNvSpPr>
                <a:spLocks/>
              </p:cNvSpPr>
              <p:nvPr/>
            </p:nvSpPr>
            <p:spPr bwMode="auto">
              <a:xfrm>
                <a:off x="1041001" y="1437904"/>
                <a:ext cx="97017" cy="111390"/>
              </a:xfrm>
              <a:custGeom>
                <a:avLst/>
                <a:gdLst>
                  <a:gd name="T0" fmla="*/ 0 w 41"/>
                  <a:gd name="T1" fmla="*/ 0 h 47"/>
                  <a:gd name="T2" fmla="*/ 41 w 41"/>
                  <a:gd name="T3" fmla="*/ 47 h 47"/>
                  <a:gd name="T4" fmla="*/ 25 w 41"/>
                  <a:gd name="T5" fmla="*/ 23 h 47"/>
                  <a:gd name="T6" fmla="*/ 0 w 41"/>
                  <a:gd name="T7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" h="47">
                    <a:moveTo>
                      <a:pt x="0" y="0"/>
                    </a:moveTo>
                    <a:cubicBezTo>
                      <a:pt x="0" y="0"/>
                      <a:pt x="13" y="15"/>
                      <a:pt x="41" y="47"/>
                    </a:cubicBezTo>
                    <a:cubicBezTo>
                      <a:pt x="35" y="38"/>
                      <a:pt x="30" y="30"/>
                      <a:pt x="25" y="23"/>
                    </a:cubicBezTo>
                    <a:cubicBezTo>
                      <a:pt x="8" y="8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330"/>
              <p:cNvSpPr>
                <a:spLocks/>
              </p:cNvSpPr>
              <p:nvPr/>
            </p:nvSpPr>
            <p:spPr bwMode="auto">
              <a:xfrm>
                <a:off x="1100289" y="1380862"/>
                <a:ext cx="609499" cy="571771"/>
              </a:xfrm>
              <a:custGeom>
                <a:avLst/>
                <a:gdLst>
                  <a:gd name="T0" fmla="*/ 0 w 257"/>
                  <a:gd name="T1" fmla="*/ 0 h 241"/>
                  <a:gd name="T2" fmla="*/ 121 w 257"/>
                  <a:gd name="T3" fmla="*/ 135 h 241"/>
                  <a:gd name="T4" fmla="*/ 207 w 257"/>
                  <a:gd name="T5" fmla="*/ 212 h 241"/>
                  <a:gd name="T6" fmla="*/ 257 w 257"/>
                  <a:gd name="T7" fmla="*/ 241 h 241"/>
                  <a:gd name="T8" fmla="*/ 132 w 257"/>
                  <a:gd name="T9" fmla="*/ 143 h 241"/>
                  <a:gd name="T10" fmla="*/ 70 w 257"/>
                  <a:gd name="T11" fmla="*/ 69 h 241"/>
                  <a:gd name="T12" fmla="*/ 0 w 257"/>
                  <a:gd name="T13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7" h="241">
                    <a:moveTo>
                      <a:pt x="0" y="0"/>
                    </a:moveTo>
                    <a:cubicBezTo>
                      <a:pt x="0" y="0"/>
                      <a:pt x="45" y="62"/>
                      <a:pt x="121" y="135"/>
                    </a:cubicBezTo>
                    <a:cubicBezTo>
                      <a:pt x="154" y="166"/>
                      <a:pt x="183" y="192"/>
                      <a:pt x="207" y="212"/>
                    </a:cubicBezTo>
                    <a:cubicBezTo>
                      <a:pt x="237" y="230"/>
                      <a:pt x="257" y="241"/>
                      <a:pt x="257" y="241"/>
                    </a:cubicBezTo>
                    <a:cubicBezTo>
                      <a:pt x="257" y="241"/>
                      <a:pt x="196" y="206"/>
                      <a:pt x="132" y="143"/>
                    </a:cubicBezTo>
                    <a:cubicBezTo>
                      <a:pt x="104" y="116"/>
                      <a:pt x="84" y="90"/>
                      <a:pt x="70" y="69"/>
                    </a:cubicBezTo>
                    <a:cubicBezTo>
                      <a:pt x="24" y="28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331"/>
              <p:cNvSpPr>
                <a:spLocks/>
              </p:cNvSpPr>
              <p:nvPr/>
            </p:nvSpPr>
            <p:spPr bwMode="auto">
              <a:xfrm>
                <a:off x="1064357" y="1380862"/>
                <a:ext cx="526855" cy="502601"/>
              </a:xfrm>
              <a:custGeom>
                <a:avLst/>
                <a:gdLst>
                  <a:gd name="T0" fmla="*/ 15 w 222"/>
                  <a:gd name="T1" fmla="*/ 0 h 212"/>
                  <a:gd name="T2" fmla="*/ 0 w 222"/>
                  <a:gd name="T3" fmla="*/ 14 h 212"/>
                  <a:gd name="T4" fmla="*/ 117 w 222"/>
                  <a:gd name="T5" fmla="*/ 132 h 212"/>
                  <a:gd name="T6" fmla="*/ 176 w 222"/>
                  <a:gd name="T7" fmla="*/ 181 h 212"/>
                  <a:gd name="T8" fmla="*/ 222 w 222"/>
                  <a:gd name="T9" fmla="*/ 212 h 212"/>
                  <a:gd name="T10" fmla="*/ 136 w 222"/>
                  <a:gd name="T11" fmla="*/ 135 h 212"/>
                  <a:gd name="T12" fmla="*/ 15 w 222"/>
                  <a:gd name="T13" fmla="*/ 0 h 212"/>
                  <a:gd name="T14" fmla="*/ 15 w 222"/>
                  <a:gd name="T15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2" h="212">
                    <a:moveTo>
                      <a:pt x="15" y="0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20" y="37"/>
                      <a:pt x="61" y="82"/>
                      <a:pt x="117" y="132"/>
                    </a:cubicBezTo>
                    <a:cubicBezTo>
                      <a:pt x="137" y="150"/>
                      <a:pt x="157" y="167"/>
                      <a:pt x="176" y="181"/>
                    </a:cubicBezTo>
                    <a:cubicBezTo>
                      <a:pt x="192" y="193"/>
                      <a:pt x="208" y="204"/>
                      <a:pt x="222" y="212"/>
                    </a:cubicBezTo>
                    <a:cubicBezTo>
                      <a:pt x="198" y="192"/>
                      <a:pt x="169" y="166"/>
                      <a:pt x="136" y="135"/>
                    </a:cubicBezTo>
                    <a:cubicBezTo>
                      <a:pt x="60" y="62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332"/>
              <p:cNvSpPr>
                <a:spLocks/>
              </p:cNvSpPr>
              <p:nvPr/>
            </p:nvSpPr>
            <p:spPr bwMode="auto">
              <a:xfrm>
                <a:off x="1057620" y="1414099"/>
                <a:ext cx="424449" cy="396152"/>
              </a:xfrm>
              <a:custGeom>
                <a:avLst/>
                <a:gdLst>
                  <a:gd name="T0" fmla="*/ 3 w 179"/>
                  <a:gd name="T1" fmla="*/ 0 h 167"/>
                  <a:gd name="T2" fmla="*/ 0 w 179"/>
                  <a:gd name="T3" fmla="*/ 3 h 167"/>
                  <a:gd name="T4" fmla="*/ 18 w 179"/>
                  <a:gd name="T5" fmla="*/ 33 h 167"/>
                  <a:gd name="T6" fmla="*/ 135 w 179"/>
                  <a:gd name="T7" fmla="*/ 134 h 167"/>
                  <a:gd name="T8" fmla="*/ 179 w 179"/>
                  <a:gd name="T9" fmla="*/ 167 h 167"/>
                  <a:gd name="T10" fmla="*/ 120 w 179"/>
                  <a:gd name="T11" fmla="*/ 118 h 167"/>
                  <a:gd name="T12" fmla="*/ 3 w 179"/>
                  <a:gd name="T13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9" h="167">
                    <a:moveTo>
                      <a:pt x="3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4" y="11"/>
                      <a:pt x="10" y="21"/>
                      <a:pt x="18" y="33"/>
                    </a:cubicBezTo>
                    <a:cubicBezTo>
                      <a:pt x="40" y="54"/>
                      <a:pt x="79" y="88"/>
                      <a:pt x="135" y="134"/>
                    </a:cubicBezTo>
                    <a:cubicBezTo>
                      <a:pt x="150" y="146"/>
                      <a:pt x="165" y="157"/>
                      <a:pt x="179" y="167"/>
                    </a:cubicBezTo>
                    <a:cubicBezTo>
                      <a:pt x="160" y="153"/>
                      <a:pt x="140" y="136"/>
                      <a:pt x="120" y="118"/>
                    </a:cubicBezTo>
                    <a:cubicBezTo>
                      <a:pt x="64" y="68"/>
                      <a:pt x="23" y="23"/>
                      <a:pt x="3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333"/>
              <p:cNvSpPr>
                <a:spLocks/>
              </p:cNvSpPr>
              <p:nvPr/>
            </p:nvSpPr>
            <p:spPr bwMode="auto">
              <a:xfrm>
                <a:off x="1041001" y="1421285"/>
                <a:ext cx="59288" cy="70966"/>
              </a:xfrm>
              <a:custGeom>
                <a:avLst/>
                <a:gdLst>
                  <a:gd name="T0" fmla="*/ 7 w 25"/>
                  <a:gd name="T1" fmla="*/ 0 h 30"/>
                  <a:gd name="T2" fmla="*/ 0 w 25"/>
                  <a:gd name="T3" fmla="*/ 7 h 30"/>
                  <a:gd name="T4" fmla="*/ 25 w 25"/>
                  <a:gd name="T5" fmla="*/ 30 h 30"/>
                  <a:gd name="T6" fmla="*/ 7 w 25"/>
                  <a:gd name="T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" h="30">
                    <a:moveTo>
                      <a:pt x="7" y="0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8" y="15"/>
                      <a:pt x="25" y="30"/>
                    </a:cubicBezTo>
                    <a:cubicBezTo>
                      <a:pt x="17" y="18"/>
                      <a:pt x="11" y="8"/>
                      <a:pt x="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334"/>
              <p:cNvSpPr>
                <a:spLocks/>
              </p:cNvSpPr>
              <p:nvPr/>
            </p:nvSpPr>
            <p:spPr bwMode="auto">
              <a:xfrm>
                <a:off x="1206738" y="1449582"/>
                <a:ext cx="534042" cy="450499"/>
              </a:xfrm>
              <a:custGeom>
                <a:avLst/>
                <a:gdLst>
                  <a:gd name="T0" fmla="*/ 0 w 225"/>
                  <a:gd name="T1" fmla="*/ 0 h 190"/>
                  <a:gd name="T2" fmla="*/ 25 w 225"/>
                  <a:gd name="T3" fmla="*/ 40 h 190"/>
                  <a:gd name="T4" fmla="*/ 94 w 225"/>
                  <a:gd name="T5" fmla="*/ 99 h 190"/>
                  <a:gd name="T6" fmla="*/ 225 w 225"/>
                  <a:gd name="T7" fmla="*/ 190 h 190"/>
                  <a:gd name="T8" fmla="*/ 225 w 225"/>
                  <a:gd name="T9" fmla="*/ 190 h 190"/>
                  <a:gd name="T10" fmla="*/ 177 w 225"/>
                  <a:gd name="T11" fmla="*/ 152 h 190"/>
                  <a:gd name="T12" fmla="*/ 86 w 225"/>
                  <a:gd name="T13" fmla="*/ 90 h 190"/>
                  <a:gd name="T14" fmla="*/ 0 w 225"/>
                  <a:gd name="T15" fmla="*/ 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5" h="190">
                    <a:moveTo>
                      <a:pt x="0" y="0"/>
                    </a:moveTo>
                    <a:cubicBezTo>
                      <a:pt x="0" y="0"/>
                      <a:pt x="7" y="16"/>
                      <a:pt x="25" y="40"/>
                    </a:cubicBezTo>
                    <a:cubicBezTo>
                      <a:pt x="44" y="58"/>
                      <a:pt x="67" y="78"/>
                      <a:pt x="94" y="99"/>
                    </a:cubicBezTo>
                    <a:cubicBezTo>
                      <a:pt x="172" y="161"/>
                      <a:pt x="225" y="190"/>
                      <a:pt x="225" y="190"/>
                    </a:cubicBezTo>
                    <a:cubicBezTo>
                      <a:pt x="225" y="190"/>
                      <a:pt x="225" y="190"/>
                      <a:pt x="225" y="190"/>
                    </a:cubicBezTo>
                    <a:cubicBezTo>
                      <a:pt x="225" y="190"/>
                      <a:pt x="208" y="179"/>
                      <a:pt x="177" y="152"/>
                    </a:cubicBezTo>
                    <a:cubicBezTo>
                      <a:pt x="167" y="147"/>
                      <a:pt x="123" y="125"/>
                      <a:pt x="86" y="90"/>
                    </a:cubicBezTo>
                    <a:cubicBezTo>
                      <a:pt x="22" y="32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335"/>
              <p:cNvSpPr>
                <a:spLocks/>
              </p:cNvSpPr>
              <p:nvPr/>
            </p:nvSpPr>
            <p:spPr bwMode="auto">
              <a:xfrm>
                <a:off x="1266026" y="1544353"/>
                <a:ext cx="474754" cy="408279"/>
              </a:xfrm>
              <a:custGeom>
                <a:avLst/>
                <a:gdLst>
                  <a:gd name="T0" fmla="*/ 0 w 200"/>
                  <a:gd name="T1" fmla="*/ 0 h 172"/>
                  <a:gd name="T2" fmla="*/ 62 w 200"/>
                  <a:gd name="T3" fmla="*/ 74 h 172"/>
                  <a:gd name="T4" fmla="*/ 187 w 200"/>
                  <a:gd name="T5" fmla="*/ 172 h 172"/>
                  <a:gd name="T6" fmla="*/ 200 w 200"/>
                  <a:gd name="T7" fmla="*/ 150 h 172"/>
                  <a:gd name="T8" fmla="*/ 69 w 200"/>
                  <a:gd name="T9" fmla="*/ 59 h 172"/>
                  <a:gd name="T10" fmla="*/ 0 w 200"/>
                  <a:gd name="T11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0" h="172">
                    <a:moveTo>
                      <a:pt x="0" y="0"/>
                    </a:moveTo>
                    <a:cubicBezTo>
                      <a:pt x="14" y="21"/>
                      <a:pt x="34" y="47"/>
                      <a:pt x="62" y="74"/>
                    </a:cubicBezTo>
                    <a:cubicBezTo>
                      <a:pt x="126" y="137"/>
                      <a:pt x="187" y="172"/>
                      <a:pt x="187" y="172"/>
                    </a:cubicBezTo>
                    <a:cubicBezTo>
                      <a:pt x="200" y="150"/>
                      <a:pt x="200" y="150"/>
                      <a:pt x="200" y="150"/>
                    </a:cubicBezTo>
                    <a:cubicBezTo>
                      <a:pt x="200" y="150"/>
                      <a:pt x="147" y="121"/>
                      <a:pt x="69" y="59"/>
                    </a:cubicBezTo>
                    <a:cubicBezTo>
                      <a:pt x="42" y="38"/>
                      <a:pt x="19" y="18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336"/>
              <p:cNvSpPr>
                <a:spLocks/>
              </p:cNvSpPr>
              <p:nvPr/>
            </p:nvSpPr>
            <p:spPr bwMode="auto">
              <a:xfrm>
                <a:off x="1266026" y="1392540"/>
                <a:ext cx="367856" cy="419957"/>
              </a:xfrm>
              <a:custGeom>
                <a:avLst/>
                <a:gdLst>
                  <a:gd name="T0" fmla="*/ 0 w 155"/>
                  <a:gd name="T1" fmla="*/ 0 h 177"/>
                  <a:gd name="T2" fmla="*/ 88 w 155"/>
                  <a:gd name="T3" fmla="*/ 118 h 177"/>
                  <a:gd name="T4" fmla="*/ 152 w 155"/>
                  <a:gd name="T5" fmla="*/ 176 h 177"/>
                  <a:gd name="T6" fmla="*/ 155 w 155"/>
                  <a:gd name="T7" fmla="*/ 177 h 177"/>
                  <a:gd name="T8" fmla="*/ 108 w 155"/>
                  <a:gd name="T9" fmla="*/ 127 h 177"/>
                  <a:gd name="T10" fmla="*/ 77 w 155"/>
                  <a:gd name="T11" fmla="*/ 85 h 177"/>
                  <a:gd name="T12" fmla="*/ 0 w 155"/>
                  <a:gd name="T13" fmla="*/ 0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5" h="177">
                    <a:moveTo>
                      <a:pt x="0" y="0"/>
                    </a:moveTo>
                    <a:cubicBezTo>
                      <a:pt x="0" y="0"/>
                      <a:pt x="28" y="58"/>
                      <a:pt x="88" y="118"/>
                    </a:cubicBezTo>
                    <a:cubicBezTo>
                      <a:pt x="114" y="142"/>
                      <a:pt x="135" y="162"/>
                      <a:pt x="152" y="176"/>
                    </a:cubicBezTo>
                    <a:cubicBezTo>
                      <a:pt x="154" y="177"/>
                      <a:pt x="155" y="177"/>
                      <a:pt x="155" y="177"/>
                    </a:cubicBezTo>
                    <a:cubicBezTo>
                      <a:pt x="155" y="177"/>
                      <a:pt x="140" y="165"/>
                      <a:pt x="108" y="127"/>
                    </a:cubicBezTo>
                    <a:cubicBezTo>
                      <a:pt x="95" y="111"/>
                      <a:pt x="85" y="97"/>
                      <a:pt x="77" y="85"/>
                    </a:cubicBezTo>
                    <a:cubicBezTo>
                      <a:pt x="20" y="32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337"/>
              <p:cNvSpPr>
                <a:spLocks/>
              </p:cNvSpPr>
              <p:nvPr/>
            </p:nvSpPr>
            <p:spPr bwMode="auto">
              <a:xfrm>
                <a:off x="1206738" y="1392540"/>
                <a:ext cx="419957" cy="417711"/>
              </a:xfrm>
              <a:custGeom>
                <a:avLst/>
                <a:gdLst>
                  <a:gd name="T0" fmla="*/ 25 w 177"/>
                  <a:gd name="T1" fmla="*/ 0 h 176"/>
                  <a:gd name="T2" fmla="*/ 0 w 177"/>
                  <a:gd name="T3" fmla="*/ 24 h 176"/>
                  <a:gd name="T4" fmla="*/ 86 w 177"/>
                  <a:gd name="T5" fmla="*/ 114 h 176"/>
                  <a:gd name="T6" fmla="*/ 177 w 177"/>
                  <a:gd name="T7" fmla="*/ 176 h 176"/>
                  <a:gd name="T8" fmla="*/ 113 w 177"/>
                  <a:gd name="T9" fmla="*/ 118 h 176"/>
                  <a:gd name="T10" fmla="*/ 25 w 177"/>
                  <a:gd name="T11" fmla="*/ 0 h 176"/>
                  <a:gd name="T12" fmla="*/ 25 w 177"/>
                  <a:gd name="T13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7" h="176">
                    <a:moveTo>
                      <a:pt x="25" y="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22" y="56"/>
                      <a:pt x="86" y="114"/>
                    </a:cubicBezTo>
                    <a:cubicBezTo>
                      <a:pt x="123" y="149"/>
                      <a:pt x="167" y="171"/>
                      <a:pt x="177" y="176"/>
                    </a:cubicBezTo>
                    <a:cubicBezTo>
                      <a:pt x="160" y="162"/>
                      <a:pt x="139" y="142"/>
                      <a:pt x="113" y="118"/>
                    </a:cubicBezTo>
                    <a:cubicBezTo>
                      <a:pt x="53" y="58"/>
                      <a:pt x="25" y="0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338"/>
              <p:cNvSpPr>
                <a:spLocks/>
              </p:cNvSpPr>
              <p:nvPr/>
            </p:nvSpPr>
            <p:spPr bwMode="auto">
              <a:xfrm>
                <a:off x="1387297" y="1477879"/>
                <a:ext cx="284762" cy="277576"/>
              </a:xfrm>
              <a:custGeom>
                <a:avLst/>
                <a:gdLst>
                  <a:gd name="T0" fmla="*/ 0 w 120"/>
                  <a:gd name="T1" fmla="*/ 0 h 117"/>
                  <a:gd name="T2" fmla="*/ 26 w 120"/>
                  <a:gd name="T3" fmla="*/ 49 h 117"/>
                  <a:gd name="T4" fmla="*/ 35 w 120"/>
                  <a:gd name="T5" fmla="*/ 57 h 117"/>
                  <a:gd name="T6" fmla="*/ 120 w 120"/>
                  <a:gd name="T7" fmla="*/ 117 h 117"/>
                  <a:gd name="T8" fmla="*/ 120 w 120"/>
                  <a:gd name="T9" fmla="*/ 117 h 117"/>
                  <a:gd name="T10" fmla="*/ 78 w 120"/>
                  <a:gd name="T11" fmla="*/ 78 h 117"/>
                  <a:gd name="T12" fmla="*/ 57 w 120"/>
                  <a:gd name="T13" fmla="*/ 60 h 117"/>
                  <a:gd name="T14" fmla="*/ 0 w 120"/>
                  <a:gd name="T15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0" h="117">
                    <a:moveTo>
                      <a:pt x="0" y="0"/>
                    </a:moveTo>
                    <a:cubicBezTo>
                      <a:pt x="0" y="0"/>
                      <a:pt x="7" y="19"/>
                      <a:pt x="26" y="49"/>
                    </a:cubicBezTo>
                    <a:cubicBezTo>
                      <a:pt x="29" y="51"/>
                      <a:pt x="32" y="54"/>
                      <a:pt x="35" y="57"/>
                    </a:cubicBezTo>
                    <a:cubicBezTo>
                      <a:pt x="76" y="93"/>
                      <a:pt x="120" y="117"/>
                      <a:pt x="120" y="117"/>
                    </a:cubicBezTo>
                    <a:cubicBezTo>
                      <a:pt x="120" y="117"/>
                      <a:pt x="120" y="117"/>
                      <a:pt x="120" y="117"/>
                    </a:cubicBezTo>
                    <a:cubicBezTo>
                      <a:pt x="120" y="117"/>
                      <a:pt x="102" y="104"/>
                      <a:pt x="78" y="78"/>
                    </a:cubicBezTo>
                    <a:cubicBezTo>
                      <a:pt x="72" y="73"/>
                      <a:pt x="65" y="67"/>
                      <a:pt x="57" y="60"/>
                    </a:cubicBezTo>
                    <a:cubicBezTo>
                      <a:pt x="21" y="26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339"/>
              <p:cNvSpPr>
                <a:spLocks/>
              </p:cNvSpPr>
              <p:nvPr/>
            </p:nvSpPr>
            <p:spPr bwMode="auto">
              <a:xfrm>
                <a:off x="1448831" y="1594209"/>
                <a:ext cx="223229" cy="218288"/>
              </a:xfrm>
              <a:custGeom>
                <a:avLst/>
                <a:gdLst>
                  <a:gd name="T0" fmla="*/ 0 w 94"/>
                  <a:gd name="T1" fmla="*/ 0 h 92"/>
                  <a:gd name="T2" fmla="*/ 31 w 94"/>
                  <a:gd name="T3" fmla="*/ 42 h 92"/>
                  <a:gd name="T4" fmla="*/ 78 w 94"/>
                  <a:gd name="T5" fmla="*/ 92 h 92"/>
                  <a:gd name="T6" fmla="*/ 94 w 94"/>
                  <a:gd name="T7" fmla="*/ 68 h 92"/>
                  <a:gd name="T8" fmla="*/ 9 w 94"/>
                  <a:gd name="T9" fmla="*/ 8 h 92"/>
                  <a:gd name="T10" fmla="*/ 0 w 94"/>
                  <a:gd name="T11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4" h="92">
                    <a:moveTo>
                      <a:pt x="0" y="0"/>
                    </a:moveTo>
                    <a:cubicBezTo>
                      <a:pt x="8" y="12"/>
                      <a:pt x="18" y="26"/>
                      <a:pt x="31" y="42"/>
                    </a:cubicBezTo>
                    <a:cubicBezTo>
                      <a:pt x="63" y="80"/>
                      <a:pt x="78" y="92"/>
                      <a:pt x="78" y="92"/>
                    </a:cubicBezTo>
                    <a:cubicBezTo>
                      <a:pt x="94" y="68"/>
                      <a:pt x="94" y="68"/>
                      <a:pt x="94" y="68"/>
                    </a:cubicBezTo>
                    <a:cubicBezTo>
                      <a:pt x="94" y="68"/>
                      <a:pt x="50" y="44"/>
                      <a:pt x="9" y="8"/>
                    </a:cubicBezTo>
                    <a:cubicBezTo>
                      <a:pt x="6" y="5"/>
                      <a:pt x="3" y="2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340"/>
              <p:cNvSpPr>
                <a:spLocks/>
              </p:cNvSpPr>
              <p:nvPr/>
            </p:nvSpPr>
            <p:spPr bwMode="auto">
              <a:xfrm>
                <a:off x="1415594" y="1454073"/>
                <a:ext cx="227720" cy="242093"/>
              </a:xfrm>
              <a:custGeom>
                <a:avLst/>
                <a:gdLst>
                  <a:gd name="T0" fmla="*/ 0 w 96"/>
                  <a:gd name="T1" fmla="*/ 0 h 102"/>
                  <a:gd name="T2" fmla="*/ 40 w 96"/>
                  <a:gd name="T3" fmla="*/ 58 h 102"/>
                  <a:gd name="T4" fmla="*/ 66 w 96"/>
                  <a:gd name="T5" fmla="*/ 88 h 102"/>
                  <a:gd name="T6" fmla="*/ 84 w 96"/>
                  <a:gd name="T7" fmla="*/ 102 h 102"/>
                  <a:gd name="T8" fmla="*/ 96 w 96"/>
                  <a:gd name="T9" fmla="*/ 86 h 102"/>
                  <a:gd name="T10" fmla="*/ 51 w 96"/>
                  <a:gd name="T11" fmla="*/ 47 h 102"/>
                  <a:gd name="T12" fmla="*/ 0 w 96"/>
                  <a:gd name="T13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" h="102">
                    <a:moveTo>
                      <a:pt x="0" y="0"/>
                    </a:moveTo>
                    <a:cubicBezTo>
                      <a:pt x="0" y="0"/>
                      <a:pt x="21" y="35"/>
                      <a:pt x="40" y="58"/>
                    </a:cubicBezTo>
                    <a:cubicBezTo>
                      <a:pt x="49" y="70"/>
                      <a:pt x="58" y="79"/>
                      <a:pt x="66" y="88"/>
                    </a:cubicBezTo>
                    <a:cubicBezTo>
                      <a:pt x="77" y="98"/>
                      <a:pt x="84" y="102"/>
                      <a:pt x="84" y="102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96" y="86"/>
                      <a:pt x="81" y="75"/>
                      <a:pt x="51" y="47"/>
                    </a:cubicBezTo>
                    <a:cubicBezTo>
                      <a:pt x="28" y="26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341"/>
              <p:cNvSpPr>
                <a:spLocks/>
              </p:cNvSpPr>
              <p:nvPr/>
            </p:nvSpPr>
            <p:spPr bwMode="auto">
              <a:xfrm>
                <a:off x="1387297" y="1454073"/>
                <a:ext cx="185051" cy="208856"/>
              </a:xfrm>
              <a:custGeom>
                <a:avLst/>
                <a:gdLst>
                  <a:gd name="T0" fmla="*/ 12 w 78"/>
                  <a:gd name="T1" fmla="*/ 0 h 88"/>
                  <a:gd name="T2" fmla="*/ 0 w 78"/>
                  <a:gd name="T3" fmla="*/ 10 h 88"/>
                  <a:gd name="T4" fmla="*/ 57 w 78"/>
                  <a:gd name="T5" fmla="*/ 70 h 88"/>
                  <a:gd name="T6" fmla="*/ 78 w 78"/>
                  <a:gd name="T7" fmla="*/ 88 h 88"/>
                  <a:gd name="T8" fmla="*/ 52 w 78"/>
                  <a:gd name="T9" fmla="*/ 58 h 88"/>
                  <a:gd name="T10" fmla="*/ 12 w 78"/>
                  <a:gd name="T11" fmla="*/ 0 h 88"/>
                  <a:gd name="T12" fmla="*/ 12 w 78"/>
                  <a:gd name="T13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88">
                    <a:moveTo>
                      <a:pt x="12" y="0"/>
                    </a:move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21" y="36"/>
                      <a:pt x="57" y="70"/>
                    </a:cubicBezTo>
                    <a:cubicBezTo>
                      <a:pt x="65" y="77"/>
                      <a:pt x="72" y="83"/>
                      <a:pt x="78" y="88"/>
                    </a:cubicBezTo>
                    <a:cubicBezTo>
                      <a:pt x="70" y="79"/>
                      <a:pt x="61" y="70"/>
                      <a:pt x="52" y="58"/>
                    </a:cubicBezTo>
                    <a:cubicBezTo>
                      <a:pt x="33" y="35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238" name="Freeform 7"/>
            <p:cNvSpPr>
              <a:spLocks/>
            </p:cNvSpPr>
            <p:nvPr/>
          </p:nvSpPr>
          <p:spPr bwMode="auto">
            <a:xfrm>
              <a:off x="1758369" y="3822016"/>
              <a:ext cx="258522" cy="359874"/>
            </a:xfrm>
            <a:custGeom>
              <a:avLst/>
              <a:gdLst>
                <a:gd name="T0" fmla="*/ 52 w 53"/>
                <a:gd name="T1" fmla="*/ 24 h 96"/>
                <a:gd name="T2" fmla="*/ 42 w 53"/>
                <a:gd name="T3" fmla="*/ 42 h 96"/>
                <a:gd name="T4" fmla="*/ 53 w 53"/>
                <a:gd name="T5" fmla="*/ 62 h 96"/>
                <a:gd name="T6" fmla="*/ 43 w 53"/>
                <a:gd name="T7" fmla="*/ 85 h 96"/>
                <a:gd name="T8" fmla="*/ 25 w 53"/>
                <a:gd name="T9" fmla="*/ 96 h 96"/>
                <a:gd name="T10" fmla="*/ 11 w 53"/>
                <a:gd name="T11" fmla="*/ 87 h 96"/>
                <a:gd name="T12" fmla="*/ 0 w 53"/>
                <a:gd name="T13" fmla="*/ 77 h 96"/>
                <a:gd name="T14" fmla="*/ 3 w 53"/>
                <a:gd name="T15" fmla="*/ 72 h 96"/>
                <a:gd name="T16" fmla="*/ 7 w 53"/>
                <a:gd name="T17" fmla="*/ 71 h 96"/>
                <a:gd name="T18" fmla="*/ 12 w 53"/>
                <a:gd name="T19" fmla="*/ 74 h 96"/>
                <a:gd name="T20" fmla="*/ 18 w 53"/>
                <a:gd name="T21" fmla="*/ 79 h 96"/>
                <a:gd name="T22" fmla="*/ 30 w 53"/>
                <a:gd name="T23" fmla="*/ 70 h 96"/>
                <a:gd name="T24" fmla="*/ 37 w 53"/>
                <a:gd name="T25" fmla="*/ 56 h 96"/>
                <a:gd name="T26" fmla="*/ 35 w 53"/>
                <a:gd name="T27" fmla="*/ 54 h 96"/>
                <a:gd name="T28" fmla="*/ 31 w 53"/>
                <a:gd name="T29" fmla="*/ 56 h 96"/>
                <a:gd name="T30" fmla="*/ 27 w 53"/>
                <a:gd name="T31" fmla="*/ 58 h 96"/>
                <a:gd name="T32" fmla="*/ 24 w 53"/>
                <a:gd name="T33" fmla="*/ 59 h 96"/>
                <a:gd name="T34" fmla="*/ 18 w 53"/>
                <a:gd name="T35" fmla="*/ 56 h 96"/>
                <a:gd name="T36" fmla="*/ 12 w 53"/>
                <a:gd name="T37" fmla="*/ 49 h 96"/>
                <a:gd name="T38" fmla="*/ 11 w 53"/>
                <a:gd name="T39" fmla="*/ 48 h 96"/>
                <a:gd name="T40" fmla="*/ 14 w 53"/>
                <a:gd name="T41" fmla="*/ 43 h 96"/>
                <a:gd name="T42" fmla="*/ 24 w 53"/>
                <a:gd name="T43" fmla="*/ 36 h 96"/>
                <a:gd name="T44" fmla="*/ 34 w 53"/>
                <a:gd name="T45" fmla="*/ 17 h 96"/>
                <a:gd name="T46" fmla="*/ 25 w 53"/>
                <a:gd name="T47" fmla="*/ 25 h 96"/>
                <a:gd name="T48" fmla="*/ 18 w 53"/>
                <a:gd name="T49" fmla="*/ 33 h 96"/>
                <a:gd name="T50" fmla="*/ 10 w 53"/>
                <a:gd name="T51" fmla="*/ 30 h 96"/>
                <a:gd name="T52" fmla="*/ 3 w 53"/>
                <a:gd name="T53" fmla="*/ 24 h 96"/>
                <a:gd name="T54" fmla="*/ 3 w 53"/>
                <a:gd name="T55" fmla="*/ 23 h 96"/>
                <a:gd name="T56" fmla="*/ 6 w 53"/>
                <a:gd name="T57" fmla="*/ 18 h 96"/>
                <a:gd name="T58" fmla="*/ 18 w 53"/>
                <a:gd name="T59" fmla="*/ 6 h 96"/>
                <a:gd name="T60" fmla="*/ 31 w 53"/>
                <a:gd name="T61" fmla="*/ 0 h 96"/>
                <a:gd name="T62" fmla="*/ 45 w 53"/>
                <a:gd name="T63" fmla="*/ 9 h 96"/>
                <a:gd name="T64" fmla="*/ 52 w 53"/>
                <a:gd name="T65" fmla="*/ 2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96">
                  <a:moveTo>
                    <a:pt x="52" y="24"/>
                  </a:moveTo>
                  <a:cubicBezTo>
                    <a:pt x="52" y="29"/>
                    <a:pt x="48" y="35"/>
                    <a:pt x="42" y="42"/>
                  </a:cubicBezTo>
                  <a:cubicBezTo>
                    <a:pt x="50" y="48"/>
                    <a:pt x="53" y="55"/>
                    <a:pt x="53" y="62"/>
                  </a:cubicBezTo>
                  <a:cubicBezTo>
                    <a:pt x="53" y="70"/>
                    <a:pt x="50" y="78"/>
                    <a:pt x="43" y="85"/>
                  </a:cubicBezTo>
                  <a:cubicBezTo>
                    <a:pt x="36" y="92"/>
                    <a:pt x="30" y="95"/>
                    <a:pt x="25" y="96"/>
                  </a:cubicBezTo>
                  <a:cubicBezTo>
                    <a:pt x="22" y="96"/>
                    <a:pt x="18" y="93"/>
                    <a:pt x="11" y="87"/>
                  </a:cubicBezTo>
                  <a:cubicBezTo>
                    <a:pt x="4" y="82"/>
                    <a:pt x="0" y="78"/>
                    <a:pt x="0" y="77"/>
                  </a:cubicBezTo>
                  <a:cubicBezTo>
                    <a:pt x="0" y="75"/>
                    <a:pt x="1" y="74"/>
                    <a:pt x="3" y="72"/>
                  </a:cubicBezTo>
                  <a:cubicBezTo>
                    <a:pt x="4" y="71"/>
                    <a:pt x="6" y="70"/>
                    <a:pt x="7" y="71"/>
                  </a:cubicBezTo>
                  <a:cubicBezTo>
                    <a:pt x="8" y="71"/>
                    <a:pt x="10" y="72"/>
                    <a:pt x="12" y="74"/>
                  </a:cubicBezTo>
                  <a:cubicBezTo>
                    <a:pt x="14" y="77"/>
                    <a:pt x="16" y="79"/>
                    <a:pt x="18" y="79"/>
                  </a:cubicBezTo>
                  <a:cubicBezTo>
                    <a:pt x="21" y="80"/>
                    <a:pt x="25" y="77"/>
                    <a:pt x="30" y="70"/>
                  </a:cubicBezTo>
                  <a:cubicBezTo>
                    <a:pt x="35" y="64"/>
                    <a:pt x="37" y="59"/>
                    <a:pt x="37" y="56"/>
                  </a:cubicBezTo>
                  <a:cubicBezTo>
                    <a:pt x="37" y="55"/>
                    <a:pt x="36" y="54"/>
                    <a:pt x="35" y="54"/>
                  </a:cubicBezTo>
                  <a:cubicBezTo>
                    <a:pt x="34" y="54"/>
                    <a:pt x="32" y="55"/>
                    <a:pt x="31" y="56"/>
                  </a:cubicBezTo>
                  <a:cubicBezTo>
                    <a:pt x="29" y="57"/>
                    <a:pt x="28" y="58"/>
                    <a:pt x="27" y="58"/>
                  </a:cubicBezTo>
                  <a:cubicBezTo>
                    <a:pt x="26" y="59"/>
                    <a:pt x="25" y="60"/>
                    <a:pt x="24" y="59"/>
                  </a:cubicBezTo>
                  <a:cubicBezTo>
                    <a:pt x="23" y="59"/>
                    <a:pt x="21" y="58"/>
                    <a:pt x="18" y="56"/>
                  </a:cubicBezTo>
                  <a:cubicBezTo>
                    <a:pt x="15" y="54"/>
                    <a:pt x="13" y="52"/>
                    <a:pt x="12" y="49"/>
                  </a:cubicBezTo>
                  <a:cubicBezTo>
                    <a:pt x="11" y="49"/>
                    <a:pt x="11" y="48"/>
                    <a:pt x="11" y="48"/>
                  </a:cubicBezTo>
                  <a:cubicBezTo>
                    <a:pt x="11" y="46"/>
                    <a:pt x="12" y="44"/>
                    <a:pt x="14" y="43"/>
                  </a:cubicBezTo>
                  <a:cubicBezTo>
                    <a:pt x="17" y="42"/>
                    <a:pt x="20" y="40"/>
                    <a:pt x="24" y="36"/>
                  </a:cubicBezTo>
                  <a:cubicBezTo>
                    <a:pt x="29" y="30"/>
                    <a:pt x="33" y="24"/>
                    <a:pt x="34" y="17"/>
                  </a:cubicBezTo>
                  <a:cubicBezTo>
                    <a:pt x="31" y="18"/>
                    <a:pt x="28" y="21"/>
                    <a:pt x="25" y="25"/>
                  </a:cubicBezTo>
                  <a:cubicBezTo>
                    <a:pt x="21" y="30"/>
                    <a:pt x="19" y="33"/>
                    <a:pt x="18" y="33"/>
                  </a:cubicBezTo>
                  <a:cubicBezTo>
                    <a:pt x="17" y="33"/>
                    <a:pt x="14" y="32"/>
                    <a:pt x="10" y="30"/>
                  </a:cubicBezTo>
                  <a:cubicBezTo>
                    <a:pt x="7" y="28"/>
                    <a:pt x="4" y="26"/>
                    <a:pt x="3" y="24"/>
                  </a:cubicBezTo>
                  <a:cubicBezTo>
                    <a:pt x="3" y="24"/>
                    <a:pt x="3" y="24"/>
                    <a:pt x="3" y="23"/>
                  </a:cubicBezTo>
                  <a:cubicBezTo>
                    <a:pt x="3" y="22"/>
                    <a:pt x="4" y="21"/>
                    <a:pt x="6" y="18"/>
                  </a:cubicBezTo>
                  <a:cubicBezTo>
                    <a:pt x="11" y="12"/>
                    <a:pt x="15" y="8"/>
                    <a:pt x="18" y="6"/>
                  </a:cubicBezTo>
                  <a:cubicBezTo>
                    <a:pt x="22" y="2"/>
                    <a:pt x="27" y="0"/>
                    <a:pt x="31" y="0"/>
                  </a:cubicBezTo>
                  <a:cubicBezTo>
                    <a:pt x="36" y="0"/>
                    <a:pt x="40" y="3"/>
                    <a:pt x="45" y="9"/>
                  </a:cubicBezTo>
                  <a:cubicBezTo>
                    <a:pt x="50" y="14"/>
                    <a:pt x="53" y="19"/>
                    <a:pt x="52" y="2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" name="Rectangle 6"/>
          <p:cNvSpPr/>
          <p:nvPr/>
        </p:nvSpPr>
        <p:spPr>
          <a:xfrm>
            <a:off x="1167827" y="1145844"/>
            <a:ext cx="83936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Nello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scambio elettronico di Ordini e DDT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 per ottenere i massimi benefici trovano una fondamentale importanza alcuni elementi essenziali:</a:t>
            </a:r>
            <a:endParaRPr lang="en-US" sz="1800" dirty="0"/>
          </a:p>
        </p:txBody>
      </p:sp>
      <p:sp>
        <p:nvSpPr>
          <p:cNvPr id="343" name="Rectangle 342"/>
          <p:cNvSpPr/>
          <p:nvPr/>
        </p:nvSpPr>
        <p:spPr>
          <a:xfrm>
            <a:off x="2621280" y="2055032"/>
            <a:ext cx="694023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Codice articolo fornitore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per rendere automatici i processi;</a:t>
            </a:r>
            <a:endParaRPr lang="en-US" sz="1800" dirty="0"/>
          </a:p>
        </p:txBody>
      </p:sp>
      <p:sp>
        <p:nvSpPr>
          <p:cNvPr id="344" name="Rectangle 343"/>
          <p:cNvSpPr/>
          <p:nvPr/>
        </p:nvSpPr>
        <p:spPr>
          <a:xfrm>
            <a:off x="2621281" y="2690828"/>
            <a:ext cx="69402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Necessità di una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standardizzazione delle unità di misura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riconducendole a poche, elementari e univoche per tutti gli </a:t>
            </a:r>
            <a:r>
              <a:rPr lang="it-IT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stakeholders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endParaRPr lang="en-US" sz="1800" dirty="0"/>
          </a:p>
        </p:txBody>
      </p:sp>
      <p:sp>
        <p:nvSpPr>
          <p:cNvPr id="345" name="Rectangle 344"/>
          <p:cNvSpPr/>
          <p:nvPr/>
        </p:nvSpPr>
        <p:spPr>
          <a:xfrm>
            <a:off x="2621280" y="3533567"/>
            <a:ext cx="694023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Esigenza di una progressiva educazione all’effettuazione degli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ordini a confezione con relativo fattore di conversione o confezionamento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 così come avviene nella grande distribuzione.</a:t>
            </a:r>
            <a:endParaRPr lang="en-US" sz="1800" dirty="0"/>
          </a:p>
        </p:txBody>
      </p:sp>
      <p:sp>
        <p:nvSpPr>
          <p:cNvPr id="346" name="Rectangle 4"/>
          <p:cNvSpPr>
            <a:spLocks noChangeArrowheads="1"/>
          </p:cNvSpPr>
          <p:nvPr/>
        </p:nvSpPr>
        <p:spPr bwMode="auto">
          <a:xfrm>
            <a:off x="1738313" y="222250"/>
            <a:ext cx="7975600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buClr>
                <a:srgbClr val="CC0000"/>
              </a:buClr>
              <a:buSzPct val="70000"/>
              <a:buFont typeface="Wingdings" pitchFamily="2" charset="2"/>
              <a:buNone/>
            </a:pPr>
            <a:r>
              <a:rPr lang="it-IT" sz="28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sa ci insegna l’esperienza</a:t>
            </a:r>
            <a:endParaRPr lang="it-IT" sz="1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8031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Segnaposto numero diapositiva 2"/>
          <p:cNvSpPr txBox="1">
            <a:spLocks noGrp="1"/>
          </p:cNvSpPr>
          <p:nvPr/>
        </p:nvSpPr>
        <p:spPr bwMode="auto">
          <a:xfrm>
            <a:off x="3935413" y="6507163"/>
            <a:ext cx="2060575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buClr>
                <a:srgbClr val="CC0000"/>
              </a:buClr>
              <a:buSzPct val="70000"/>
              <a:buFont typeface="Wingdings" pitchFamily="2" charset="2"/>
              <a:buNone/>
            </a:pPr>
            <a:fld id="{0BD8FB35-AE95-4465-9E03-A599827F3317}" type="slidenum">
              <a:rPr lang="it-IT" altLang="it-IT" sz="1200" b="1">
                <a:solidFill>
                  <a:srgbClr val="336600"/>
                </a:solidFill>
                <a:latin typeface="Tahoma" pitchFamily="34" charset="0"/>
              </a:rPr>
              <a:pPr algn="ctr" eaLnBrk="0" hangingPunct="0">
                <a:buClr>
                  <a:srgbClr val="CC0000"/>
                </a:buClr>
                <a:buSzPct val="70000"/>
                <a:buFont typeface="Wingdings" pitchFamily="2" charset="2"/>
                <a:buNone/>
              </a:pPr>
              <a:t>8</a:t>
            </a:fld>
            <a:endParaRPr lang="it-IT" altLang="it-IT" sz="1200" b="1">
              <a:solidFill>
                <a:srgbClr val="336600"/>
              </a:solidFill>
              <a:latin typeface="Tahoma" pitchFamily="34" charset="0"/>
            </a:endParaRPr>
          </a:p>
        </p:txBody>
      </p:sp>
      <p:sp>
        <p:nvSpPr>
          <p:cNvPr id="45058" name="Rectangle 4"/>
          <p:cNvSpPr>
            <a:spLocks noChangeArrowheads="1"/>
          </p:cNvSpPr>
          <p:nvPr/>
        </p:nvSpPr>
        <p:spPr bwMode="auto">
          <a:xfrm>
            <a:off x="1738313" y="222250"/>
            <a:ext cx="7975600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buClr>
                <a:srgbClr val="CC0000"/>
              </a:buClr>
              <a:buSzPct val="70000"/>
              <a:buFont typeface="Wingdings" pitchFamily="2" charset="2"/>
              <a:buNone/>
            </a:pPr>
            <a:r>
              <a:rPr lang="it-IT" sz="2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l Nodo Smistamento Ordini (</a:t>
            </a:r>
            <a:r>
              <a:rPr lang="it-IT" sz="28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/3)</a:t>
            </a:r>
            <a:endParaRPr lang="it-IT" sz="1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059" name="Rectangle 45058"/>
          <p:cNvSpPr/>
          <p:nvPr/>
        </p:nvSpPr>
        <p:spPr>
          <a:xfrm>
            <a:off x="2288865" y="2913401"/>
            <a:ext cx="70417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600"/>
              </a:spcAft>
              <a:buSzPct val="100000"/>
              <a:tabLst>
                <a:tab pos="6729413" algn="r"/>
              </a:tabLst>
            </a:pPr>
            <a:endParaRPr lang="it-IT" sz="1800" b="1" dirty="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gray">
          <a:xfrm>
            <a:off x="1173163" y="4609419"/>
            <a:ext cx="8392051" cy="1524000"/>
          </a:xfrm>
          <a:prstGeom prst="rect">
            <a:avLst/>
          </a:prstGeom>
          <a:solidFill>
            <a:srgbClr val="E8F6CF"/>
          </a:solidFill>
          <a:ln w="19050" algn="ctr">
            <a:solidFill>
              <a:srgbClr val="007E00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just" fontAlgn="t">
              <a:lnSpc>
                <a:spcPct val="107000"/>
              </a:lnSpc>
              <a:spcAft>
                <a:spcPts val="600"/>
              </a:spcAft>
            </a:pPr>
            <a:r>
              <a:rPr lang="it-IT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NoTI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-ER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svolge già il ruolo di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Intermediario PEPPOL</a:t>
            </a:r>
            <a:r>
              <a:rPr lang="it-IT" sz="1800" b="1" dirty="0">
                <a:solidFill>
                  <a:srgbClr val="007E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per la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trasmissione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 dell’ordine e la ricezione dei DDT ed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interagirà con NSO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attraverso lo </a:t>
            </a:r>
            <a:r>
              <a:rPr lang="it-IT" sz="1800" b="1" dirty="0">
                <a:latin typeface="Calibri" panose="020F0502020204030204" pitchFamily="34" charset="0"/>
                <a:cs typeface="Calibri" panose="020F0502020204030204" pitchFamily="34" charset="0"/>
              </a:rPr>
              <a:t>scenario di </a:t>
            </a:r>
            <a:r>
              <a:rPr lang="it-IT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validazione,</a:t>
            </a:r>
            <a:r>
              <a:rPr lang="it-IT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1800" dirty="0">
                <a:latin typeface="Calibri" panose="020F0502020204030204" pitchFamily="34" charset="0"/>
                <a:cs typeface="Calibri" panose="020F0502020204030204" pitchFamily="34" charset="0"/>
              </a:rPr>
              <a:t>prevedendo che mittente e destinatario siano registrati su infrastrutture terze esistenti (rete PEPPOL).</a:t>
            </a:r>
          </a:p>
        </p:txBody>
      </p:sp>
      <p:sp>
        <p:nvSpPr>
          <p:cNvPr id="20" name="Oval 16"/>
          <p:cNvSpPr>
            <a:spLocks noChangeArrowheads="1"/>
          </p:cNvSpPr>
          <p:nvPr/>
        </p:nvSpPr>
        <p:spPr bwMode="gray">
          <a:xfrm>
            <a:off x="999531" y="4443098"/>
            <a:ext cx="342900" cy="342900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007C00"/>
            </a:solidFill>
            <a:miter lim="800000"/>
            <a:headEnd/>
            <a:tailEnd/>
          </a:ln>
        </p:spPr>
        <p:txBody>
          <a:bodyPr lIns="82062" tIns="82062" rIns="82062" bIns="82062" anchor="ctr"/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SzPct val="55000"/>
              <a:buFont typeface="Wingdings" panose="05000000000000000000" pitchFamily="2" charset="2"/>
              <a:buChar char="¡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70000"/>
              <a:buFont typeface="Wingdings" panose="05000000000000000000" pitchFamily="2" charset="2"/>
              <a:buChar char="o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106000"/>
              </a:lnSpc>
              <a:spcBef>
                <a:spcPct val="0"/>
              </a:spcBef>
              <a:buClrTx/>
              <a:buFont typeface="Wingdings 2" panose="05020102010507070707" pitchFamily="18" charset="2"/>
              <a:buNone/>
            </a:pPr>
            <a:endParaRPr lang="it-IT" altLang="it-IT" sz="1477" i="1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21" name="Freeform 105"/>
          <p:cNvSpPr>
            <a:spLocks noEditPoints="1"/>
          </p:cNvSpPr>
          <p:nvPr/>
        </p:nvSpPr>
        <p:spPr bwMode="auto">
          <a:xfrm>
            <a:off x="1053749" y="4492921"/>
            <a:ext cx="232997" cy="232996"/>
          </a:xfrm>
          <a:custGeom>
            <a:avLst/>
            <a:gdLst>
              <a:gd name="T0" fmla="*/ 232 w 236"/>
              <a:gd name="T1" fmla="*/ 70 h 235"/>
              <a:gd name="T2" fmla="*/ 166 w 236"/>
              <a:gd name="T3" fmla="*/ 3 h 235"/>
              <a:gd name="T4" fmla="*/ 157 w 236"/>
              <a:gd name="T5" fmla="*/ 0 h 235"/>
              <a:gd name="T6" fmla="*/ 149 w 236"/>
              <a:gd name="T7" fmla="*/ 6 h 235"/>
              <a:gd name="T8" fmla="*/ 145 w 236"/>
              <a:gd name="T9" fmla="*/ 42 h 235"/>
              <a:gd name="T10" fmla="*/ 105 w 236"/>
              <a:gd name="T11" fmla="*/ 82 h 235"/>
              <a:gd name="T12" fmla="*/ 70 w 236"/>
              <a:gd name="T13" fmla="*/ 74 h 235"/>
              <a:gd name="T14" fmla="*/ 27 w 236"/>
              <a:gd name="T15" fmla="*/ 91 h 235"/>
              <a:gd name="T16" fmla="*/ 24 w 236"/>
              <a:gd name="T17" fmla="*/ 99 h 235"/>
              <a:gd name="T18" fmla="*/ 27 w 236"/>
              <a:gd name="T19" fmla="*/ 106 h 235"/>
              <a:gd name="T20" fmla="*/ 75 w 236"/>
              <a:gd name="T21" fmla="*/ 154 h 235"/>
              <a:gd name="T22" fmla="*/ 2 w 236"/>
              <a:gd name="T23" fmla="*/ 227 h 235"/>
              <a:gd name="T24" fmla="*/ 2 w 236"/>
              <a:gd name="T25" fmla="*/ 234 h 235"/>
              <a:gd name="T26" fmla="*/ 6 w 236"/>
              <a:gd name="T27" fmla="*/ 235 h 235"/>
              <a:gd name="T28" fmla="*/ 9 w 236"/>
              <a:gd name="T29" fmla="*/ 234 h 235"/>
              <a:gd name="T30" fmla="*/ 82 w 236"/>
              <a:gd name="T31" fmla="*/ 161 h 235"/>
              <a:gd name="T32" fmla="*/ 130 w 236"/>
              <a:gd name="T33" fmla="*/ 209 h 235"/>
              <a:gd name="T34" fmla="*/ 137 w 236"/>
              <a:gd name="T35" fmla="*/ 212 h 235"/>
              <a:gd name="T36" fmla="*/ 137 w 236"/>
              <a:gd name="T37" fmla="*/ 212 h 235"/>
              <a:gd name="T38" fmla="*/ 145 w 236"/>
              <a:gd name="T39" fmla="*/ 209 h 235"/>
              <a:gd name="T40" fmla="*/ 154 w 236"/>
              <a:gd name="T41" fmla="*/ 131 h 235"/>
              <a:gd name="T42" fmla="*/ 194 w 236"/>
              <a:gd name="T43" fmla="*/ 91 h 235"/>
              <a:gd name="T44" fmla="*/ 230 w 236"/>
              <a:gd name="T45" fmla="*/ 87 h 235"/>
              <a:gd name="T46" fmla="*/ 235 w 236"/>
              <a:gd name="T47" fmla="*/ 79 h 235"/>
              <a:gd name="T48" fmla="*/ 232 w 236"/>
              <a:gd name="T49" fmla="*/ 70 h 235"/>
              <a:gd name="T50" fmla="*/ 225 w 236"/>
              <a:gd name="T51" fmla="*/ 78 h 235"/>
              <a:gd name="T52" fmla="*/ 194 w 236"/>
              <a:gd name="T53" fmla="*/ 81 h 235"/>
              <a:gd name="T54" fmla="*/ 191 w 236"/>
              <a:gd name="T55" fmla="*/ 80 h 235"/>
              <a:gd name="T56" fmla="*/ 142 w 236"/>
              <a:gd name="T57" fmla="*/ 129 h 235"/>
              <a:gd name="T58" fmla="*/ 144 w 236"/>
              <a:gd name="T59" fmla="*/ 132 h 235"/>
              <a:gd name="T60" fmla="*/ 138 w 236"/>
              <a:gd name="T61" fmla="*/ 202 h 235"/>
              <a:gd name="T62" fmla="*/ 136 w 236"/>
              <a:gd name="T63" fmla="*/ 202 h 235"/>
              <a:gd name="T64" fmla="*/ 34 w 236"/>
              <a:gd name="T65" fmla="*/ 99 h 235"/>
              <a:gd name="T66" fmla="*/ 33 w 236"/>
              <a:gd name="T67" fmla="*/ 99 h 235"/>
              <a:gd name="T68" fmla="*/ 34 w 236"/>
              <a:gd name="T69" fmla="*/ 98 h 235"/>
              <a:gd name="T70" fmla="*/ 70 w 236"/>
              <a:gd name="T71" fmla="*/ 84 h 235"/>
              <a:gd name="T72" fmla="*/ 104 w 236"/>
              <a:gd name="T73" fmla="*/ 92 h 235"/>
              <a:gd name="T74" fmla="*/ 107 w 236"/>
              <a:gd name="T75" fmla="*/ 93 h 235"/>
              <a:gd name="T76" fmla="*/ 156 w 236"/>
              <a:gd name="T77" fmla="*/ 45 h 235"/>
              <a:gd name="T78" fmla="*/ 155 w 236"/>
              <a:gd name="T79" fmla="*/ 42 h 235"/>
              <a:gd name="T80" fmla="*/ 157 w 236"/>
              <a:gd name="T81" fmla="*/ 10 h 235"/>
              <a:gd name="T82" fmla="*/ 158 w 236"/>
              <a:gd name="T83" fmla="*/ 10 h 235"/>
              <a:gd name="T84" fmla="*/ 159 w 236"/>
              <a:gd name="T85" fmla="*/ 10 h 235"/>
              <a:gd name="T86" fmla="*/ 226 w 236"/>
              <a:gd name="T87" fmla="*/ 77 h 235"/>
              <a:gd name="T88" fmla="*/ 226 w 236"/>
              <a:gd name="T89" fmla="*/ 78 h 235"/>
              <a:gd name="T90" fmla="*/ 225 w 236"/>
              <a:gd name="T91" fmla="*/ 78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36" h="235">
                <a:moveTo>
                  <a:pt x="232" y="70"/>
                </a:moveTo>
                <a:cubicBezTo>
                  <a:pt x="166" y="3"/>
                  <a:pt x="166" y="3"/>
                  <a:pt x="166" y="3"/>
                </a:cubicBezTo>
                <a:cubicBezTo>
                  <a:pt x="164" y="1"/>
                  <a:pt x="160" y="0"/>
                  <a:pt x="157" y="0"/>
                </a:cubicBezTo>
                <a:cubicBezTo>
                  <a:pt x="154" y="1"/>
                  <a:pt x="151" y="3"/>
                  <a:pt x="149" y="6"/>
                </a:cubicBezTo>
                <a:cubicBezTo>
                  <a:pt x="143" y="16"/>
                  <a:pt x="142" y="29"/>
                  <a:pt x="145" y="42"/>
                </a:cubicBezTo>
                <a:cubicBezTo>
                  <a:pt x="105" y="82"/>
                  <a:pt x="105" y="82"/>
                  <a:pt x="105" y="82"/>
                </a:cubicBezTo>
                <a:cubicBezTo>
                  <a:pt x="94" y="77"/>
                  <a:pt x="82" y="74"/>
                  <a:pt x="70" y="74"/>
                </a:cubicBezTo>
                <a:cubicBezTo>
                  <a:pt x="53" y="74"/>
                  <a:pt x="38" y="80"/>
                  <a:pt x="27" y="91"/>
                </a:cubicBezTo>
                <a:cubicBezTo>
                  <a:pt x="25" y="93"/>
                  <a:pt x="24" y="96"/>
                  <a:pt x="24" y="99"/>
                </a:cubicBezTo>
                <a:cubicBezTo>
                  <a:pt x="24" y="101"/>
                  <a:pt x="25" y="104"/>
                  <a:pt x="27" y="106"/>
                </a:cubicBezTo>
                <a:cubicBezTo>
                  <a:pt x="75" y="154"/>
                  <a:pt x="75" y="154"/>
                  <a:pt x="75" y="154"/>
                </a:cubicBezTo>
                <a:cubicBezTo>
                  <a:pt x="2" y="227"/>
                  <a:pt x="2" y="227"/>
                  <a:pt x="2" y="227"/>
                </a:cubicBezTo>
                <a:cubicBezTo>
                  <a:pt x="0" y="229"/>
                  <a:pt x="0" y="232"/>
                  <a:pt x="2" y="234"/>
                </a:cubicBezTo>
                <a:cubicBezTo>
                  <a:pt x="3" y="234"/>
                  <a:pt x="4" y="235"/>
                  <a:pt x="6" y="235"/>
                </a:cubicBezTo>
                <a:cubicBezTo>
                  <a:pt x="7" y="235"/>
                  <a:pt x="8" y="234"/>
                  <a:pt x="9" y="234"/>
                </a:cubicBezTo>
                <a:cubicBezTo>
                  <a:pt x="82" y="161"/>
                  <a:pt x="82" y="161"/>
                  <a:pt x="82" y="161"/>
                </a:cubicBezTo>
                <a:cubicBezTo>
                  <a:pt x="130" y="209"/>
                  <a:pt x="130" y="209"/>
                  <a:pt x="130" y="209"/>
                </a:cubicBezTo>
                <a:cubicBezTo>
                  <a:pt x="132" y="211"/>
                  <a:pt x="134" y="212"/>
                  <a:pt x="137" y="212"/>
                </a:cubicBezTo>
                <a:cubicBezTo>
                  <a:pt x="137" y="212"/>
                  <a:pt x="137" y="212"/>
                  <a:pt x="137" y="212"/>
                </a:cubicBezTo>
                <a:cubicBezTo>
                  <a:pt x="140" y="212"/>
                  <a:pt x="143" y="211"/>
                  <a:pt x="145" y="209"/>
                </a:cubicBezTo>
                <a:cubicBezTo>
                  <a:pt x="164" y="190"/>
                  <a:pt x="167" y="160"/>
                  <a:pt x="154" y="131"/>
                </a:cubicBezTo>
                <a:cubicBezTo>
                  <a:pt x="194" y="91"/>
                  <a:pt x="194" y="91"/>
                  <a:pt x="194" y="91"/>
                </a:cubicBezTo>
                <a:cubicBezTo>
                  <a:pt x="207" y="94"/>
                  <a:pt x="220" y="92"/>
                  <a:pt x="230" y="87"/>
                </a:cubicBezTo>
                <a:cubicBezTo>
                  <a:pt x="233" y="85"/>
                  <a:pt x="235" y="82"/>
                  <a:pt x="235" y="79"/>
                </a:cubicBezTo>
                <a:cubicBezTo>
                  <a:pt x="236" y="76"/>
                  <a:pt x="235" y="72"/>
                  <a:pt x="232" y="70"/>
                </a:cubicBezTo>
                <a:close/>
                <a:moveTo>
                  <a:pt x="225" y="78"/>
                </a:moveTo>
                <a:cubicBezTo>
                  <a:pt x="217" y="83"/>
                  <a:pt x="205" y="84"/>
                  <a:pt x="194" y="81"/>
                </a:cubicBezTo>
                <a:cubicBezTo>
                  <a:pt x="191" y="80"/>
                  <a:pt x="191" y="80"/>
                  <a:pt x="191" y="80"/>
                </a:cubicBezTo>
                <a:cubicBezTo>
                  <a:pt x="142" y="129"/>
                  <a:pt x="142" y="129"/>
                  <a:pt x="142" y="129"/>
                </a:cubicBezTo>
                <a:cubicBezTo>
                  <a:pt x="144" y="132"/>
                  <a:pt x="144" y="132"/>
                  <a:pt x="144" y="132"/>
                </a:cubicBezTo>
                <a:cubicBezTo>
                  <a:pt x="157" y="158"/>
                  <a:pt x="155" y="186"/>
                  <a:pt x="138" y="202"/>
                </a:cubicBezTo>
                <a:cubicBezTo>
                  <a:pt x="137" y="203"/>
                  <a:pt x="137" y="203"/>
                  <a:pt x="136" y="202"/>
                </a:cubicBezTo>
                <a:cubicBezTo>
                  <a:pt x="34" y="99"/>
                  <a:pt x="34" y="99"/>
                  <a:pt x="34" y="99"/>
                </a:cubicBezTo>
                <a:cubicBezTo>
                  <a:pt x="33" y="99"/>
                  <a:pt x="33" y="99"/>
                  <a:pt x="33" y="99"/>
                </a:cubicBezTo>
                <a:cubicBezTo>
                  <a:pt x="33" y="98"/>
                  <a:pt x="33" y="98"/>
                  <a:pt x="34" y="98"/>
                </a:cubicBezTo>
                <a:cubicBezTo>
                  <a:pt x="43" y="89"/>
                  <a:pt x="56" y="84"/>
                  <a:pt x="70" y="84"/>
                </a:cubicBezTo>
                <a:cubicBezTo>
                  <a:pt x="81" y="84"/>
                  <a:pt x="93" y="86"/>
                  <a:pt x="104" y="92"/>
                </a:cubicBezTo>
                <a:cubicBezTo>
                  <a:pt x="107" y="93"/>
                  <a:pt x="107" y="93"/>
                  <a:pt x="107" y="93"/>
                </a:cubicBezTo>
                <a:cubicBezTo>
                  <a:pt x="156" y="45"/>
                  <a:pt x="156" y="45"/>
                  <a:pt x="156" y="45"/>
                </a:cubicBezTo>
                <a:cubicBezTo>
                  <a:pt x="155" y="42"/>
                  <a:pt x="155" y="42"/>
                  <a:pt x="155" y="42"/>
                </a:cubicBezTo>
                <a:cubicBezTo>
                  <a:pt x="151" y="30"/>
                  <a:pt x="152" y="19"/>
                  <a:pt x="157" y="10"/>
                </a:cubicBezTo>
                <a:cubicBezTo>
                  <a:pt x="158" y="10"/>
                  <a:pt x="158" y="10"/>
                  <a:pt x="158" y="10"/>
                </a:cubicBezTo>
                <a:cubicBezTo>
                  <a:pt x="159" y="10"/>
                  <a:pt x="159" y="10"/>
                  <a:pt x="159" y="10"/>
                </a:cubicBezTo>
                <a:cubicBezTo>
                  <a:pt x="226" y="77"/>
                  <a:pt x="226" y="77"/>
                  <a:pt x="226" y="77"/>
                </a:cubicBezTo>
                <a:cubicBezTo>
                  <a:pt x="226" y="77"/>
                  <a:pt x="226" y="77"/>
                  <a:pt x="226" y="78"/>
                </a:cubicBezTo>
                <a:cubicBezTo>
                  <a:pt x="226" y="78"/>
                  <a:pt x="226" y="78"/>
                  <a:pt x="225" y="78"/>
                </a:cubicBezTo>
                <a:close/>
              </a:path>
            </a:pathLst>
          </a:custGeom>
          <a:solidFill>
            <a:schemeClr val="accent5"/>
          </a:solidFill>
          <a:ln>
            <a:solidFill>
              <a:srgbClr val="007C00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en-US" sz="2215" dirty="0">
              <a:cs typeface="Arial" charset="0"/>
            </a:endParaRPr>
          </a:p>
        </p:txBody>
      </p:sp>
      <p:sp>
        <p:nvSpPr>
          <p:cNvPr id="10" name="Freeform 9"/>
          <p:cNvSpPr>
            <a:spLocks noChangeAspect="1"/>
          </p:cNvSpPr>
          <p:nvPr/>
        </p:nvSpPr>
        <p:spPr>
          <a:xfrm rot="5400000">
            <a:off x="1093843" y="1170300"/>
            <a:ext cx="1336029" cy="1160980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Freeform 10"/>
          <p:cNvSpPr>
            <a:spLocks noChangeAspect="1"/>
          </p:cNvSpPr>
          <p:nvPr/>
        </p:nvSpPr>
        <p:spPr>
          <a:xfrm rot="5400000">
            <a:off x="1684915" y="2168664"/>
            <a:ext cx="1336029" cy="1160980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Freeform 11"/>
          <p:cNvSpPr>
            <a:spLocks noChangeAspect="1"/>
          </p:cNvSpPr>
          <p:nvPr/>
        </p:nvSpPr>
        <p:spPr>
          <a:xfrm rot="5400000">
            <a:off x="1097004" y="3169057"/>
            <a:ext cx="1336029" cy="1160980"/>
          </a:xfrm>
          <a:custGeom>
            <a:avLst/>
            <a:gdLst>
              <a:gd name="connsiteX0" fmla="*/ 1552073 w 6244389"/>
              <a:gd name="connsiteY0" fmla="*/ 0 h 5426243"/>
              <a:gd name="connsiteX1" fmla="*/ 4704347 w 6244389"/>
              <a:gd name="connsiteY1" fmla="*/ 12032 h 5426243"/>
              <a:gd name="connsiteX2" fmla="*/ 6244389 w 6244389"/>
              <a:gd name="connsiteY2" fmla="*/ 2755232 h 5426243"/>
              <a:gd name="connsiteX3" fmla="*/ 4704347 w 6244389"/>
              <a:gd name="connsiteY3" fmla="*/ 5414211 h 5426243"/>
              <a:gd name="connsiteX4" fmla="*/ 1564105 w 6244389"/>
              <a:gd name="connsiteY4" fmla="*/ 5426243 h 5426243"/>
              <a:gd name="connsiteX5" fmla="*/ 0 w 6244389"/>
              <a:gd name="connsiteY5" fmla="*/ 2731169 h 5426243"/>
              <a:gd name="connsiteX6" fmla="*/ 1552073 w 6244389"/>
              <a:gd name="connsiteY6" fmla="*/ 0 h 542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4389" h="5426243">
                <a:moveTo>
                  <a:pt x="1552073" y="0"/>
                </a:moveTo>
                <a:lnTo>
                  <a:pt x="4704347" y="12032"/>
                </a:lnTo>
                <a:lnTo>
                  <a:pt x="6244389" y="2755232"/>
                </a:lnTo>
                <a:lnTo>
                  <a:pt x="4704347" y="5414211"/>
                </a:lnTo>
                <a:lnTo>
                  <a:pt x="1564105" y="5426243"/>
                </a:lnTo>
                <a:lnTo>
                  <a:pt x="0" y="2731169"/>
                </a:lnTo>
                <a:lnTo>
                  <a:pt x="1552073" y="0"/>
                </a:lnTo>
                <a:close/>
              </a:path>
            </a:pathLst>
          </a:custGeom>
          <a:solidFill>
            <a:srgbClr val="006D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kern="0" dirty="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13" name="Laurel_wreath3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479941" y="1508433"/>
            <a:ext cx="575854" cy="485240"/>
            <a:chOff x="6205" y="3197"/>
            <a:chExt cx="1468" cy="1237"/>
          </a:xfrm>
          <a:solidFill>
            <a:schemeClr val="bg1"/>
          </a:solidFill>
        </p:grpSpPr>
        <p:sp>
          <p:nvSpPr>
            <p:cNvPr id="16" name="Freeform 297"/>
            <p:cNvSpPr>
              <a:spLocks/>
            </p:cNvSpPr>
            <p:nvPr/>
          </p:nvSpPr>
          <p:spPr bwMode="auto">
            <a:xfrm>
              <a:off x="6548" y="4335"/>
              <a:ext cx="168" cy="80"/>
            </a:xfrm>
            <a:custGeom>
              <a:avLst/>
              <a:gdLst>
                <a:gd name="T0" fmla="*/ 750 w 1035"/>
                <a:gd name="T1" fmla="*/ 15 h 491"/>
                <a:gd name="T2" fmla="*/ 573 w 1035"/>
                <a:gd name="T3" fmla="*/ 44 h 491"/>
                <a:gd name="T4" fmla="*/ 0 w 1035"/>
                <a:gd name="T5" fmla="*/ 354 h 491"/>
                <a:gd name="T6" fmla="*/ 650 w 1035"/>
                <a:gd name="T7" fmla="*/ 454 h 491"/>
                <a:gd name="T8" fmla="*/ 1035 w 1035"/>
                <a:gd name="T9" fmla="*/ 127 h 491"/>
                <a:gd name="T10" fmla="*/ 960 w 1035"/>
                <a:gd name="T11" fmla="*/ 0 h 491"/>
                <a:gd name="T12" fmla="*/ 750 w 1035"/>
                <a:gd name="T13" fmla="*/ 15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5" h="491">
                  <a:moveTo>
                    <a:pt x="750" y="15"/>
                  </a:moveTo>
                  <a:cubicBezTo>
                    <a:pt x="775" y="77"/>
                    <a:pt x="686" y="42"/>
                    <a:pt x="573" y="44"/>
                  </a:cubicBezTo>
                  <a:cubicBezTo>
                    <a:pt x="379" y="49"/>
                    <a:pt x="211" y="59"/>
                    <a:pt x="0" y="354"/>
                  </a:cubicBezTo>
                  <a:cubicBezTo>
                    <a:pt x="194" y="415"/>
                    <a:pt x="423" y="491"/>
                    <a:pt x="650" y="454"/>
                  </a:cubicBezTo>
                  <a:cubicBezTo>
                    <a:pt x="905" y="413"/>
                    <a:pt x="869" y="66"/>
                    <a:pt x="1035" y="127"/>
                  </a:cubicBezTo>
                  <a:lnTo>
                    <a:pt x="960" y="0"/>
                  </a:lnTo>
                  <a:lnTo>
                    <a:pt x="750" y="15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" name="Freeform 298"/>
            <p:cNvSpPr>
              <a:spLocks/>
            </p:cNvSpPr>
            <p:nvPr/>
          </p:nvSpPr>
          <p:spPr bwMode="auto">
            <a:xfrm>
              <a:off x="6271" y="3515"/>
              <a:ext cx="98" cy="153"/>
            </a:xfrm>
            <a:custGeom>
              <a:avLst/>
              <a:gdLst>
                <a:gd name="T0" fmla="*/ 429 w 607"/>
                <a:gd name="T1" fmla="*/ 940 h 940"/>
                <a:gd name="T2" fmla="*/ 354 w 607"/>
                <a:gd name="T3" fmla="*/ 851 h 940"/>
                <a:gd name="T4" fmla="*/ 25 w 607"/>
                <a:gd name="T5" fmla="*/ 600 h 940"/>
                <a:gd name="T6" fmla="*/ 54 w 607"/>
                <a:gd name="T7" fmla="*/ 0 h 940"/>
                <a:gd name="T8" fmla="*/ 421 w 607"/>
                <a:gd name="T9" fmla="*/ 338 h 940"/>
                <a:gd name="T10" fmla="*/ 533 w 607"/>
                <a:gd name="T11" fmla="*/ 637 h 940"/>
                <a:gd name="T12" fmla="*/ 607 w 607"/>
                <a:gd name="T13" fmla="*/ 706 h 940"/>
                <a:gd name="T14" fmla="*/ 553 w 607"/>
                <a:gd name="T15" fmla="*/ 844 h 940"/>
                <a:gd name="T16" fmla="*/ 429 w 607"/>
                <a:gd name="T17" fmla="*/ 940 h 9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7" h="940">
                  <a:moveTo>
                    <a:pt x="429" y="940"/>
                  </a:moveTo>
                  <a:cubicBezTo>
                    <a:pt x="429" y="940"/>
                    <a:pt x="436" y="875"/>
                    <a:pt x="354" y="851"/>
                  </a:cubicBezTo>
                  <a:cubicBezTo>
                    <a:pt x="273" y="827"/>
                    <a:pt x="51" y="823"/>
                    <a:pt x="25" y="600"/>
                  </a:cubicBezTo>
                  <a:cubicBezTo>
                    <a:pt x="7" y="444"/>
                    <a:pt x="0" y="127"/>
                    <a:pt x="54" y="0"/>
                  </a:cubicBezTo>
                  <a:cubicBezTo>
                    <a:pt x="194" y="64"/>
                    <a:pt x="344" y="162"/>
                    <a:pt x="421" y="338"/>
                  </a:cubicBezTo>
                  <a:cubicBezTo>
                    <a:pt x="466" y="441"/>
                    <a:pt x="455" y="720"/>
                    <a:pt x="533" y="637"/>
                  </a:cubicBezTo>
                  <a:cubicBezTo>
                    <a:pt x="550" y="609"/>
                    <a:pt x="607" y="706"/>
                    <a:pt x="607" y="706"/>
                  </a:cubicBezTo>
                  <a:lnTo>
                    <a:pt x="553" y="844"/>
                  </a:lnTo>
                  <a:lnTo>
                    <a:pt x="429" y="940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8" name="Freeform 299"/>
            <p:cNvSpPr>
              <a:spLocks/>
            </p:cNvSpPr>
            <p:nvPr/>
          </p:nvSpPr>
          <p:spPr bwMode="auto">
            <a:xfrm>
              <a:off x="6330" y="3388"/>
              <a:ext cx="91" cy="165"/>
            </a:xfrm>
            <a:custGeom>
              <a:avLst/>
              <a:gdLst>
                <a:gd name="T0" fmla="*/ 350 w 560"/>
                <a:gd name="T1" fmla="*/ 1011 h 1011"/>
                <a:gd name="T2" fmla="*/ 23 w 560"/>
                <a:gd name="T3" fmla="*/ 643 h 1011"/>
                <a:gd name="T4" fmla="*/ 206 w 560"/>
                <a:gd name="T5" fmla="*/ 0 h 1011"/>
                <a:gd name="T6" fmla="*/ 443 w 560"/>
                <a:gd name="T7" fmla="*/ 444 h 1011"/>
                <a:gd name="T8" fmla="*/ 530 w 560"/>
                <a:gd name="T9" fmla="*/ 714 h 1011"/>
                <a:gd name="T10" fmla="*/ 560 w 560"/>
                <a:gd name="T11" fmla="*/ 826 h 1011"/>
                <a:gd name="T12" fmla="*/ 350 w 560"/>
                <a:gd name="T13" fmla="*/ 1011 h 1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0" h="1011">
                  <a:moveTo>
                    <a:pt x="350" y="1011"/>
                  </a:moveTo>
                  <a:cubicBezTo>
                    <a:pt x="370" y="846"/>
                    <a:pt x="45" y="959"/>
                    <a:pt x="23" y="643"/>
                  </a:cubicBezTo>
                  <a:cubicBezTo>
                    <a:pt x="0" y="310"/>
                    <a:pt x="117" y="217"/>
                    <a:pt x="206" y="0"/>
                  </a:cubicBezTo>
                  <a:cubicBezTo>
                    <a:pt x="323" y="112"/>
                    <a:pt x="399" y="232"/>
                    <a:pt x="443" y="444"/>
                  </a:cubicBezTo>
                  <a:cubicBezTo>
                    <a:pt x="467" y="556"/>
                    <a:pt x="381" y="810"/>
                    <a:pt x="530" y="714"/>
                  </a:cubicBezTo>
                  <a:cubicBezTo>
                    <a:pt x="544" y="699"/>
                    <a:pt x="560" y="826"/>
                    <a:pt x="560" y="826"/>
                  </a:cubicBezTo>
                  <a:lnTo>
                    <a:pt x="350" y="1011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9" name="Freeform 300"/>
            <p:cNvSpPr>
              <a:spLocks/>
            </p:cNvSpPr>
            <p:nvPr/>
          </p:nvSpPr>
          <p:spPr bwMode="auto">
            <a:xfrm>
              <a:off x="6414" y="3291"/>
              <a:ext cx="80" cy="159"/>
            </a:xfrm>
            <a:custGeom>
              <a:avLst/>
              <a:gdLst>
                <a:gd name="T0" fmla="*/ 267 w 488"/>
                <a:gd name="T1" fmla="*/ 977 h 977"/>
                <a:gd name="T2" fmla="*/ 0 w 488"/>
                <a:gd name="T3" fmla="*/ 601 h 977"/>
                <a:gd name="T4" fmla="*/ 308 w 488"/>
                <a:gd name="T5" fmla="*/ 0 h 977"/>
                <a:gd name="T6" fmla="*/ 479 w 488"/>
                <a:gd name="T7" fmla="*/ 455 h 977"/>
                <a:gd name="T8" fmla="*/ 431 w 488"/>
                <a:gd name="T9" fmla="*/ 756 h 977"/>
                <a:gd name="T10" fmla="*/ 469 w 488"/>
                <a:gd name="T11" fmla="*/ 776 h 977"/>
                <a:gd name="T12" fmla="*/ 443 w 488"/>
                <a:gd name="T13" fmla="*/ 894 h 977"/>
                <a:gd name="T14" fmla="*/ 267 w 488"/>
                <a:gd name="T15" fmla="*/ 977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8" h="977">
                  <a:moveTo>
                    <a:pt x="267" y="977"/>
                  </a:moveTo>
                  <a:cubicBezTo>
                    <a:pt x="304" y="885"/>
                    <a:pt x="0" y="869"/>
                    <a:pt x="0" y="601"/>
                  </a:cubicBezTo>
                  <a:cubicBezTo>
                    <a:pt x="14" y="365"/>
                    <a:pt x="174" y="272"/>
                    <a:pt x="308" y="0"/>
                  </a:cubicBezTo>
                  <a:cubicBezTo>
                    <a:pt x="432" y="131"/>
                    <a:pt x="488" y="313"/>
                    <a:pt x="479" y="455"/>
                  </a:cubicBezTo>
                  <a:cubicBezTo>
                    <a:pt x="466" y="660"/>
                    <a:pt x="408" y="695"/>
                    <a:pt x="431" y="756"/>
                  </a:cubicBezTo>
                  <a:cubicBezTo>
                    <a:pt x="440" y="781"/>
                    <a:pt x="456" y="783"/>
                    <a:pt x="469" y="776"/>
                  </a:cubicBezTo>
                  <a:cubicBezTo>
                    <a:pt x="481" y="770"/>
                    <a:pt x="443" y="894"/>
                    <a:pt x="443" y="894"/>
                  </a:cubicBezTo>
                  <a:lnTo>
                    <a:pt x="267" y="977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2" name="Freeform 301"/>
            <p:cNvSpPr>
              <a:spLocks/>
            </p:cNvSpPr>
            <p:nvPr/>
          </p:nvSpPr>
          <p:spPr bwMode="auto">
            <a:xfrm>
              <a:off x="6522" y="3221"/>
              <a:ext cx="87" cy="153"/>
            </a:xfrm>
            <a:custGeom>
              <a:avLst/>
              <a:gdLst>
                <a:gd name="T0" fmla="*/ 150 w 535"/>
                <a:gd name="T1" fmla="*/ 937 h 937"/>
                <a:gd name="T2" fmla="*/ 161 w 535"/>
                <a:gd name="T3" fmla="*/ 833 h 937"/>
                <a:gd name="T4" fmla="*/ 6 w 535"/>
                <a:gd name="T5" fmla="*/ 552 h 937"/>
                <a:gd name="T6" fmla="*/ 218 w 535"/>
                <a:gd name="T7" fmla="*/ 163 h 937"/>
                <a:gd name="T8" fmla="*/ 459 w 535"/>
                <a:gd name="T9" fmla="*/ 0 h 937"/>
                <a:gd name="T10" fmla="*/ 510 w 535"/>
                <a:gd name="T11" fmla="*/ 378 h 937"/>
                <a:gd name="T12" fmla="*/ 375 w 535"/>
                <a:gd name="T13" fmla="*/ 788 h 937"/>
                <a:gd name="T14" fmla="*/ 382 w 535"/>
                <a:gd name="T15" fmla="*/ 836 h 937"/>
                <a:gd name="T16" fmla="*/ 284 w 535"/>
                <a:gd name="T17" fmla="*/ 901 h 937"/>
                <a:gd name="T18" fmla="*/ 150 w 535"/>
                <a:gd name="T19" fmla="*/ 937 h 9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5" h="937">
                  <a:moveTo>
                    <a:pt x="150" y="937"/>
                  </a:moveTo>
                  <a:cubicBezTo>
                    <a:pt x="179" y="908"/>
                    <a:pt x="181" y="876"/>
                    <a:pt x="161" y="833"/>
                  </a:cubicBezTo>
                  <a:cubicBezTo>
                    <a:pt x="141" y="788"/>
                    <a:pt x="0" y="681"/>
                    <a:pt x="6" y="552"/>
                  </a:cubicBezTo>
                  <a:cubicBezTo>
                    <a:pt x="12" y="424"/>
                    <a:pt x="113" y="285"/>
                    <a:pt x="218" y="163"/>
                  </a:cubicBezTo>
                  <a:cubicBezTo>
                    <a:pt x="316" y="50"/>
                    <a:pt x="417" y="15"/>
                    <a:pt x="459" y="0"/>
                  </a:cubicBezTo>
                  <a:cubicBezTo>
                    <a:pt x="500" y="209"/>
                    <a:pt x="535" y="238"/>
                    <a:pt x="510" y="378"/>
                  </a:cubicBezTo>
                  <a:cubicBezTo>
                    <a:pt x="459" y="665"/>
                    <a:pt x="281" y="766"/>
                    <a:pt x="375" y="788"/>
                  </a:cubicBezTo>
                  <a:cubicBezTo>
                    <a:pt x="412" y="773"/>
                    <a:pt x="382" y="836"/>
                    <a:pt x="382" y="836"/>
                  </a:cubicBezTo>
                  <a:lnTo>
                    <a:pt x="284" y="901"/>
                  </a:lnTo>
                  <a:lnTo>
                    <a:pt x="150" y="937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3" name="Freeform 302"/>
            <p:cNvSpPr>
              <a:spLocks/>
            </p:cNvSpPr>
            <p:nvPr/>
          </p:nvSpPr>
          <p:spPr bwMode="auto">
            <a:xfrm>
              <a:off x="6626" y="3197"/>
              <a:ext cx="85" cy="117"/>
            </a:xfrm>
            <a:custGeom>
              <a:avLst/>
              <a:gdLst>
                <a:gd name="T0" fmla="*/ 96 w 526"/>
                <a:gd name="T1" fmla="*/ 719 h 719"/>
                <a:gd name="T2" fmla="*/ 93 w 526"/>
                <a:gd name="T3" fmla="*/ 639 h 719"/>
                <a:gd name="T4" fmla="*/ 16 w 526"/>
                <a:gd name="T5" fmla="*/ 442 h 719"/>
                <a:gd name="T6" fmla="*/ 288 w 526"/>
                <a:gd name="T7" fmla="*/ 126 h 719"/>
                <a:gd name="T8" fmla="*/ 425 w 526"/>
                <a:gd name="T9" fmla="*/ 0 h 719"/>
                <a:gd name="T10" fmla="*/ 403 w 526"/>
                <a:gd name="T11" fmla="*/ 427 h 719"/>
                <a:gd name="T12" fmla="*/ 291 w 526"/>
                <a:gd name="T13" fmla="*/ 548 h 719"/>
                <a:gd name="T14" fmla="*/ 293 w 526"/>
                <a:gd name="T15" fmla="*/ 627 h 719"/>
                <a:gd name="T16" fmla="*/ 232 w 526"/>
                <a:gd name="T17" fmla="*/ 687 h 719"/>
                <a:gd name="T18" fmla="*/ 96 w 526"/>
                <a:gd name="T19" fmla="*/ 719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6" h="719">
                  <a:moveTo>
                    <a:pt x="96" y="719"/>
                  </a:moveTo>
                  <a:cubicBezTo>
                    <a:pt x="114" y="696"/>
                    <a:pt x="112" y="655"/>
                    <a:pt x="93" y="639"/>
                  </a:cubicBezTo>
                  <a:cubicBezTo>
                    <a:pt x="75" y="622"/>
                    <a:pt x="0" y="520"/>
                    <a:pt x="16" y="442"/>
                  </a:cubicBezTo>
                  <a:cubicBezTo>
                    <a:pt x="49" y="275"/>
                    <a:pt x="226" y="171"/>
                    <a:pt x="288" y="126"/>
                  </a:cubicBezTo>
                  <a:cubicBezTo>
                    <a:pt x="349" y="82"/>
                    <a:pt x="387" y="42"/>
                    <a:pt x="425" y="0"/>
                  </a:cubicBezTo>
                  <a:cubicBezTo>
                    <a:pt x="526" y="76"/>
                    <a:pt x="503" y="319"/>
                    <a:pt x="403" y="427"/>
                  </a:cubicBezTo>
                  <a:cubicBezTo>
                    <a:pt x="356" y="473"/>
                    <a:pt x="308" y="509"/>
                    <a:pt x="291" y="548"/>
                  </a:cubicBezTo>
                  <a:cubicBezTo>
                    <a:pt x="274" y="587"/>
                    <a:pt x="273" y="627"/>
                    <a:pt x="293" y="627"/>
                  </a:cubicBezTo>
                  <a:cubicBezTo>
                    <a:pt x="314" y="627"/>
                    <a:pt x="232" y="687"/>
                    <a:pt x="232" y="687"/>
                  </a:cubicBezTo>
                  <a:lnTo>
                    <a:pt x="96" y="719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4" name="Freeform 303"/>
            <p:cNvSpPr>
              <a:spLocks/>
            </p:cNvSpPr>
            <p:nvPr/>
          </p:nvSpPr>
          <p:spPr bwMode="auto">
            <a:xfrm>
              <a:off x="6671" y="3262"/>
              <a:ext cx="145" cy="56"/>
            </a:xfrm>
            <a:custGeom>
              <a:avLst/>
              <a:gdLst>
                <a:gd name="T0" fmla="*/ 513 w 891"/>
                <a:gd name="T1" fmla="*/ 1 h 340"/>
                <a:gd name="T2" fmla="*/ 891 w 891"/>
                <a:gd name="T3" fmla="*/ 146 h 340"/>
                <a:gd name="T4" fmla="*/ 564 w 891"/>
                <a:gd name="T5" fmla="*/ 335 h 340"/>
                <a:gd name="T6" fmla="*/ 300 w 891"/>
                <a:gd name="T7" fmla="*/ 282 h 340"/>
                <a:gd name="T8" fmla="*/ 35 w 891"/>
                <a:gd name="T9" fmla="*/ 288 h 340"/>
                <a:gd name="T10" fmla="*/ 46 w 891"/>
                <a:gd name="T11" fmla="*/ 220 h 340"/>
                <a:gd name="T12" fmla="*/ 513 w 891"/>
                <a:gd name="T13" fmla="*/ 1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1" h="340">
                  <a:moveTo>
                    <a:pt x="513" y="1"/>
                  </a:moveTo>
                  <a:cubicBezTo>
                    <a:pt x="570" y="0"/>
                    <a:pt x="742" y="10"/>
                    <a:pt x="891" y="146"/>
                  </a:cubicBezTo>
                  <a:cubicBezTo>
                    <a:pt x="815" y="234"/>
                    <a:pt x="657" y="332"/>
                    <a:pt x="564" y="335"/>
                  </a:cubicBezTo>
                  <a:cubicBezTo>
                    <a:pt x="447" y="340"/>
                    <a:pt x="355" y="309"/>
                    <a:pt x="300" y="282"/>
                  </a:cubicBezTo>
                  <a:cubicBezTo>
                    <a:pt x="183" y="224"/>
                    <a:pt x="79" y="274"/>
                    <a:pt x="35" y="288"/>
                  </a:cubicBezTo>
                  <a:cubicBezTo>
                    <a:pt x="0" y="300"/>
                    <a:pt x="46" y="220"/>
                    <a:pt x="46" y="220"/>
                  </a:cubicBezTo>
                  <a:cubicBezTo>
                    <a:pt x="183" y="218"/>
                    <a:pt x="218" y="3"/>
                    <a:pt x="513" y="1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5" name="Freeform 304"/>
            <p:cNvSpPr>
              <a:spLocks/>
            </p:cNvSpPr>
            <p:nvPr/>
          </p:nvSpPr>
          <p:spPr bwMode="auto">
            <a:xfrm>
              <a:off x="6601" y="3330"/>
              <a:ext cx="134" cy="69"/>
            </a:xfrm>
            <a:custGeom>
              <a:avLst/>
              <a:gdLst>
                <a:gd name="T0" fmla="*/ 243 w 829"/>
                <a:gd name="T1" fmla="*/ 0 h 424"/>
                <a:gd name="T2" fmla="*/ 606 w 829"/>
                <a:gd name="T3" fmla="*/ 68 h 424"/>
                <a:gd name="T4" fmla="*/ 829 w 829"/>
                <a:gd name="T5" fmla="*/ 335 h 424"/>
                <a:gd name="T6" fmla="*/ 329 w 829"/>
                <a:gd name="T7" fmla="*/ 370 h 424"/>
                <a:gd name="T8" fmla="*/ 0 w 829"/>
                <a:gd name="T9" fmla="*/ 146 h 424"/>
                <a:gd name="T10" fmla="*/ 60 w 829"/>
                <a:gd name="T11" fmla="*/ 60 h 424"/>
                <a:gd name="T12" fmla="*/ 243 w 829"/>
                <a:gd name="T13" fmla="*/ 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9" h="424">
                  <a:moveTo>
                    <a:pt x="243" y="0"/>
                  </a:moveTo>
                  <a:cubicBezTo>
                    <a:pt x="190" y="144"/>
                    <a:pt x="401" y="9"/>
                    <a:pt x="606" y="68"/>
                  </a:cubicBezTo>
                  <a:cubicBezTo>
                    <a:pt x="715" y="99"/>
                    <a:pt x="791" y="213"/>
                    <a:pt x="829" y="335"/>
                  </a:cubicBezTo>
                  <a:cubicBezTo>
                    <a:pt x="671" y="404"/>
                    <a:pt x="470" y="424"/>
                    <a:pt x="329" y="370"/>
                  </a:cubicBezTo>
                  <a:cubicBezTo>
                    <a:pt x="154" y="304"/>
                    <a:pt x="156" y="91"/>
                    <a:pt x="0" y="146"/>
                  </a:cubicBezTo>
                  <a:lnTo>
                    <a:pt x="60" y="60"/>
                  </a:lnTo>
                  <a:lnTo>
                    <a:pt x="243" y="0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6" name="Freeform 305"/>
            <p:cNvSpPr>
              <a:spLocks/>
            </p:cNvSpPr>
            <p:nvPr/>
          </p:nvSpPr>
          <p:spPr bwMode="auto">
            <a:xfrm>
              <a:off x="6502" y="3394"/>
              <a:ext cx="149" cy="76"/>
            </a:xfrm>
            <a:custGeom>
              <a:avLst/>
              <a:gdLst>
                <a:gd name="T0" fmla="*/ 272 w 920"/>
                <a:gd name="T1" fmla="*/ 0 h 468"/>
                <a:gd name="T2" fmla="*/ 362 w 920"/>
                <a:gd name="T3" fmla="*/ 58 h 468"/>
                <a:gd name="T4" fmla="*/ 623 w 920"/>
                <a:gd name="T5" fmla="*/ 50 h 468"/>
                <a:gd name="T6" fmla="*/ 920 w 920"/>
                <a:gd name="T7" fmla="*/ 330 h 468"/>
                <a:gd name="T8" fmla="*/ 283 w 920"/>
                <a:gd name="T9" fmla="*/ 333 h 468"/>
                <a:gd name="T10" fmla="*/ 147 w 920"/>
                <a:gd name="T11" fmla="*/ 196 h 468"/>
                <a:gd name="T12" fmla="*/ 39 w 920"/>
                <a:gd name="T13" fmla="*/ 202 h 468"/>
                <a:gd name="T14" fmla="*/ 14 w 920"/>
                <a:gd name="T15" fmla="*/ 154 h 468"/>
                <a:gd name="T16" fmla="*/ 138 w 920"/>
                <a:gd name="T17" fmla="*/ 47 h 468"/>
                <a:gd name="T18" fmla="*/ 272 w 920"/>
                <a:gd name="T19" fmla="*/ 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0" h="468">
                  <a:moveTo>
                    <a:pt x="272" y="0"/>
                  </a:moveTo>
                  <a:cubicBezTo>
                    <a:pt x="200" y="78"/>
                    <a:pt x="317" y="72"/>
                    <a:pt x="362" y="58"/>
                  </a:cubicBezTo>
                  <a:cubicBezTo>
                    <a:pt x="445" y="32"/>
                    <a:pt x="568" y="40"/>
                    <a:pt x="623" y="50"/>
                  </a:cubicBezTo>
                  <a:cubicBezTo>
                    <a:pt x="909" y="106"/>
                    <a:pt x="831" y="250"/>
                    <a:pt x="920" y="330"/>
                  </a:cubicBezTo>
                  <a:cubicBezTo>
                    <a:pt x="759" y="409"/>
                    <a:pt x="472" y="468"/>
                    <a:pt x="283" y="333"/>
                  </a:cubicBezTo>
                  <a:cubicBezTo>
                    <a:pt x="217" y="281"/>
                    <a:pt x="185" y="220"/>
                    <a:pt x="147" y="196"/>
                  </a:cubicBezTo>
                  <a:cubicBezTo>
                    <a:pt x="118" y="178"/>
                    <a:pt x="89" y="174"/>
                    <a:pt x="39" y="202"/>
                  </a:cubicBezTo>
                  <a:cubicBezTo>
                    <a:pt x="0" y="224"/>
                    <a:pt x="7" y="161"/>
                    <a:pt x="14" y="154"/>
                  </a:cubicBezTo>
                  <a:cubicBezTo>
                    <a:pt x="21" y="146"/>
                    <a:pt x="138" y="47"/>
                    <a:pt x="138" y="47"/>
                  </a:cubicBezTo>
                  <a:lnTo>
                    <a:pt x="272" y="0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7" name="Freeform 306"/>
            <p:cNvSpPr>
              <a:spLocks/>
            </p:cNvSpPr>
            <p:nvPr/>
          </p:nvSpPr>
          <p:spPr bwMode="auto">
            <a:xfrm>
              <a:off x="6425" y="3468"/>
              <a:ext cx="156" cy="71"/>
            </a:xfrm>
            <a:custGeom>
              <a:avLst/>
              <a:gdLst>
                <a:gd name="T0" fmla="*/ 189 w 956"/>
                <a:gd name="T1" fmla="*/ 100 h 440"/>
                <a:gd name="T2" fmla="*/ 202 w 956"/>
                <a:gd name="T3" fmla="*/ 152 h 440"/>
                <a:gd name="T4" fmla="*/ 643 w 956"/>
                <a:gd name="T5" fmla="*/ 33 h 440"/>
                <a:gd name="T6" fmla="*/ 956 w 956"/>
                <a:gd name="T7" fmla="*/ 184 h 440"/>
                <a:gd name="T8" fmla="*/ 597 w 956"/>
                <a:gd name="T9" fmla="*/ 412 h 440"/>
                <a:gd name="T10" fmla="*/ 180 w 956"/>
                <a:gd name="T11" fmla="*/ 311 h 440"/>
                <a:gd name="T12" fmla="*/ 45 w 956"/>
                <a:gd name="T13" fmla="*/ 306 h 440"/>
                <a:gd name="T14" fmla="*/ 0 w 956"/>
                <a:gd name="T15" fmla="*/ 229 h 440"/>
                <a:gd name="T16" fmla="*/ 189 w 956"/>
                <a:gd name="T17" fmla="*/ 100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6" h="440">
                  <a:moveTo>
                    <a:pt x="189" y="100"/>
                  </a:moveTo>
                  <a:cubicBezTo>
                    <a:pt x="189" y="109"/>
                    <a:pt x="167" y="149"/>
                    <a:pt x="202" y="152"/>
                  </a:cubicBezTo>
                  <a:cubicBezTo>
                    <a:pt x="238" y="155"/>
                    <a:pt x="443" y="0"/>
                    <a:pt x="643" y="33"/>
                  </a:cubicBezTo>
                  <a:cubicBezTo>
                    <a:pt x="843" y="66"/>
                    <a:pt x="956" y="184"/>
                    <a:pt x="956" y="184"/>
                  </a:cubicBezTo>
                  <a:cubicBezTo>
                    <a:pt x="956" y="184"/>
                    <a:pt x="844" y="382"/>
                    <a:pt x="597" y="412"/>
                  </a:cubicBezTo>
                  <a:cubicBezTo>
                    <a:pt x="356" y="440"/>
                    <a:pt x="267" y="402"/>
                    <a:pt x="180" y="311"/>
                  </a:cubicBezTo>
                  <a:cubicBezTo>
                    <a:pt x="145" y="275"/>
                    <a:pt x="65" y="279"/>
                    <a:pt x="45" y="306"/>
                  </a:cubicBezTo>
                  <a:cubicBezTo>
                    <a:pt x="26" y="332"/>
                    <a:pt x="0" y="233"/>
                    <a:pt x="0" y="229"/>
                  </a:cubicBezTo>
                  <a:cubicBezTo>
                    <a:pt x="1" y="226"/>
                    <a:pt x="189" y="100"/>
                    <a:pt x="189" y="100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8" name="Freeform 307"/>
            <p:cNvSpPr>
              <a:spLocks/>
            </p:cNvSpPr>
            <p:nvPr/>
          </p:nvSpPr>
          <p:spPr bwMode="auto">
            <a:xfrm>
              <a:off x="6370" y="3559"/>
              <a:ext cx="152" cy="73"/>
            </a:xfrm>
            <a:custGeom>
              <a:avLst/>
              <a:gdLst>
                <a:gd name="T0" fmla="*/ 166 w 936"/>
                <a:gd name="T1" fmla="*/ 140 h 449"/>
                <a:gd name="T2" fmla="*/ 187 w 936"/>
                <a:gd name="T3" fmla="*/ 189 h 449"/>
                <a:gd name="T4" fmla="*/ 603 w 936"/>
                <a:gd name="T5" fmla="*/ 0 h 449"/>
                <a:gd name="T6" fmla="*/ 936 w 936"/>
                <a:gd name="T7" fmla="*/ 98 h 449"/>
                <a:gd name="T8" fmla="*/ 619 w 936"/>
                <a:gd name="T9" fmla="*/ 381 h 449"/>
                <a:gd name="T10" fmla="*/ 191 w 936"/>
                <a:gd name="T11" fmla="*/ 350 h 449"/>
                <a:gd name="T12" fmla="*/ 57 w 936"/>
                <a:gd name="T13" fmla="*/ 366 h 449"/>
                <a:gd name="T14" fmla="*/ 0 w 936"/>
                <a:gd name="T15" fmla="*/ 298 h 449"/>
                <a:gd name="T16" fmla="*/ 166 w 936"/>
                <a:gd name="T17" fmla="*/ 14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6" h="449">
                  <a:moveTo>
                    <a:pt x="166" y="140"/>
                  </a:moveTo>
                  <a:cubicBezTo>
                    <a:pt x="167" y="149"/>
                    <a:pt x="152" y="192"/>
                    <a:pt x="187" y="189"/>
                  </a:cubicBezTo>
                  <a:cubicBezTo>
                    <a:pt x="222" y="186"/>
                    <a:pt x="400" y="0"/>
                    <a:pt x="603" y="0"/>
                  </a:cubicBezTo>
                  <a:cubicBezTo>
                    <a:pt x="805" y="0"/>
                    <a:pt x="936" y="98"/>
                    <a:pt x="936" y="98"/>
                  </a:cubicBezTo>
                  <a:cubicBezTo>
                    <a:pt x="936" y="98"/>
                    <a:pt x="857" y="312"/>
                    <a:pt x="619" y="381"/>
                  </a:cubicBezTo>
                  <a:cubicBezTo>
                    <a:pt x="386" y="449"/>
                    <a:pt x="292" y="425"/>
                    <a:pt x="191" y="350"/>
                  </a:cubicBezTo>
                  <a:cubicBezTo>
                    <a:pt x="150" y="319"/>
                    <a:pt x="72" y="336"/>
                    <a:pt x="57" y="366"/>
                  </a:cubicBezTo>
                  <a:cubicBezTo>
                    <a:pt x="42" y="396"/>
                    <a:pt x="0" y="302"/>
                    <a:pt x="0" y="298"/>
                  </a:cubicBezTo>
                  <a:cubicBezTo>
                    <a:pt x="1" y="294"/>
                    <a:pt x="166" y="140"/>
                    <a:pt x="166" y="140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9" name="Freeform 308"/>
            <p:cNvSpPr>
              <a:spLocks/>
            </p:cNvSpPr>
            <p:nvPr/>
          </p:nvSpPr>
          <p:spPr bwMode="auto">
            <a:xfrm>
              <a:off x="6336" y="3650"/>
              <a:ext cx="147" cy="81"/>
            </a:xfrm>
            <a:custGeom>
              <a:avLst/>
              <a:gdLst>
                <a:gd name="T0" fmla="*/ 145 w 904"/>
                <a:gd name="T1" fmla="*/ 217 h 497"/>
                <a:gd name="T2" fmla="*/ 172 w 904"/>
                <a:gd name="T3" fmla="*/ 263 h 497"/>
                <a:gd name="T4" fmla="*/ 562 w 904"/>
                <a:gd name="T5" fmla="*/ 25 h 497"/>
                <a:gd name="T6" fmla="*/ 904 w 904"/>
                <a:gd name="T7" fmla="*/ 81 h 497"/>
                <a:gd name="T8" fmla="*/ 624 w 904"/>
                <a:gd name="T9" fmla="*/ 401 h 497"/>
                <a:gd name="T10" fmla="*/ 195 w 904"/>
                <a:gd name="T11" fmla="*/ 422 h 497"/>
                <a:gd name="T12" fmla="*/ 64 w 904"/>
                <a:gd name="T13" fmla="*/ 455 h 497"/>
                <a:gd name="T14" fmla="*/ 0 w 904"/>
                <a:gd name="T15" fmla="*/ 394 h 497"/>
                <a:gd name="T16" fmla="*/ 145 w 904"/>
                <a:gd name="T17" fmla="*/ 217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4" h="497">
                  <a:moveTo>
                    <a:pt x="145" y="217"/>
                  </a:moveTo>
                  <a:cubicBezTo>
                    <a:pt x="147" y="226"/>
                    <a:pt x="137" y="271"/>
                    <a:pt x="172" y="263"/>
                  </a:cubicBezTo>
                  <a:cubicBezTo>
                    <a:pt x="207" y="256"/>
                    <a:pt x="360" y="50"/>
                    <a:pt x="562" y="25"/>
                  </a:cubicBezTo>
                  <a:cubicBezTo>
                    <a:pt x="763" y="0"/>
                    <a:pt x="904" y="81"/>
                    <a:pt x="904" y="81"/>
                  </a:cubicBezTo>
                  <a:cubicBezTo>
                    <a:pt x="904" y="81"/>
                    <a:pt x="852" y="304"/>
                    <a:pt x="624" y="401"/>
                  </a:cubicBezTo>
                  <a:cubicBezTo>
                    <a:pt x="401" y="497"/>
                    <a:pt x="305" y="485"/>
                    <a:pt x="195" y="422"/>
                  </a:cubicBezTo>
                  <a:cubicBezTo>
                    <a:pt x="151" y="397"/>
                    <a:pt x="76" y="423"/>
                    <a:pt x="64" y="455"/>
                  </a:cubicBezTo>
                  <a:cubicBezTo>
                    <a:pt x="53" y="486"/>
                    <a:pt x="0" y="398"/>
                    <a:pt x="0" y="394"/>
                  </a:cubicBezTo>
                  <a:cubicBezTo>
                    <a:pt x="0" y="390"/>
                    <a:pt x="145" y="217"/>
                    <a:pt x="145" y="217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0" name="Freeform 309"/>
            <p:cNvSpPr>
              <a:spLocks/>
            </p:cNvSpPr>
            <p:nvPr/>
          </p:nvSpPr>
          <p:spPr bwMode="auto">
            <a:xfrm>
              <a:off x="6329" y="3744"/>
              <a:ext cx="128" cy="109"/>
            </a:xfrm>
            <a:custGeom>
              <a:avLst/>
              <a:gdLst>
                <a:gd name="T0" fmla="*/ 87 w 789"/>
                <a:gd name="T1" fmla="*/ 388 h 672"/>
                <a:gd name="T2" fmla="*/ 127 w 789"/>
                <a:gd name="T3" fmla="*/ 424 h 672"/>
                <a:gd name="T4" fmla="*/ 430 w 789"/>
                <a:gd name="T5" fmla="*/ 82 h 672"/>
                <a:gd name="T6" fmla="*/ 774 w 789"/>
                <a:gd name="T7" fmla="*/ 37 h 672"/>
                <a:gd name="T8" fmla="*/ 600 w 789"/>
                <a:gd name="T9" fmla="*/ 424 h 672"/>
                <a:gd name="T10" fmla="*/ 196 w 789"/>
                <a:gd name="T11" fmla="*/ 569 h 672"/>
                <a:gd name="T12" fmla="*/ 80 w 789"/>
                <a:gd name="T13" fmla="*/ 639 h 672"/>
                <a:gd name="T14" fmla="*/ 1 w 789"/>
                <a:gd name="T15" fmla="*/ 600 h 672"/>
                <a:gd name="T16" fmla="*/ 87 w 789"/>
                <a:gd name="T17" fmla="*/ 388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9" h="672">
                  <a:moveTo>
                    <a:pt x="87" y="388"/>
                  </a:moveTo>
                  <a:cubicBezTo>
                    <a:pt x="93" y="396"/>
                    <a:pt x="96" y="442"/>
                    <a:pt x="127" y="424"/>
                  </a:cubicBezTo>
                  <a:cubicBezTo>
                    <a:pt x="158" y="407"/>
                    <a:pt x="245" y="165"/>
                    <a:pt x="430" y="82"/>
                  </a:cubicBezTo>
                  <a:cubicBezTo>
                    <a:pt x="615" y="0"/>
                    <a:pt x="774" y="37"/>
                    <a:pt x="774" y="37"/>
                  </a:cubicBezTo>
                  <a:cubicBezTo>
                    <a:pt x="774" y="37"/>
                    <a:pt x="789" y="264"/>
                    <a:pt x="600" y="424"/>
                  </a:cubicBezTo>
                  <a:cubicBezTo>
                    <a:pt x="414" y="581"/>
                    <a:pt x="319" y="597"/>
                    <a:pt x="196" y="569"/>
                  </a:cubicBezTo>
                  <a:cubicBezTo>
                    <a:pt x="146" y="558"/>
                    <a:pt x="82" y="606"/>
                    <a:pt x="80" y="639"/>
                  </a:cubicBezTo>
                  <a:cubicBezTo>
                    <a:pt x="79" y="672"/>
                    <a:pt x="2" y="603"/>
                    <a:pt x="1" y="600"/>
                  </a:cubicBezTo>
                  <a:cubicBezTo>
                    <a:pt x="0" y="596"/>
                    <a:pt x="87" y="388"/>
                    <a:pt x="87" y="388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1" name="Freeform 310"/>
            <p:cNvSpPr>
              <a:spLocks/>
            </p:cNvSpPr>
            <p:nvPr/>
          </p:nvSpPr>
          <p:spPr bwMode="auto">
            <a:xfrm>
              <a:off x="6344" y="3846"/>
              <a:ext cx="119" cy="121"/>
            </a:xfrm>
            <a:custGeom>
              <a:avLst/>
              <a:gdLst>
                <a:gd name="T0" fmla="*/ 58 w 735"/>
                <a:gd name="T1" fmla="*/ 460 h 742"/>
                <a:gd name="T2" fmla="*/ 102 w 735"/>
                <a:gd name="T3" fmla="*/ 490 h 742"/>
                <a:gd name="T4" fmla="*/ 353 w 735"/>
                <a:gd name="T5" fmla="*/ 109 h 742"/>
                <a:gd name="T6" fmla="*/ 687 w 735"/>
                <a:gd name="T7" fmla="*/ 14 h 742"/>
                <a:gd name="T8" fmla="*/ 570 w 735"/>
                <a:gd name="T9" fmla="*/ 423 h 742"/>
                <a:gd name="T10" fmla="*/ 191 w 735"/>
                <a:gd name="T11" fmla="*/ 624 h 742"/>
                <a:gd name="T12" fmla="*/ 86 w 735"/>
                <a:gd name="T13" fmla="*/ 709 h 742"/>
                <a:gd name="T14" fmla="*/ 2 w 735"/>
                <a:gd name="T15" fmla="*/ 681 h 742"/>
                <a:gd name="T16" fmla="*/ 58 w 735"/>
                <a:gd name="T17" fmla="*/ 460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5" h="742">
                  <a:moveTo>
                    <a:pt x="58" y="460"/>
                  </a:moveTo>
                  <a:cubicBezTo>
                    <a:pt x="64" y="467"/>
                    <a:pt x="74" y="511"/>
                    <a:pt x="102" y="490"/>
                  </a:cubicBezTo>
                  <a:cubicBezTo>
                    <a:pt x="130" y="469"/>
                    <a:pt x="182" y="217"/>
                    <a:pt x="353" y="109"/>
                  </a:cubicBezTo>
                  <a:cubicBezTo>
                    <a:pt x="524" y="0"/>
                    <a:pt x="687" y="14"/>
                    <a:pt x="687" y="14"/>
                  </a:cubicBezTo>
                  <a:cubicBezTo>
                    <a:pt x="687" y="14"/>
                    <a:pt x="735" y="237"/>
                    <a:pt x="570" y="423"/>
                  </a:cubicBezTo>
                  <a:cubicBezTo>
                    <a:pt x="408" y="604"/>
                    <a:pt x="316" y="634"/>
                    <a:pt x="191" y="624"/>
                  </a:cubicBezTo>
                  <a:cubicBezTo>
                    <a:pt x="140" y="620"/>
                    <a:pt x="83" y="676"/>
                    <a:pt x="86" y="709"/>
                  </a:cubicBezTo>
                  <a:cubicBezTo>
                    <a:pt x="89" y="742"/>
                    <a:pt x="4" y="685"/>
                    <a:pt x="2" y="681"/>
                  </a:cubicBezTo>
                  <a:cubicBezTo>
                    <a:pt x="0" y="678"/>
                    <a:pt x="58" y="460"/>
                    <a:pt x="58" y="460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2" name="Freeform 311"/>
            <p:cNvSpPr>
              <a:spLocks/>
            </p:cNvSpPr>
            <p:nvPr/>
          </p:nvSpPr>
          <p:spPr bwMode="auto">
            <a:xfrm>
              <a:off x="6385" y="3943"/>
              <a:ext cx="102" cy="136"/>
            </a:xfrm>
            <a:custGeom>
              <a:avLst/>
              <a:gdLst>
                <a:gd name="T0" fmla="*/ 10 w 626"/>
                <a:gd name="T1" fmla="*/ 568 h 837"/>
                <a:gd name="T2" fmla="*/ 60 w 626"/>
                <a:gd name="T3" fmla="*/ 588 h 837"/>
                <a:gd name="T4" fmla="*/ 225 w 626"/>
                <a:gd name="T5" fmla="*/ 163 h 837"/>
                <a:gd name="T6" fmla="*/ 532 w 626"/>
                <a:gd name="T7" fmla="*/ 0 h 837"/>
                <a:gd name="T8" fmla="*/ 503 w 626"/>
                <a:gd name="T9" fmla="*/ 424 h 837"/>
                <a:gd name="T10" fmla="*/ 175 w 626"/>
                <a:gd name="T11" fmla="*/ 700 h 837"/>
                <a:gd name="T12" fmla="*/ 91 w 626"/>
                <a:gd name="T13" fmla="*/ 806 h 837"/>
                <a:gd name="T14" fmla="*/ 3 w 626"/>
                <a:gd name="T15" fmla="*/ 796 h 837"/>
                <a:gd name="T16" fmla="*/ 10 w 626"/>
                <a:gd name="T17" fmla="*/ 568 h 8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6" h="837">
                  <a:moveTo>
                    <a:pt x="10" y="568"/>
                  </a:moveTo>
                  <a:cubicBezTo>
                    <a:pt x="18" y="573"/>
                    <a:pt x="37" y="615"/>
                    <a:pt x="60" y="588"/>
                  </a:cubicBezTo>
                  <a:cubicBezTo>
                    <a:pt x="83" y="561"/>
                    <a:pt x="81" y="304"/>
                    <a:pt x="225" y="163"/>
                  </a:cubicBezTo>
                  <a:cubicBezTo>
                    <a:pt x="370" y="21"/>
                    <a:pt x="532" y="0"/>
                    <a:pt x="532" y="0"/>
                  </a:cubicBezTo>
                  <a:cubicBezTo>
                    <a:pt x="532" y="0"/>
                    <a:pt x="626" y="208"/>
                    <a:pt x="503" y="424"/>
                  </a:cubicBezTo>
                  <a:cubicBezTo>
                    <a:pt x="384" y="635"/>
                    <a:pt x="300" y="684"/>
                    <a:pt x="175" y="700"/>
                  </a:cubicBezTo>
                  <a:cubicBezTo>
                    <a:pt x="125" y="707"/>
                    <a:pt x="81" y="774"/>
                    <a:pt x="91" y="806"/>
                  </a:cubicBezTo>
                  <a:cubicBezTo>
                    <a:pt x="101" y="837"/>
                    <a:pt x="5" y="799"/>
                    <a:pt x="3" y="796"/>
                  </a:cubicBezTo>
                  <a:cubicBezTo>
                    <a:pt x="0" y="793"/>
                    <a:pt x="10" y="568"/>
                    <a:pt x="10" y="568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3" name="Freeform 312"/>
            <p:cNvSpPr>
              <a:spLocks/>
            </p:cNvSpPr>
            <p:nvPr/>
          </p:nvSpPr>
          <p:spPr bwMode="auto">
            <a:xfrm>
              <a:off x="6448" y="4030"/>
              <a:ext cx="82" cy="150"/>
            </a:xfrm>
            <a:custGeom>
              <a:avLst/>
              <a:gdLst>
                <a:gd name="T0" fmla="*/ 0 w 506"/>
                <a:gd name="T1" fmla="*/ 680 h 918"/>
                <a:gd name="T2" fmla="*/ 53 w 506"/>
                <a:gd name="T3" fmla="*/ 687 h 918"/>
                <a:gd name="T4" fmla="*/ 107 w 506"/>
                <a:gd name="T5" fmla="*/ 234 h 918"/>
                <a:gd name="T6" fmla="*/ 363 w 506"/>
                <a:gd name="T7" fmla="*/ 0 h 918"/>
                <a:gd name="T8" fmla="*/ 441 w 506"/>
                <a:gd name="T9" fmla="*/ 418 h 918"/>
                <a:gd name="T10" fmla="*/ 192 w 506"/>
                <a:gd name="T11" fmla="*/ 767 h 918"/>
                <a:gd name="T12" fmla="*/ 137 w 506"/>
                <a:gd name="T13" fmla="*/ 890 h 918"/>
                <a:gd name="T14" fmla="*/ 49 w 506"/>
                <a:gd name="T15" fmla="*/ 903 h 918"/>
                <a:gd name="T16" fmla="*/ 0 w 506"/>
                <a:gd name="T17" fmla="*/ 680 h 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6" h="918">
                  <a:moveTo>
                    <a:pt x="0" y="680"/>
                  </a:moveTo>
                  <a:cubicBezTo>
                    <a:pt x="8" y="683"/>
                    <a:pt x="37" y="719"/>
                    <a:pt x="53" y="687"/>
                  </a:cubicBezTo>
                  <a:cubicBezTo>
                    <a:pt x="69" y="655"/>
                    <a:pt x="2" y="407"/>
                    <a:pt x="107" y="234"/>
                  </a:cubicBezTo>
                  <a:cubicBezTo>
                    <a:pt x="211" y="60"/>
                    <a:pt x="363" y="0"/>
                    <a:pt x="363" y="0"/>
                  </a:cubicBezTo>
                  <a:cubicBezTo>
                    <a:pt x="363" y="0"/>
                    <a:pt x="506" y="178"/>
                    <a:pt x="441" y="418"/>
                  </a:cubicBezTo>
                  <a:cubicBezTo>
                    <a:pt x="378" y="652"/>
                    <a:pt x="309" y="720"/>
                    <a:pt x="192" y="767"/>
                  </a:cubicBezTo>
                  <a:cubicBezTo>
                    <a:pt x="145" y="786"/>
                    <a:pt x="119" y="862"/>
                    <a:pt x="137" y="890"/>
                  </a:cubicBezTo>
                  <a:cubicBezTo>
                    <a:pt x="155" y="918"/>
                    <a:pt x="53" y="905"/>
                    <a:pt x="49" y="903"/>
                  </a:cubicBezTo>
                  <a:cubicBezTo>
                    <a:pt x="46" y="901"/>
                    <a:pt x="0" y="680"/>
                    <a:pt x="0" y="680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4" name="Freeform 313"/>
            <p:cNvSpPr>
              <a:spLocks/>
            </p:cNvSpPr>
            <p:nvPr/>
          </p:nvSpPr>
          <p:spPr bwMode="auto">
            <a:xfrm>
              <a:off x="6522" y="4107"/>
              <a:ext cx="71" cy="155"/>
            </a:xfrm>
            <a:custGeom>
              <a:avLst/>
              <a:gdLst>
                <a:gd name="T0" fmla="*/ 61 w 437"/>
                <a:gd name="T1" fmla="*/ 746 h 953"/>
                <a:gd name="T2" fmla="*/ 114 w 437"/>
                <a:gd name="T3" fmla="*/ 740 h 953"/>
                <a:gd name="T4" fmla="*/ 62 w 437"/>
                <a:gd name="T5" fmla="*/ 287 h 953"/>
                <a:gd name="T6" fmla="*/ 257 w 437"/>
                <a:gd name="T7" fmla="*/ 0 h 953"/>
                <a:gd name="T8" fmla="*/ 430 w 437"/>
                <a:gd name="T9" fmla="*/ 389 h 953"/>
                <a:gd name="T10" fmla="*/ 268 w 437"/>
                <a:gd name="T11" fmla="*/ 786 h 953"/>
                <a:gd name="T12" fmla="*/ 243 w 437"/>
                <a:gd name="T13" fmla="*/ 918 h 953"/>
                <a:gd name="T14" fmla="*/ 161 w 437"/>
                <a:gd name="T15" fmla="*/ 951 h 953"/>
                <a:gd name="T16" fmla="*/ 61 w 437"/>
                <a:gd name="T17" fmla="*/ 745 h 953"/>
                <a:gd name="T18" fmla="*/ 61 w 437"/>
                <a:gd name="T19" fmla="*/ 746 h 9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7" h="953">
                  <a:moveTo>
                    <a:pt x="61" y="746"/>
                  </a:moveTo>
                  <a:cubicBezTo>
                    <a:pt x="70" y="747"/>
                    <a:pt x="106" y="775"/>
                    <a:pt x="114" y="740"/>
                  </a:cubicBezTo>
                  <a:cubicBezTo>
                    <a:pt x="122" y="706"/>
                    <a:pt x="0" y="480"/>
                    <a:pt x="62" y="287"/>
                  </a:cubicBezTo>
                  <a:cubicBezTo>
                    <a:pt x="123" y="94"/>
                    <a:pt x="257" y="0"/>
                    <a:pt x="257" y="0"/>
                  </a:cubicBezTo>
                  <a:cubicBezTo>
                    <a:pt x="257" y="0"/>
                    <a:pt x="437" y="141"/>
                    <a:pt x="430" y="389"/>
                  </a:cubicBezTo>
                  <a:cubicBezTo>
                    <a:pt x="423" y="631"/>
                    <a:pt x="371" y="713"/>
                    <a:pt x="268" y="786"/>
                  </a:cubicBezTo>
                  <a:cubicBezTo>
                    <a:pt x="227" y="815"/>
                    <a:pt x="219" y="895"/>
                    <a:pt x="243" y="918"/>
                  </a:cubicBezTo>
                  <a:cubicBezTo>
                    <a:pt x="267" y="942"/>
                    <a:pt x="165" y="953"/>
                    <a:pt x="161" y="951"/>
                  </a:cubicBezTo>
                  <a:cubicBezTo>
                    <a:pt x="157" y="950"/>
                    <a:pt x="61" y="745"/>
                    <a:pt x="61" y="745"/>
                  </a:cubicBezTo>
                  <a:lnTo>
                    <a:pt x="61" y="746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5" name="Freeform 314"/>
            <p:cNvSpPr>
              <a:spLocks/>
            </p:cNvSpPr>
            <p:nvPr/>
          </p:nvSpPr>
          <p:spPr bwMode="auto">
            <a:xfrm>
              <a:off x="6612" y="4171"/>
              <a:ext cx="73" cy="153"/>
            </a:xfrm>
            <a:custGeom>
              <a:avLst/>
              <a:gdLst>
                <a:gd name="T0" fmla="*/ 131 w 448"/>
                <a:gd name="T1" fmla="*/ 770 h 941"/>
                <a:gd name="T2" fmla="*/ 181 w 448"/>
                <a:gd name="T3" fmla="*/ 751 h 941"/>
                <a:gd name="T4" fmla="*/ 6 w 448"/>
                <a:gd name="T5" fmla="*/ 329 h 941"/>
                <a:gd name="T6" fmla="*/ 115 w 448"/>
                <a:gd name="T7" fmla="*/ 0 h 941"/>
                <a:gd name="T8" fmla="*/ 388 w 448"/>
                <a:gd name="T9" fmla="*/ 326 h 941"/>
                <a:gd name="T10" fmla="*/ 342 w 448"/>
                <a:gd name="T11" fmla="*/ 752 h 941"/>
                <a:gd name="T12" fmla="*/ 354 w 448"/>
                <a:gd name="T13" fmla="*/ 887 h 941"/>
                <a:gd name="T14" fmla="*/ 284 w 448"/>
                <a:gd name="T15" fmla="*/ 941 h 941"/>
                <a:gd name="T16" fmla="*/ 131 w 448"/>
                <a:gd name="T17" fmla="*/ 770 h 9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8" h="941">
                  <a:moveTo>
                    <a:pt x="131" y="770"/>
                  </a:moveTo>
                  <a:cubicBezTo>
                    <a:pt x="141" y="769"/>
                    <a:pt x="183" y="786"/>
                    <a:pt x="181" y="751"/>
                  </a:cubicBezTo>
                  <a:cubicBezTo>
                    <a:pt x="180" y="715"/>
                    <a:pt x="0" y="532"/>
                    <a:pt x="6" y="329"/>
                  </a:cubicBezTo>
                  <a:cubicBezTo>
                    <a:pt x="12" y="127"/>
                    <a:pt x="115" y="0"/>
                    <a:pt x="115" y="0"/>
                  </a:cubicBezTo>
                  <a:cubicBezTo>
                    <a:pt x="115" y="0"/>
                    <a:pt x="327" y="86"/>
                    <a:pt x="388" y="326"/>
                  </a:cubicBezTo>
                  <a:cubicBezTo>
                    <a:pt x="448" y="561"/>
                    <a:pt x="421" y="654"/>
                    <a:pt x="342" y="752"/>
                  </a:cubicBezTo>
                  <a:cubicBezTo>
                    <a:pt x="310" y="792"/>
                    <a:pt x="325" y="871"/>
                    <a:pt x="354" y="887"/>
                  </a:cubicBezTo>
                  <a:cubicBezTo>
                    <a:pt x="383" y="902"/>
                    <a:pt x="288" y="941"/>
                    <a:pt x="284" y="941"/>
                  </a:cubicBezTo>
                  <a:cubicBezTo>
                    <a:pt x="280" y="940"/>
                    <a:pt x="131" y="770"/>
                    <a:pt x="131" y="770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" name="Freeform 315"/>
            <p:cNvSpPr>
              <a:spLocks/>
            </p:cNvSpPr>
            <p:nvPr/>
          </p:nvSpPr>
          <p:spPr bwMode="auto">
            <a:xfrm>
              <a:off x="6708" y="4224"/>
              <a:ext cx="88" cy="142"/>
            </a:xfrm>
            <a:custGeom>
              <a:avLst/>
              <a:gdLst>
                <a:gd name="T0" fmla="*/ 270 w 546"/>
                <a:gd name="T1" fmla="*/ 744 h 873"/>
                <a:gd name="T2" fmla="*/ 314 w 546"/>
                <a:gd name="T3" fmla="*/ 713 h 873"/>
                <a:gd name="T4" fmla="*/ 43 w 546"/>
                <a:gd name="T5" fmla="*/ 345 h 873"/>
                <a:gd name="T6" fmla="*/ 70 w 546"/>
                <a:gd name="T7" fmla="*/ 0 h 873"/>
                <a:gd name="T8" fmla="*/ 413 w 546"/>
                <a:gd name="T9" fmla="*/ 251 h 873"/>
                <a:gd name="T10" fmla="*/ 470 w 546"/>
                <a:gd name="T11" fmla="*/ 676 h 873"/>
                <a:gd name="T12" fmla="*/ 514 w 546"/>
                <a:gd name="T13" fmla="*/ 803 h 873"/>
                <a:gd name="T14" fmla="*/ 459 w 546"/>
                <a:gd name="T15" fmla="*/ 873 h 873"/>
                <a:gd name="T16" fmla="*/ 270 w 546"/>
                <a:gd name="T17" fmla="*/ 744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6" h="873">
                  <a:moveTo>
                    <a:pt x="270" y="744"/>
                  </a:moveTo>
                  <a:cubicBezTo>
                    <a:pt x="279" y="740"/>
                    <a:pt x="324" y="747"/>
                    <a:pt x="314" y="713"/>
                  </a:cubicBezTo>
                  <a:cubicBezTo>
                    <a:pt x="303" y="679"/>
                    <a:pt x="85" y="543"/>
                    <a:pt x="43" y="345"/>
                  </a:cubicBezTo>
                  <a:cubicBezTo>
                    <a:pt x="0" y="147"/>
                    <a:pt x="70" y="0"/>
                    <a:pt x="70" y="0"/>
                  </a:cubicBezTo>
                  <a:cubicBezTo>
                    <a:pt x="70" y="0"/>
                    <a:pt x="296" y="32"/>
                    <a:pt x="413" y="251"/>
                  </a:cubicBezTo>
                  <a:cubicBezTo>
                    <a:pt x="527" y="465"/>
                    <a:pt x="523" y="562"/>
                    <a:pt x="470" y="676"/>
                  </a:cubicBezTo>
                  <a:cubicBezTo>
                    <a:pt x="449" y="722"/>
                    <a:pt x="481" y="795"/>
                    <a:pt x="514" y="803"/>
                  </a:cubicBezTo>
                  <a:cubicBezTo>
                    <a:pt x="546" y="812"/>
                    <a:pt x="463" y="872"/>
                    <a:pt x="459" y="873"/>
                  </a:cubicBezTo>
                  <a:cubicBezTo>
                    <a:pt x="455" y="873"/>
                    <a:pt x="270" y="744"/>
                    <a:pt x="270" y="744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7" name="Freeform 316"/>
            <p:cNvSpPr>
              <a:spLocks/>
            </p:cNvSpPr>
            <p:nvPr/>
          </p:nvSpPr>
          <p:spPr bwMode="auto">
            <a:xfrm>
              <a:off x="6222" y="3654"/>
              <a:ext cx="118" cy="135"/>
            </a:xfrm>
            <a:custGeom>
              <a:avLst/>
              <a:gdLst>
                <a:gd name="T0" fmla="*/ 606 w 725"/>
                <a:gd name="T1" fmla="*/ 828 h 828"/>
                <a:gd name="T2" fmla="*/ 512 w 725"/>
                <a:gd name="T3" fmla="*/ 759 h 828"/>
                <a:gd name="T4" fmla="*/ 134 w 725"/>
                <a:gd name="T5" fmla="*/ 590 h 828"/>
                <a:gd name="T6" fmla="*/ 23 w 725"/>
                <a:gd name="T7" fmla="*/ 0 h 828"/>
                <a:gd name="T8" fmla="*/ 459 w 725"/>
                <a:gd name="T9" fmla="*/ 244 h 828"/>
                <a:gd name="T10" fmla="*/ 637 w 725"/>
                <a:gd name="T11" fmla="*/ 509 h 828"/>
                <a:gd name="T12" fmla="*/ 725 w 725"/>
                <a:gd name="T13" fmla="*/ 559 h 828"/>
                <a:gd name="T14" fmla="*/ 704 w 725"/>
                <a:gd name="T15" fmla="*/ 706 h 828"/>
                <a:gd name="T16" fmla="*/ 606 w 725"/>
                <a:gd name="T17" fmla="*/ 828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5" h="828">
                  <a:moveTo>
                    <a:pt x="606" y="828"/>
                  </a:moveTo>
                  <a:cubicBezTo>
                    <a:pt x="606" y="828"/>
                    <a:pt x="597" y="763"/>
                    <a:pt x="512" y="759"/>
                  </a:cubicBezTo>
                  <a:cubicBezTo>
                    <a:pt x="427" y="754"/>
                    <a:pt x="211" y="801"/>
                    <a:pt x="134" y="590"/>
                  </a:cubicBezTo>
                  <a:cubicBezTo>
                    <a:pt x="81" y="443"/>
                    <a:pt x="0" y="137"/>
                    <a:pt x="23" y="0"/>
                  </a:cubicBezTo>
                  <a:cubicBezTo>
                    <a:pt x="174" y="30"/>
                    <a:pt x="343" y="91"/>
                    <a:pt x="459" y="244"/>
                  </a:cubicBezTo>
                  <a:cubicBezTo>
                    <a:pt x="526" y="333"/>
                    <a:pt x="580" y="608"/>
                    <a:pt x="637" y="509"/>
                  </a:cubicBezTo>
                  <a:cubicBezTo>
                    <a:pt x="647" y="478"/>
                    <a:pt x="725" y="559"/>
                    <a:pt x="725" y="559"/>
                  </a:cubicBezTo>
                  <a:lnTo>
                    <a:pt x="704" y="706"/>
                  </a:lnTo>
                  <a:lnTo>
                    <a:pt x="606" y="828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8" name="Freeform 317"/>
            <p:cNvSpPr>
              <a:spLocks/>
            </p:cNvSpPr>
            <p:nvPr/>
          </p:nvSpPr>
          <p:spPr bwMode="auto">
            <a:xfrm>
              <a:off x="6205" y="3796"/>
              <a:ext cx="135" cy="121"/>
            </a:xfrm>
            <a:custGeom>
              <a:avLst/>
              <a:gdLst>
                <a:gd name="T0" fmla="*/ 759 w 826"/>
                <a:gd name="T1" fmla="*/ 676 h 742"/>
                <a:gd name="T2" fmla="*/ 652 w 826"/>
                <a:gd name="T3" fmla="*/ 630 h 742"/>
                <a:gd name="T4" fmla="*/ 245 w 826"/>
                <a:gd name="T5" fmla="*/ 555 h 742"/>
                <a:gd name="T6" fmla="*/ 0 w 826"/>
                <a:gd name="T7" fmla="*/ 6 h 742"/>
                <a:gd name="T8" fmla="*/ 480 w 826"/>
                <a:gd name="T9" fmla="*/ 143 h 742"/>
                <a:gd name="T10" fmla="*/ 715 w 826"/>
                <a:gd name="T11" fmla="*/ 358 h 742"/>
                <a:gd name="T12" fmla="*/ 812 w 826"/>
                <a:gd name="T13" fmla="*/ 387 h 742"/>
                <a:gd name="T14" fmla="*/ 826 w 826"/>
                <a:gd name="T15" fmla="*/ 535 h 742"/>
                <a:gd name="T16" fmla="*/ 759 w 826"/>
                <a:gd name="T17" fmla="*/ 676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6" h="742">
                  <a:moveTo>
                    <a:pt x="759" y="676"/>
                  </a:moveTo>
                  <a:cubicBezTo>
                    <a:pt x="759" y="676"/>
                    <a:pt x="736" y="615"/>
                    <a:pt x="652" y="630"/>
                  </a:cubicBezTo>
                  <a:cubicBezTo>
                    <a:pt x="569" y="646"/>
                    <a:pt x="369" y="742"/>
                    <a:pt x="245" y="555"/>
                  </a:cubicBezTo>
                  <a:cubicBezTo>
                    <a:pt x="159" y="424"/>
                    <a:pt x="9" y="144"/>
                    <a:pt x="0" y="6"/>
                  </a:cubicBezTo>
                  <a:cubicBezTo>
                    <a:pt x="153" y="0"/>
                    <a:pt x="332" y="20"/>
                    <a:pt x="480" y="143"/>
                  </a:cubicBezTo>
                  <a:cubicBezTo>
                    <a:pt x="567" y="214"/>
                    <a:pt x="683" y="468"/>
                    <a:pt x="715" y="358"/>
                  </a:cubicBezTo>
                  <a:cubicBezTo>
                    <a:pt x="718" y="326"/>
                    <a:pt x="812" y="387"/>
                    <a:pt x="812" y="387"/>
                  </a:cubicBezTo>
                  <a:lnTo>
                    <a:pt x="826" y="535"/>
                  </a:lnTo>
                  <a:lnTo>
                    <a:pt x="759" y="676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9" name="Freeform 318"/>
            <p:cNvSpPr>
              <a:spLocks/>
            </p:cNvSpPr>
            <p:nvPr/>
          </p:nvSpPr>
          <p:spPr bwMode="auto">
            <a:xfrm>
              <a:off x="6221" y="3932"/>
              <a:ext cx="147" cy="114"/>
            </a:xfrm>
            <a:custGeom>
              <a:avLst/>
              <a:gdLst>
                <a:gd name="T0" fmla="*/ 870 w 910"/>
                <a:gd name="T1" fmla="*/ 567 h 703"/>
                <a:gd name="T2" fmla="*/ 756 w 910"/>
                <a:gd name="T3" fmla="*/ 541 h 703"/>
                <a:gd name="T4" fmla="*/ 342 w 910"/>
                <a:gd name="T5" fmla="*/ 541 h 703"/>
                <a:gd name="T6" fmla="*/ 0 w 910"/>
                <a:gd name="T7" fmla="*/ 47 h 703"/>
                <a:gd name="T8" fmla="*/ 498 w 910"/>
                <a:gd name="T9" fmla="*/ 93 h 703"/>
                <a:gd name="T10" fmla="*/ 768 w 910"/>
                <a:gd name="T11" fmla="*/ 263 h 703"/>
                <a:gd name="T12" fmla="*/ 869 w 910"/>
                <a:gd name="T13" fmla="*/ 274 h 703"/>
                <a:gd name="T14" fmla="*/ 910 w 910"/>
                <a:gd name="T15" fmla="*/ 416 h 703"/>
                <a:gd name="T16" fmla="*/ 870 w 910"/>
                <a:gd name="T17" fmla="*/ 567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0" h="703">
                  <a:moveTo>
                    <a:pt x="870" y="567"/>
                  </a:moveTo>
                  <a:cubicBezTo>
                    <a:pt x="870" y="567"/>
                    <a:pt x="835" y="511"/>
                    <a:pt x="756" y="541"/>
                  </a:cubicBezTo>
                  <a:cubicBezTo>
                    <a:pt x="677" y="572"/>
                    <a:pt x="498" y="703"/>
                    <a:pt x="342" y="541"/>
                  </a:cubicBezTo>
                  <a:cubicBezTo>
                    <a:pt x="233" y="428"/>
                    <a:pt x="35" y="181"/>
                    <a:pt x="0" y="47"/>
                  </a:cubicBezTo>
                  <a:cubicBezTo>
                    <a:pt x="150" y="13"/>
                    <a:pt x="330" y="0"/>
                    <a:pt x="498" y="93"/>
                  </a:cubicBezTo>
                  <a:cubicBezTo>
                    <a:pt x="596" y="147"/>
                    <a:pt x="756" y="376"/>
                    <a:pt x="768" y="263"/>
                  </a:cubicBezTo>
                  <a:cubicBezTo>
                    <a:pt x="765" y="230"/>
                    <a:pt x="869" y="274"/>
                    <a:pt x="869" y="274"/>
                  </a:cubicBezTo>
                  <a:lnTo>
                    <a:pt x="910" y="416"/>
                  </a:lnTo>
                  <a:lnTo>
                    <a:pt x="870" y="567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0" name="Freeform 319"/>
            <p:cNvSpPr>
              <a:spLocks/>
            </p:cNvSpPr>
            <p:nvPr/>
          </p:nvSpPr>
          <p:spPr bwMode="auto">
            <a:xfrm>
              <a:off x="6262" y="4057"/>
              <a:ext cx="156" cy="108"/>
            </a:xfrm>
            <a:custGeom>
              <a:avLst/>
              <a:gdLst>
                <a:gd name="T0" fmla="*/ 944 w 958"/>
                <a:gd name="T1" fmla="*/ 471 h 666"/>
                <a:gd name="T2" fmla="*/ 827 w 958"/>
                <a:gd name="T3" fmla="*/ 465 h 666"/>
                <a:gd name="T4" fmla="*/ 419 w 958"/>
                <a:gd name="T5" fmla="*/ 532 h 666"/>
                <a:gd name="T6" fmla="*/ 0 w 958"/>
                <a:gd name="T7" fmla="*/ 101 h 666"/>
                <a:gd name="T8" fmla="*/ 499 w 958"/>
                <a:gd name="T9" fmla="*/ 65 h 666"/>
                <a:gd name="T10" fmla="*/ 793 w 958"/>
                <a:gd name="T11" fmla="*/ 188 h 666"/>
                <a:gd name="T12" fmla="*/ 894 w 958"/>
                <a:gd name="T13" fmla="*/ 182 h 666"/>
                <a:gd name="T14" fmla="*/ 958 w 958"/>
                <a:gd name="T15" fmla="*/ 315 h 666"/>
                <a:gd name="T16" fmla="*/ 944 w 958"/>
                <a:gd name="T17" fmla="*/ 471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8" h="666">
                  <a:moveTo>
                    <a:pt x="944" y="471"/>
                  </a:moveTo>
                  <a:cubicBezTo>
                    <a:pt x="944" y="471"/>
                    <a:pt x="900" y="421"/>
                    <a:pt x="827" y="465"/>
                  </a:cubicBezTo>
                  <a:cubicBezTo>
                    <a:pt x="754" y="508"/>
                    <a:pt x="599" y="666"/>
                    <a:pt x="419" y="532"/>
                  </a:cubicBezTo>
                  <a:cubicBezTo>
                    <a:pt x="293" y="439"/>
                    <a:pt x="57" y="227"/>
                    <a:pt x="0" y="101"/>
                  </a:cubicBezTo>
                  <a:cubicBezTo>
                    <a:pt x="143" y="42"/>
                    <a:pt x="317" y="0"/>
                    <a:pt x="499" y="65"/>
                  </a:cubicBezTo>
                  <a:cubicBezTo>
                    <a:pt x="604" y="102"/>
                    <a:pt x="800" y="302"/>
                    <a:pt x="793" y="188"/>
                  </a:cubicBezTo>
                  <a:cubicBezTo>
                    <a:pt x="785" y="156"/>
                    <a:pt x="894" y="182"/>
                    <a:pt x="894" y="182"/>
                  </a:cubicBezTo>
                  <a:lnTo>
                    <a:pt x="958" y="315"/>
                  </a:lnTo>
                  <a:lnTo>
                    <a:pt x="944" y="471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1" name="Freeform 320"/>
            <p:cNvSpPr>
              <a:spLocks/>
            </p:cNvSpPr>
            <p:nvPr/>
          </p:nvSpPr>
          <p:spPr bwMode="auto">
            <a:xfrm>
              <a:off x="6335" y="4173"/>
              <a:ext cx="163" cy="96"/>
            </a:xfrm>
            <a:custGeom>
              <a:avLst/>
              <a:gdLst>
                <a:gd name="T0" fmla="*/ 1000 w 1000"/>
                <a:gd name="T1" fmla="*/ 329 h 592"/>
                <a:gd name="T2" fmla="*/ 885 w 1000"/>
                <a:gd name="T3" fmla="*/ 347 h 592"/>
                <a:gd name="T4" fmla="*/ 500 w 1000"/>
                <a:gd name="T5" fmla="*/ 499 h 592"/>
                <a:gd name="T6" fmla="*/ 0 w 1000"/>
                <a:gd name="T7" fmla="*/ 164 h 592"/>
                <a:gd name="T8" fmla="*/ 480 w 1000"/>
                <a:gd name="T9" fmla="*/ 25 h 592"/>
                <a:gd name="T10" fmla="*/ 794 w 1000"/>
                <a:gd name="T11" fmla="*/ 83 h 592"/>
                <a:gd name="T12" fmla="*/ 892 w 1000"/>
                <a:gd name="T13" fmla="*/ 56 h 592"/>
                <a:gd name="T14" fmla="*/ 982 w 1000"/>
                <a:gd name="T15" fmla="*/ 174 h 592"/>
                <a:gd name="T16" fmla="*/ 1000 w 1000"/>
                <a:gd name="T17" fmla="*/ 329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0" h="592">
                  <a:moveTo>
                    <a:pt x="1000" y="329"/>
                  </a:moveTo>
                  <a:cubicBezTo>
                    <a:pt x="1000" y="329"/>
                    <a:pt x="948" y="289"/>
                    <a:pt x="885" y="347"/>
                  </a:cubicBezTo>
                  <a:cubicBezTo>
                    <a:pt x="823" y="404"/>
                    <a:pt x="704" y="592"/>
                    <a:pt x="500" y="499"/>
                  </a:cubicBezTo>
                  <a:cubicBezTo>
                    <a:pt x="357" y="434"/>
                    <a:pt x="82" y="276"/>
                    <a:pt x="0" y="164"/>
                  </a:cubicBezTo>
                  <a:cubicBezTo>
                    <a:pt x="127" y="77"/>
                    <a:pt x="289" y="0"/>
                    <a:pt x="480" y="25"/>
                  </a:cubicBezTo>
                  <a:cubicBezTo>
                    <a:pt x="591" y="39"/>
                    <a:pt x="825" y="193"/>
                    <a:pt x="794" y="83"/>
                  </a:cubicBezTo>
                  <a:cubicBezTo>
                    <a:pt x="779" y="54"/>
                    <a:pt x="892" y="56"/>
                    <a:pt x="892" y="56"/>
                  </a:cubicBezTo>
                  <a:lnTo>
                    <a:pt x="982" y="174"/>
                  </a:lnTo>
                  <a:lnTo>
                    <a:pt x="1000" y="329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2" name="Freeform 321"/>
            <p:cNvSpPr>
              <a:spLocks/>
            </p:cNvSpPr>
            <p:nvPr/>
          </p:nvSpPr>
          <p:spPr bwMode="auto">
            <a:xfrm>
              <a:off x="6425" y="4263"/>
              <a:ext cx="181" cy="91"/>
            </a:xfrm>
            <a:custGeom>
              <a:avLst/>
              <a:gdLst>
                <a:gd name="T0" fmla="*/ 1114 w 1114"/>
                <a:gd name="T1" fmla="*/ 253 h 558"/>
                <a:gd name="T2" fmla="*/ 992 w 1114"/>
                <a:gd name="T3" fmla="*/ 288 h 558"/>
                <a:gd name="T4" fmla="*/ 600 w 1114"/>
                <a:gd name="T5" fmla="*/ 498 h 558"/>
                <a:gd name="T6" fmla="*/ 0 w 1114"/>
                <a:gd name="T7" fmla="*/ 246 h 558"/>
                <a:gd name="T8" fmla="*/ 497 w 1114"/>
                <a:gd name="T9" fmla="*/ 33 h 558"/>
                <a:gd name="T10" fmla="*/ 848 w 1114"/>
                <a:gd name="T11" fmla="*/ 42 h 558"/>
                <a:gd name="T12" fmla="*/ 949 w 1114"/>
                <a:gd name="T13" fmla="*/ 0 h 558"/>
                <a:gd name="T14" fmla="*/ 1068 w 1114"/>
                <a:gd name="T15" fmla="*/ 102 h 558"/>
                <a:gd name="T16" fmla="*/ 1114 w 1114"/>
                <a:gd name="T17" fmla="*/ 253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4" h="558">
                  <a:moveTo>
                    <a:pt x="1114" y="253"/>
                  </a:moveTo>
                  <a:cubicBezTo>
                    <a:pt x="1114" y="253"/>
                    <a:pt x="1050" y="222"/>
                    <a:pt x="992" y="288"/>
                  </a:cubicBezTo>
                  <a:cubicBezTo>
                    <a:pt x="934" y="355"/>
                    <a:pt x="838" y="558"/>
                    <a:pt x="600" y="498"/>
                  </a:cubicBezTo>
                  <a:cubicBezTo>
                    <a:pt x="434" y="456"/>
                    <a:pt x="108" y="344"/>
                    <a:pt x="0" y="246"/>
                  </a:cubicBezTo>
                  <a:cubicBezTo>
                    <a:pt x="123" y="140"/>
                    <a:pt x="286" y="38"/>
                    <a:pt x="497" y="33"/>
                  </a:cubicBezTo>
                  <a:cubicBezTo>
                    <a:pt x="620" y="30"/>
                    <a:pt x="900" y="146"/>
                    <a:pt x="848" y="42"/>
                  </a:cubicBezTo>
                  <a:cubicBezTo>
                    <a:pt x="827" y="16"/>
                    <a:pt x="949" y="0"/>
                    <a:pt x="949" y="0"/>
                  </a:cubicBezTo>
                  <a:lnTo>
                    <a:pt x="1068" y="102"/>
                  </a:lnTo>
                  <a:lnTo>
                    <a:pt x="1114" y="253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3" name="Freeform 322"/>
            <p:cNvSpPr>
              <a:spLocks/>
            </p:cNvSpPr>
            <p:nvPr/>
          </p:nvSpPr>
          <p:spPr bwMode="auto">
            <a:xfrm>
              <a:off x="6321" y="3296"/>
              <a:ext cx="870" cy="1138"/>
            </a:xfrm>
            <a:custGeom>
              <a:avLst/>
              <a:gdLst>
                <a:gd name="T0" fmla="*/ 5070 w 5360"/>
                <a:gd name="T1" fmla="*/ 6995 h 6995"/>
                <a:gd name="T2" fmla="*/ 3920 w 5360"/>
                <a:gd name="T3" fmla="*/ 6712 h 6995"/>
                <a:gd name="T4" fmla="*/ 1271 w 5360"/>
                <a:gd name="T5" fmla="*/ 5868 h 6995"/>
                <a:gd name="T6" fmla="*/ 0 w 5360"/>
                <a:gd name="T7" fmla="*/ 3127 h 6995"/>
                <a:gd name="T8" fmla="*/ 1206 w 5360"/>
                <a:gd name="T9" fmla="*/ 615 h 6995"/>
                <a:gd name="T10" fmla="*/ 2206 w 5360"/>
                <a:gd name="T11" fmla="*/ 15 h 6995"/>
                <a:gd name="T12" fmla="*/ 2234 w 5360"/>
                <a:gd name="T13" fmla="*/ 64 h 6995"/>
                <a:gd name="T14" fmla="*/ 1714 w 5360"/>
                <a:gd name="T15" fmla="*/ 366 h 6995"/>
                <a:gd name="T16" fmla="*/ 1021 w 5360"/>
                <a:gd name="T17" fmla="*/ 942 h 6995"/>
                <a:gd name="T18" fmla="*/ 173 w 5360"/>
                <a:gd name="T19" fmla="*/ 3667 h 6995"/>
                <a:gd name="T20" fmla="*/ 1740 w 5360"/>
                <a:gd name="T21" fmla="*/ 6039 h 6995"/>
                <a:gd name="T22" fmla="*/ 3902 w 5360"/>
                <a:gd name="T23" fmla="*/ 6612 h 6995"/>
                <a:gd name="T24" fmla="*/ 5360 w 5360"/>
                <a:gd name="T25" fmla="*/ 6976 h 6995"/>
                <a:gd name="T26" fmla="*/ 5070 w 5360"/>
                <a:gd name="T27" fmla="*/ 6995 h 6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60" h="6995">
                  <a:moveTo>
                    <a:pt x="5070" y="6995"/>
                  </a:moveTo>
                  <a:cubicBezTo>
                    <a:pt x="5070" y="6995"/>
                    <a:pt x="4817" y="6719"/>
                    <a:pt x="3920" y="6712"/>
                  </a:cubicBezTo>
                  <a:cubicBezTo>
                    <a:pt x="3023" y="6705"/>
                    <a:pt x="2316" y="6660"/>
                    <a:pt x="1271" y="5868"/>
                  </a:cubicBezTo>
                  <a:cubicBezTo>
                    <a:pt x="225" y="5076"/>
                    <a:pt x="0" y="3790"/>
                    <a:pt x="0" y="3127"/>
                  </a:cubicBezTo>
                  <a:cubicBezTo>
                    <a:pt x="0" y="2465"/>
                    <a:pt x="294" y="1337"/>
                    <a:pt x="1206" y="615"/>
                  </a:cubicBezTo>
                  <a:cubicBezTo>
                    <a:pt x="1555" y="338"/>
                    <a:pt x="2104" y="35"/>
                    <a:pt x="2206" y="15"/>
                  </a:cubicBezTo>
                  <a:cubicBezTo>
                    <a:pt x="2280" y="0"/>
                    <a:pt x="2278" y="39"/>
                    <a:pt x="2234" y="64"/>
                  </a:cubicBezTo>
                  <a:cubicBezTo>
                    <a:pt x="2077" y="153"/>
                    <a:pt x="1987" y="185"/>
                    <a:pt x="1714" y="366"/>
                  </a:cubicBezTo>
                  <a:cubicBezTo>
                    <a:pt x="1472" y="526"/>
                    <a:pt x="1215" y="735"/>
                    <a:pt x="1021" y="942"/>
                  </a:cubicBezTo>
                  <a:cubicBezTo>
                    <a:pt x="608" y="1385"/>
                    <a:pt x="6" y="2299"/>
                    <a:pt x="173" y="3667"/>
                  </a:cubicBezTo>
                  <a:cubicBezTo>
                    <a:pt x="340" y="5035"/>
                    <a:pt x="1248" y="5734"/>
                    <a:pt x="1740" y="6039"/>
                  </a:cubicBezTo>
                  <a:cubicBezTo>
                    <a:pt x="2231" y="6344"/>
                    <a:pt x="2930" y="6630"/>
                    <a:pt x="3902" y="6612"/>
                  </a:cubicBezTo>
                  <a:cubicBezTo>
                    <a:pt x="4873" y="6593"/>
                    <a:pt x="5360" y="6976"/>
                    <a:pt x="5360" y="6976"/>
                  </a:cubicBezTo>
                  <a:lnTo>
                    <a:pt x="5070" y="6995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4" name="Freeform 323"/>
            <p:cNvSpPr>
              <a:spLocks/>
            </p:cNvSpPr>
            <p:nvPr/>
          </p:nvSpPr>
          <p:spPr bwMode="auto">
            <a:xfrm>
              <a:off x="7162" y="4335"/>
              <a:ext cx="168" cy="80"/>
            </a:xfrm>
            <a:custGeom>
              <a:avLst/>
              <a:gdLst>
                <a:gd name="T0" fmla="*/ 286 w 1036"/>
                <a:gd name="T1" fmla="*/ 15 h 491"/>
                <a:gd name="T2" fmla="*/ 462 w 1036"/>
                <a:gd name="T3" fmla="*/ 44 h 491"/>
                <a:gd name="T4" fmla="*/ 1036 w 1036"/>
                <a:gd name="T5" fmla="*/ 354 h 491"/>
                <a:gd name="T6" fmla="*/ 386 w 1036"/>
                <a:gd name="T7" fmla="*/ 454 h 491"/>
                <a:gd name="T8" fmla="*/ 0 w 1036"/>
                <a:gd name="T9" fmla="*/ 127 h 491"/>
                <a:gd name="T10" fmla="*/ 75 w 1036"/>
                <a:gd name="T11" fmla="*/ 0 h 491"/>
                <a:gd name="T12" fmla="*/ 286 w 1036"/>
                <a:gd name="T13" fmla="*/ 15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6" h="491">
                  <a:moveTo>
                    <a:pt x="286" y="15"/>
                  </a:moveTo>
                  <a:cubicBezTo>
                    <a:pt x="261" y="77"/>
                    <a:pt x="349" y="42"/>
                    <a:pt x="462" y="44"/>
                  </a:cubicBezTo>
                  <a:cubicBezTo>
                    <a:pt x="656" y="49"/>
                    <a:pt x="824" y="59"/>
                    <a:pt x="1036" y="354"/>
                  </a:cubicBezTo>
                  <a:cubicBezTo>
                    <a:pt x="842" y="415"/>
                    <a:pt x="612" y="491"/>
                    <a:pt x="386" y="454"/>
                  </a:cubicBezTo>
                  <a:cubicBezTo>
                    <a:pt x="131" y="413"/>
                    <a:pt x="166" y="66"/>
                    <a:pt x="0" y="127"/>
                  </a:cubicBezTo>
                  <a:lnTo>
                    <a:pt x="75" y="0"/>
                  </a:lnTo>
                  <a:lnTo>
                    <a:pt x="286" y="15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5" name="Freeform 324"/>
            <p:cNvSpPr>
              <a:spLocks/>
            </p:cNvSpPr>
            <p:nvPr/>
          </p:nvSpPr>
          <p:spPr bwMode="auto">
            <a:xfrm>
              <a:off x="7509" y="3515"/>
              <a:ext cx="99" cy="153"/>
            </a:xfrm>
            <a:custGeom>
              <a:avLst/>
              <a:gdLst>
                <a:gd name="T0" fmla="*/ 178 w 607"/>
                <a:gd name="T1" fmla="*/ 940 h 940"/>
                <a:gd name="T2" fmla="*/ 253 w 607"/>
                <a:gd name="T3" fmla="*/ 851 h 940"/>
                <a:gd name="T4" fmla="*/ 582 w 607"/>
                <a:gd name="T5" fmla="*/ 600 h 940"/>
                <a:gd name="T6" fmla="*/ 553 w 607"/>
                <a:gd name="T7" fmla="*/ 0 h 940"/>
                <a:gd name="T8" fmla="*/ 186 w 607"/>
                <a:gd name="T9" fmla="*/ 338 h 940"/>
                <a:gd name="T10" fmla="*/ 74 w 607"/>
                <a:gd name="T11" fmla="*/ 637 h 940"/>
                <a:gd name="T12" fmla="*/ 0 w 607"/>
                <a:gd name="T13" fmla="*/ 706 h 940"/>
                <a:gd name="T14" fmla="*/ 54 w 607"/>
                <a:gd name="T15" fmla="*/ 844 h 940"/>
                <a:gd name="T16" fmla="*/ 178 w 607"/>
                <a:gd name="T17" fmla="*/ 940 h 9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7" h="940">
                  <a:moveTo>
                    <a:pt x="178" y="940"/>
                  </a:moveTo>
                  <a:cubicBezTo>
                    <a:pt x="178" y="940"/>
                    <a:pt x="171" y="875"/>
                    <a:pt x="253" y="851"/>
                  </a:cubicBezTo>
                  <a:cubicBezTo>
                    <a:pt x="335" y="827"/>
                    <a:pt x="556" y="823"/>
                    <a:pt x="582" y="600"/>
                  </a:cubicBezTo>
                  <a:cubicBezTo>
                    <a:pt x="600" y="444"/>
                    <a:pt x="607" y="127"/>
                    <a:pt x="553" y="0"/>
                  </a:cubicBezTo>
                  <a:cubicBezTo>
                    <a:pt x="413" y="64"/>
                    <a:pt x="263" y="162"/>
                    <a:pt x="186" y="338"/>
                  </a:cubicBezTo>
                  <a:cubicBezTo>
                    <a:pt x="141" y="441"/>
                    <a:pt x="152" y="720"/>
                    <a:pt x="74" y="637"/>
                  </a:cubicBezTo>
                  <a:cubicBezTo>
                    <a:pt x="57" y="609"/>
                    <a:pt x="0" y="706"/>
                    <a:pt x="0" y="706"/>
                  </a:cubicBezTo>
                  <a:lnTo>
                    <a:pt x="54" y="844"/>
                  </a:lnTo>
                  <a:lnTo>
                    <a:pt x="178" y="940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6" name="Freeform 325"/>
            <p:cNvSpPr>
              <a:spLocks/>
            </p:cNvSpPr>
            <p:nvPr/>
          </p:nvSpPr>
          <p:spPr bwMode="auto">
            <a:xfrm>
              <a:off x="7457" y="3388"/>
              <a:ext cx="91" cy="165"/>
            </a:xfrm>
            <a:custGeom>
              <a:avLst/>
              <a:gdLst>
                <a:gd name="T0" fmla="*/ 209 w 559"/>
                <a:gd name="T1" fmla="*/ 1011 h 1011"/>
                <a:gd name="T2" fmla="*/ 536 w 559"/>
                <a:gd name="T3" fmla="*/ 643 h 1011"/>
                <a:gd name="T4" fmla="*/ 353 w 559"/>
                <a:gd name="T5" fmla="*/ 0 h 1011"/>
                <a:gd name="T6" fmla="*/ 116 w 559"/>
                <a:gd name="T7" fmla="*/ 444 h 1011"/>
                <a:gd name="T8" fmla="*/ 29 w 559"/>
                <a:gd name="T9" fmla="*/ 714 h 1011"/>
                <a:gd name="T10" fmla="*/ 0 w 559"/>
                <a:gd name="T11" fmla="*/ 826 h 1011"/>
                <a:gd name="T12" fmla="*/ 209 w 559"/>
                <a:gd name="T13" fmla="*/ 1011 h 1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9" h="1011">
                  <a:moveTo>
                    <a:pt x="209" y="1011"/>
                  </a:moveTo>
                  <a:cubicBezTo>
                    <a:pt x="189" y="846"/>
                    <a:pt x="514" y="959"/>
                    <a:pt x="536" y="643"/>
                  </a:cubicBezTo>
                  <a:cubicBezTo>
                    <a:pt x="559" y="310"/>
                    <a:pt x="442" y="217"/>
                    <a:pt x="353" y="0"/>
                  </a:cubicBezTo>
                  <a:cubicBezTo>
                    <a:pt x="236" y="112"/>
                    <a:pt x="160" y="232"/>
                    <a:pt x="116" y="444"/>
                  </a:cubicBezTo>
                  <a:cubicBezTo>
                    <a:pt x="92" y="556"/>
                    <a:pt x="178" y="810"/>
                    <a:pt x="29" y="714"/>
                  </a:cubicBezTo>
                  <a:cubicBezTo>
                    <a:pt x="15" y="699"/>
                    <a:pt x="0" y="826"/>
                    <a:pt x="0" y="826"/>
                  </a:cubicBezTo>
                  <a:lnTo>
                    <a:pt x="209" y="1011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7" name="Freeform 326"/>
            <p:cNvSpPr>
              <a:spLocks/>
            </p:cNvSpPr>
            <p:nvPr/>
          </p:nvSpPr>
          <p:spPr bwMode="auto">
            <a:xfrm>
              <a:off x="7385" y="3291"/>
              <a:ext cx="79" cy="159"/>
            </a:xfrm>
            <a:custGeom>
              <a:avLst/>
              <a:gdLst>
                <a:gd name="T0" fmla="*/ 220 w 487"/>
                <a:gd name="T1" fmla="*/ 977 h 977"/>
                <a:gd name="T2" fmla="*/ 487 w 487"/>
                <a:gd name="T3" fmla="*/ 601 h 977"/>
                <a:gd name="T4" fmla="*/ 179 w 487"/>
                <a:gd name="T5" fmla="*/ 0 h 977"/>
                <a:gd name="T6" fmla="*/ 8 w 487"/>
                <a:gd name="T7" fmla="*/ 455 h 977"/>
                <a:gd name="T8" fmla="*/ 56 w 487"/>
                <a:gd name="T9" fmla="*/ 756 h 977"/>
                <a:gd name="T10" fmla="*/ 19 w 487"/>
                <a:gd name="T11" fmla="*/ 776 h 977"/>
                <a:gd name="T12" fmla="*/ 44 w 487"/>
                <a:gd name="T13" fmla="*/ 894 h 977"/>
                <a:gd name="T14" fmla="*/ 220 w 487"/>
                <a:gd name="T15" fmla="*/ 977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7" h="977">
                  <a:moveTo>
                    <a:pt x="220" y="977"/>
                  </a:moveTo>
                  <a:cubicBezTo>
                    <a:pt x="183" y="885"/>
                    <a:pt x="487" y="869"/>
                    <a:pt x="487" y="601"/>
                  </a:cubicBezTo>
                  <a:cubicBezTo>
                    <a:pt x="474" y="365"/>
                    <a:pt x="313" y="272"/>
                    <a:pt x="179" y="0"/>
                  </a:cubicBezTo>
                  <a:cubicBezTo>
                    <a:pt x="55" y="131"/>
                    <a:pt x="0" y="313"/>
                    <a:pt x="8" y="455"/>
                  </a:cubicBezTo>
                  <a:cubicBezTo>
                    <a:pt x="21" y="660"/>
                    <a:pt x="79" y="695"/>
                    <a:pt x="56" y="756"/>
                  </a:cubicBezTo>
                  <a:cubicBezTo>
                    <a:pt x="47" y="781"/>
                    <a:pt x="31" y="783"/>
                    <a:pt x="19" y="776"/>
                  </a:cubicBezTo>
                  <a:cubicBezTo>
                    <a:pt x="7" y="770"/>
                    <a:pt x="44" y="894"/>
                    <a:pt x="44" y="894"/>
                  </a:cubicBezTo>
                  <a:lnTo>
                    <a:pt x="220" y="977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8" name="Freeform 327"/>
            <p:cNvSpPr>
              <a:spLocks/>
            </p:cNvSpPr>
            <p:nvPr/>
          </p:nvSpPr>
          <p:spPr bwMode="auto">
            <a:xfrm>
              <a:off x="7269" y="3221"/>
              <a:ext cx="87" cy="153"/>
            </a:xfrm>
            <a:custGeom>
              <a:avLst/>
              <a:gdLst>
                <a:gd name="T0" fmla="*/ 385 w 534"/>
                <a:gd name="T1" fmla="*/ 937 h 937"/>
                <a:gd name="T2" fmla="*/ 373 w 534"/>
                <a:gd name="T3" fmla="*/ 833 h 937"/>
                <a:gd name="T4" fmla="*/ 528 w 534"/>
                <a:gd name="T5" fmla="*/ 552 h 937"/>
                <a:gd name="T6" fmla="*/ 316 w 534"/>
                <a:gd name="T7" fmla="*/ 163 h 937"/>
                <a:gd name="T8" fmla="*/ 75 w 534"/>
                <a:gd name="T9" fmla="*/ 0 h 937"/>
                <a:gd name="T10" fmla="*/ 24 w 534"/>
                <a:gd name="T11" fmla="*/ 378 h 937"/>
                <a:gd name="T12" fmla="*/ 159 w 534"/>
                <a:gd name="T13" fmla="*/ 788 h 937"/>
                <a:gd name="T14" fmla="*/ 152 w 534"/>
                <a:gd name="T15" fmla="*/ 836 h 937"/>
                <a:gd name="T16" fmla="*/ 250 w 534"/>
                <a:gd name="T17" fmla="*/ 901 h 937"/>
                <a:gd name="T18" fmla="*/ 385 w 534"/>
                <a:gd name="T19" fmla="*/ 937 h 9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4" h="937">
                  <a:moveTo>
                    <a:pt x="385" y="937"/>
                  </a:moveTo>
                  <a:cubicBezTo>
                    <a:pt x="355" y="908"/>
                    <a:pt x="353" y="876"/>
                    <a:pt x="373" y="833"/>
                  </a:cubicBezTo>
                  <a:cubicBezTo>
                    <a:pt x="394" y="788"/>
                    <a:pt x="534" y="681"/>
                    <a:pt x="528" y="552"/>
                  </a:cubicBezTo>
                  <a:cubicBezTo>
                    <a:pt x="522" y="424"/>
                    <a:pt x="421" y="285"/>
                    <a:pt x="316" y="163"/>
                  </a:cubicBezTo>
                  <a:cubicBezTo>
                    <a:pt x="218" y="50"/>
                    <a:pt x="117" y="15"/>
                    <a:pt x="75" y="0"/>
                  </a:cubicBezTo>
                  <a:cubicBezTo>
                    <a:pt x="34" y="209"/>
                    <a:pt x="0" y="238"/>
                    <a:pt x="24" y="378"/>
                  </a:cubicBezTo>
                  <a:cubicBezTo>
                    <a:pt x="75" y="665"/>
                    <a:pt x="253" y="766"/>
                    <a:pt x="159" y="788"/>
                  </a:cubicBezTo>
                  <a:cubicBezTo>
                    <a:pt x="122" y="773"/>
                    <a:pt x="152" y="836"/>
                    <a:pt x="152" y="836"/>
                  </a:cubicBezTo>
                  <a:lnTo>
                    <a:pt x="250" y="901"/>
                  </a:lnTo>
                  <a:lnTo>
                    <a:pt x="385" y="937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9" name="Freeform 328"/>
            <p:cNvSpPr>
              <a:spLocks/>
            </p:cNvSpPr>
            <p:nvPr/>
          </p:nvSpPr>
          <p:spPr bwMode="auto">
            <a:xfrm>
              <a:off x="7167" y="3197"/>
              <a:ext cx="85" cy="117"/>
            </a:xfrm>
            <a:custGeom>
              <a:avLst/>
              <a:gdLst>
                <a:gd name="T0" fmla="*/ 430 w 526"/>
                <a:gd name="T1" fmla="*/ 719 h 719"/>
                <a:gd name="T2" fmla="*/ 433 w 526"/>
                <a:gd name="T3" fmla="*/ 639 h 719"/>
                <a:gd name="T4" fmla="*/ 510 w 526"/>
                <a:gd name="T5" fmla="*/ 442 h 719"/>
                <a:gd name="T6" fmla="*/ 239 w 526"/>
                <a:gd name="T7" fmla="*/ 126 h 719"/>
                <a:gd name="T8" fmla="*/ 101 w 526"/>
                <a:gd name="T9" fmla="*/ 0 h 719"/>
                <a:gd name="T10" fmla="*/ 123 w 526"/>
                <a:gd name="T11" fmla="*/ 427 h 719"/>
                <a:gd name="T12" fmla="*/ 235 w 526"/>
                <a:gd name="T13" fmla="*/ 548 h 719"/>
                <a:gd name="T14" fmla="*/ 233 w 526"/>
                <a:gd name="T15" fmla="*/ 627 h 719"/>
                <a:gd name="T16" fmla="*/ 294 w 526"/>
                <a:gd name="T17" fmla="*/ 687 h 719"/>
                <a:gd name="T18" fmla="*/ 430 w 526"/>
                <a:gd name="T19" fmla="*/ 719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6" h="719">
                  <a:moveTo>
                    <a:pt x="430" y="719"/>
                  </a:moveTo>
                  <a:cubicBezTo>
                    <a:pt x="413" y="696"/>
                    <a:pt x="414" y="655"/>
                    <a:pt x="433" y="639"/>
                  </a:cubicBezTo>
                  <a:cubicBezTo>
                    <a:pt x="452" y="622"/>
                    <a:pt x="526" y="520"/>
                    <a:pt x="510" y="442"/>
                  </a:cubicBezTo>
                  <a:cubicBezTo>
                    <a:pt x="477" y="275"/>
                    <a:pt x="300" y="171"/>
                    <a:pt x="239" y="126"/>
                  </a:cubicBezTo>
                  <a:cubicBezTo>
                    <a:pt x="177" y="82"/>
                    <a:pt x="139" y="42"/>
                    <a:pt x="101" y="0"/>
                  </a:cubicBezTo>
                  <a:cubicBezTo>
                    <a:pt x="0" y="76"/>
                    <a:pt x="24" y="319"/>
                    <a:pt x="123" y="427"/>
                  </a:cubicBezTo>
                  <a:cubicBezTo>
                    <a:pt x="170" y="473"/>
                    <a:pt x="218" y="509"/>
                    <a:pt x="235" y="548"/>
                  </a:cubicBezTo>
                  <a:cubicBezTo>
                    <a:pt x="252" y="587"/>
                    <a:pt x="253" y="627"/>
                    <a:pt x="233" y="627"/>
                  </a:cubicBezTo>
                  <a:cubicBezTo>
                    <a:pt x="212" y="627"/>
                    <a:pt x="294" y="687"/>
                    <a:pt x="294" y="687"/>
                  </a:cubicBezTo>
                  <a:lnTo>
                    <a:pt x="430" y="719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0" name="Freeform 329"/>
            <p:cNvSpPr>
              <a:spLocks/>
            </p:cNvSpPr>
            <p:nvPr/>
          </p:nvSpPr>
          <p:spPr bwMode="auto">
            <a:xfrm>
              <a:off x="7063" y="3262"/>
              <a:ext cx="144" cy="56"/>
            </a:xfrm>
            <a:custGeom>
              <a:avLst/>
              <a:gdLst>
                <a:gd name="T0" fmla="*/ 377 w 890"/>
                <a:gd name="T1" fmla="*/ 1 h 340"/>
                <a:gd name="T2" fmla="*/ 0 w 890"/>
                <a:gd name="T3" fmla="*/ 146 h 340"/>
                <a:gd name="T4" fmla="*/ 326 w 890"/>
                <a:gd name="T5" fmla="*/ 335 h 340"/>
                <a:gd name="T6" fmla="*/ 590 w 890"/>
                <a:gd name="T7" fmla="*/ 282 h 340"/>
                <a:gd name="T8" fmla="*/ 855 w 890"/>
                <a:gd name="T9" fmla="*/ 288 h 340"/>
                <a:gd name="T10" fmla="*/ 844 w 890"/>
                <a:gd name="T11" fmla="*/ 220 h 340"/>
                <a:gd name="T12" fmla="*/ 377 w 890"/>
                <a:gd name="T13" fmla="*/ 1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0" h="340">
                  <a:moveTo>
                    <a:pt x="377" y="1"/>
                  </a:moveTo>
                  <a:cubicBezTo>
                    <a:pt x="321" y="0"/>
                    <a:pt x="148" y="10"/>
                    <a:pt x="0" y="146"/>
                  </a:cubicBezTo>
                  <a:cubicBezTo>
                    <a:pt x="76" y="234"/>
                    <a:pt x="233" y="332"/>
                    <a:pt x="326" y="335"/>
                  </a:cubicBezTo>
                  <a:cubicBezTo>
                    <a:pt x="443" y="340"/>
                    <a:pt x="535" y="309"/>
                    <a:pt x="590" y="282"/>
                  </a:cubicBezTo>
                  <a:cubicBezTo>
                    <a:pt x="707" y="224"/>
                    <a:pt x="811" y="274"/>
                    <a:pt x="855" y="288"/>
                  </a:cubicBezTo>
                  <a:cubicBezTo>
                    <a:pt x="890" y="300"/>
                    <a:pt x="844" y="220"/>
                    <a:pt x="844" y="220"/>
                  </a:cubicBezTo>
                  <a:cubicBezTo>
                    <a:pt x="707" y="218"/>
                    <a:pt x="672" y="3"/>
                    <a:pt x="377" y="1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1" name="Freeform 330"/>
            <p:cNvSpPr>
              <a:spLocks/>
            </p:cNvSpPr>
            <p:nvPr/>
          </p:nvSpPr>
          <p:spPr bwMode="auto">
            <a:xfrm>
              <a:off x="7143" y="3330"/>
              <a:ext cx="134" cy="69"/>
            </a:xfrm>
            <a:custGeom>
              <a:avLst/>
              <a:gdLst>
                <a:gd name="T0" fmla="*/ 586 w 829"/>
                <a:gd name="T1" fmla="*/ 0 h 424"/>
                <a:gd name="T2" fmla="*/ 223 w 829"/>
                <a:gd name="T3" fmla="*/ 68 h 424"/>
                <a:gd name="T4" fmla="*/ 0 w 829"/>
                <a:gd name="T5" fmla="*/ 335 h 424"/>
                <a:gd name="T6" fmla="*/ 500 w 829"/>
                <a:gd name="T7" fmla="*/ 370 h 424"/>
                <a:gd name="T8" fmla="*/ 829 w 829"/>
                <a:gd name="T9" fmla="*/ 146 h 424"/>
                <a:gd name="T10" fmla="*/ 769 w 829"/>
                <a:gd name="T11" fmla="*/ 60 h 424"/>
                <a:gd name="T12" fmla="*/ 586 w 829"/>
                <a:gd name="T13" fmla="*/ 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9" h="424">
                  <a:moveTo>
                    <a:pt x="586" y="0"/>
                  </a:moveTo>
                  <a:cubicBezTo>
                    <a:pt x="640" y="144"/>
                    <a:pt x="428" y="9"/>
                    <a:pt x="223" y="68"/>
                  </a:cubicBezTo>
                  <a:cubicBezTo>
                    <a:pt x="114" y="99"/>
                    <a:pt x="38" y="213"/>
                    <a:pt x="0" y="335"/>
                  </a:cubicBezTo>
                  <a:cubicBezTo>
                    <a:pt x="158" y="404"/>
                    <a:pt x="359" y="424"/>
                    <a:pt x="500" y="370"/>
                  </a:cubicBezTo>
                  <a:cubicBezTo>
                    <a:pt x="675" y="304"/>
                    <a:pt x="673" y="91"/>
                    <a:pt x="829" y="146"/>
                  </a:cubicBezTo>
                  <a:lnTo>
                    <a:pt x="769" y="60"/>
                  </a:lnTo>
                  <a:lnTo>
                    <a:pt x="586" y="0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2" name="Freeform 331"/>
            <p:cNvSpPr>
              <a:spLocks/>
            </p:cNvSpPr>
            <p:nvPr/>
          </p:nvSpPr>
          <p:spPr bwMode="auto">
            <a:xfrm>
              <a:off x="7227" y="3394"/>
              <a:ext cx="149" cy="76"/>
            </a:xfrm>
            <a:custGeom>
              <a:avLst/>
              <a:gdLst>
                <a:gd name="T0" fmla="*/ 648 w 920"/>
                <a:gd name="T1" fmla="*/ 0 h 468"/>
                <a:gd name="T2" fmla="*/ 559 w 920"/>
                <a:gd name="T3" fmla="*/ 58 h 468"/>
                <a:gd name="T4" fmla="*/ 298 w 920"/>
                <a:gd name="T5" fmla="*/ 50 h 468"/>
                <a:gd name="T6" fmla="*/ 0 w 920"/>
                <a:gd name="T7" fmla="*/ 330 h 468"/>
                <a:gd name="T8" fmla="*/ 637 w 920"/>
                <a:gd name="T9" fmla="*/ 333 h 468"/>
                <a:gd name="T10" fmla="*/ 774 w 920"/>
                <a:gd name="T11" fmla="*/ 196 h 468"/>
                <a:gd name="T12" fmla="*/ 882 w 920"/>
                <a:gd name="T13" fmla="*/ 202 h 468"/>
                <a:gd name="T14" fmla="*/ 906 w 920"/>
                <a:gd name="T15" fmla="*/ 154 h 468"/>
                <a:gd name="T16" fmla="*/ 782 w 920"/>
                <a:gd name="T17" fmla="*/ 47 h 468"/>
                <a:gd name="T18" fmla="*/ 648 w 920"/>
                <a:gd name="T19" fmla="*/ 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0" h="468">
                  <a:moveTo>
                    <a:pt x="648" y="0"/>
                  </a:moveTo>
                  <a:cubicBezTo>
                    <a:pt x="721" y="78"/>
                    <a:pt x="604" y="72"/>
                    <a:pt x="559" y="58"/>
                  </a:cubicBezTo>
                  <a:cubicBezTo>
                    <a:pt x="476" y="32"/>
                    <a:pt x="353" y="40"/>
                    <a:pt x="298" y="50"/>
                  </a:cubicBezTo>
                  <a:cubicBezTo>
                    <a:pt x="11" y="106"/>
                    <a:pt x="89" y="250"/>
                    <a:pt x="0" y="330"/>
                  </a:cubicBezTo>
                  <a:cubicBezTo>
                    <a:pt x="161" y="409"/>
                    <a:pt x="449" y="468"/>
                    <a:pt x="637" y="333"/>
                  </a:cubicBezTo>
                  <a:cubicBezTo>
                    <a:pt x="703" y="281"/>
                    <a:pt x="736" y="220"/>
                    <a:pt x="774" y="196"/>
                  </a:cubicBezTo>
                  <a:cubicBezTo>
                    <a:pt x="802" y="178"/>
                    <a:pt x="831" y="174"/>
                    <a:pt x="882" y="202"/>
                  </a:cubicBezTo>
                  <a:cubicBezTo>
                    <a:pt x="920" y="224"/>
                    <a:pt x="914" y="161"/>
                    <a:pt x="906" y="154"/>
                  </a:cubicBezTo>
                  <a:cubicBezTo>
                    <a:pt x="899" y="146"/>
                    <a:pt x="782" y="47"/>
                    <a:pt x="782" y="47"/>
                  </a:cubicBezTo>
                  <a:lnTo>
                    <a:pt x="648" y="0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3" name="Freeform 332"/>
            <p:cNvSpPr>
              <a:spLocks/>
            </p:cNvSpPr>
            <p:nvPr/>
          </p:nvSpPr>
          <p:spPr bwMode="auto">
            <a:xfrm>
              <a:off x="7297" y="3468"/>
              <a:ext cx="156" cy="71"/>
            </a:xfrm>
            <a:custGeom>
              <a:avLst/>
              <a:gdLst>
                <a:gd name="T0" fmla="*/ 767 w 957"/>
                <a:gd name="T1" fmla="*/ 100 h 440"/>
                <a:gd name="T2" fmla="*/ 754 w 957"/>
                <a:gd name="T3" fmla="*/ 152 h 440"/>
                <a:gd name="T4" fmla="*/ 313 w 957"/>
                <a:gd name="T5" fmla="*/ 33 h 440"/>
                <a:gd name="T6" fmla="*/ 0 w 957"/>
                <a:gd name="T7" fmla="*/ 184 h 440"/>
                <a:gd name="T8" fmla="*/ 359 w 957"/>
                <a:gd name="T9" fmla="*/ 412 h 440"/>
                <a:gd name="T10" fmla="*/ 776 w 957"/>
                <a:gd name="T11" fmla="*/ 311 h 440"/>
                <a:gd name="T12" fmla="*/ 911 w 957"/>
                <a:gd name="T13" fmla="*/ 306 h 440"/>
                <a:gd name="T14" fmla="*/ 956 w 957"/>
                <a:gd name="T15" fmla="*/ 229 h 440"/>
                <a:gd name="T16" fmla="*/ 767 w 957"/>
                <a:gd name="T17" fmla="*/ 100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7" h="440">
                  <a:moveTo>
                    <a:pt x="767" y="100"/>
                  </a:moveTo>
                  <a:cubicBezTo>
                    <a:pt x="767" y="109"/>
                    <a:pt x="789" y="149"/>
                    <a:pt x="754" y="152"/>
                  </a:cubicBezTo>
                  <a:cubicBezTo>
                    <a:pt x="718" y="155"/>
                    <a:pt x="513" y="0"/>
                    <a:pt x="313" y="33"/>
                  </a:cubicBezTo>
                  <a:cubicBezTo>
                    <a:pt x="113" y="66"/>
                    <a:pt x="0" y="184"/>
                    <a:pt x="0" y="184"/>
                  </a:cubicBezTo>
                  <a:cubicBezTo>
                    <a:pt x="0" y="184"/>
                    <a:pt x="113" y="382"/>
                    <a:pt x="359" y="412"/>
                  </a:cubicBezTo>
                  <a:cubicBezTo>
                    <a:pt x="600" y="440"/>
                    <a:pt x="689" y="402"/>
                    <a:pt x="776" y="311"/>
                  </a:cubicBezTo>
                  <a:cubicBezTo>
                    <a:pt x="811" y="275"/>
                    <a:pt x="892" y="279"/>
                    <a:pt x="911" y="306"/>
                  </a:cubicBezTo>
                  <a:cubicBezTo>
                    <a:pt x="931" y="332"/>
                    <a:pt x="957" y="233"/>
                    <a:pt x="956" y="229"/>
                  </a:cubicBezTo>
                  <a:cubicBezTo>
                    <a:pt x="955" y="226"/>
                    <a:pt x="767" y="100"/>
                    <a:pt x="767" y="100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4" name="Freeform 333"/>
            <p:cNvSpPr>
              <a:spLocks/>
            </p:cNvSpPr>
            <p:nvPr/>
          </p:nvSpPr>
          <p:spPr bwMode="auto">
            <a:xfrm>
              <a:off x="7357" y="3559"/>
              <a:ext cx="151" cy="73"/>
            </a:xfrm>
            <a:custGeom>
              <a:avLst/>
              <a:gdLst>
                <a:gd name="T0" fmla="*/ 770 w 935"/>
                <a:gd name="T1" fmla="*/ 140 h 449"/>
                <a:gd name="T2" fmla="*/ 748 w 935"/>
                <a:gd name="T3" fmla="*/ 189 h 449"/>
                <a:gd name="T4" fmla="*/ 332 w 935"/>
                <a:gd name="T5" fmla="*/ 0 h 449"/>
                <a:gd name="T6" fmla="*/ 0 w 935"/>
                <a:gd name="T7" fmla="*/ 98 h 449"/>
                <a:gd name="T8" fmla="*/ 317 w 935"/>
                <a:gd name="T9" fmla="*/ 381 h 449"/>
                <a:gd name="T10" fmla="*/ 744 w 935"/>
                <a:gd name="T11" fmla="*/ 350 h 449"/>
                <a:gd name="T12" fmla="*/ 878 w 935"/>
                <a:gd name="T13" fmla="*/ 366 h 449"/>
                <a:gd name="T14" fmla="*/ 935 w 935"/>
                <a:gd name="T15" fmla="*/ 298 h 449"/>
                <a:gd name="T16" fmla="*/ 770 w 935"/>
                <a:gd name="T17" fmla="*/ 14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5" h="449">
                  <a:moveTo>
                    <a:pt x="770" y="140"/>
                  </a:moveTo>
                  <a:cubicBezTo>
                    <a:pt x="768" y="149"/>
                    <a:pt x="784" y="192"/>
                    <a:pt x="748" y="189"/>
                  </a:cubicBezTo>
                  <a:cubicBezTo>
                    <a:pt x="713" y="186"/>
                    <a:pt x="535" y="0"/>
                    <a:pt x="332" y="0"/>
                  </a:cubicBezTo>
                  <a:cubicBezTo>
                    <a:pt x="130" y="0"/>
                    <a:pt x="0" y="98"/>
                    <a:pt x="0" y="98"/>
                  </a:cubicBezTo>
                  <a:cubicBezTo>
                    <a:pt x="0" y="98"/>
                    <a:pt x="78" y="312"/>
                    <a:pt x="317" y="381"/>
                  </a:cubicBezTo>
                  <a:cubicBezTo>
                    <a:pt x="550" y="449"/>
                    <a:pt x="644" y="425"/>
                    <a:pt x="744" y="350"/>
                  </a:cubicBezTo>
                  <a:cubicBezTo>
                    <a:pt x="785" y="319"/>
                    <a:pt x="864" y="336"/>
                    <a:pt x="878" y="366"/>
                  </a:cubicBezTo>
                  <a:cubicBezTo>
                    <a:pt x="893" y="396"/>
                    <a:pt x="935" y="302"/>
                    <a:pt x="935" y="298"/>
                  </a:cubicBezTo>
                  <a:cubicBezTo>
                    <a:pt x="935" y="294"/>
                    <a:pt x="770" y="140"/>
                    <a:pt x="770" y="140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5" name="Freeform 334"/>
            <p:cNvSpPr>
              <a:spLocks/>
            </p:cNvSpPr>
            <p:nvPr/>
          </p:nvSpPr>
          <p:spPr bwMode="auto">
            <a:xfrm>
              <a:off x="7395" y="3650"/>
              <a:ext cx="147" cy="81"/>
            </a:xfrm>
            <a:custGeom>
              <a:avLst/>
              <a:gdLst>
                <a:gd name="T0" fmla="*/ 759 w 904"/>
                <a:gd name="T1" fmla="*/ 217 h 497"/>
                <a:gd name="T2" fmla="*/ 732 w 904"/>
                <a:gd name="T3" fmla="*/ 263 h 497"/>
                <a:gd name="T4" fmla="*/ 343 w 904"/>
                <a:gd name="T5" fmla="*/ 25 h 497"/>
                <a:gd name="T6" fmla="*/ 0 w 904"/>
                <a:gd name="T7" fmla="*/ 81 h 497"/>
                <a:gd name="T8" fmla="*/ 280 w 904"/>
                <a:gd name="T9" fmla="*/ 401 h 497"/>
                <a:gd name="T10" fmla="*/ 709 w 904"/>
                <a:gd name="T11" fmla="*/ 422 h 497"/>
                <a:gd name="T12" fmla="*/ 840 w 904"/>
                <a:gd name="T13" fmla="*/ 455 h 497"/>
                <a:gd name="T14" fmla="*/ 904 w 904"/>
                <a:gd name="T15" fmla="*/ 394 h 497"/>
                <a:gd name="T16" fmla="*/ 759 w 904"/>
                <a:gd name="T17" fmla="*/ 217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4" h="497">
                  <a:moveTo>
                    <a:pt x="759" y="217"/>
                  </a:moveTo>
                  <a:cubicBezTo>
                    <a:pt x="757" y="226"/>
                    <a:pt x="767" y="271"/>
                    <a:pt x="732" y="263"/>
                  </a:cubicBezTo>
                  <a:cubicBezTo>
                    <a:pt x="698" y="256"/>
                    <a:pt x="544" y="50"/>
                    <a:pt x="343" y="25"/>
                  </a:cubicBezTo>
                  <a:cubicBezTo>
                    <a:pt x="142" y="0"/>
                    <a:pt x="0" y="81"/>
                    <a:pt x="0" y="81"/>
                  </a:cubicBezTo>
                  <a:cubicBezTo>
                    <a:pt x="0" y="81"/>
                    <a:pt x="52" y="304"/>
                    <a:pt x="280" y="401"/>
                  </a:cubicBezTo>
                  <a:cubicBezTo>
                    <a:pt x="503" y="497"/>
                    <a:pt x="600" y="485"/>
                    <a:pt x="709" y="422"/>
                  </a:cubicBezTo>
                  <a:cubicBezTo>
                    <a:pt x="753" y="397"/>
                    <a:pt x="829" y="423"/>
                    <a:pt x="840" y="455"/>
                  </a:cubicBezTo>
                  <a:cubicBezTo>
                    <a:pt x="851" y="486"/>
                    <a:pt x="904" y="398"/>
                    <a:pt x="904" y="394"/>
                  </a:cubicBezTo>
                  <a:cubicBezTo>
                    <a:pt x="904" y="390"/>
                    <a:pt x="759" y="217"/>
                    <a:pt x="759" y="217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6" name="Freeform 335"/>
            <p:cNvSpPr>
              <a:spLocks/>
            </p:cNvSpPr>
            <p:nvPr/>
          </p:nvSpPr>
          <p:spPr bwMode="auto">
            <a:xfrm>
              <a:off x="7421" y="3744"/>
              <a:ext cx="128" cy="109"/>
            </a:xfrm>
            <a:custGeom>
              <a:avLst/>
              <a:gdLst>
                <a:gd name="T0" fmla="*/ 702 w 790"/>
                <a:gd name="T1" fmla="*/ 388 h 672"/>
                <a:gd name="T2" fmla="*/ 662 w 790"/>
                <a:gd name="T3" fmla="*/ 424 h 672"/>
                <a:gd name="T4" fmla="*/ 360 w 790"/>
                <a:gd name="T5" fmla="*/ 82 h 672"/>
                <a:gd name="T6" fmla="*/ 16 w 790"/>
                <a:gd name="T7" fmla="*/ 37 h 672"/>
                <a:gd name="T8" fmla="*/ 190 w 790"/>
                <a:gd name="T9" fmla="*/ 424 h 672"/>
                <a:gd name="T10" fmla="*/ 593 w 790"/>
                <a:gd name="T11" fmla="*/ 569 h 672"/>
                <a:gd name="T12" fmla="*/ 709 w 790"/>
                <a:gd name="T13" fmla="*/ 639 h 672"/>
                <a:gd name="T14" fmla="*/ 788 w 790"/>
                <a:gd name="T15" fmla="*/ 600 h 672"/>
                <a:gd name="T16" fmla="*/ 702 w 790"/>
                <a:gd name="T17" fmla="*/ 388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0" h="672">
                  <a:moveTo>
                    <a:pt x="702" y="388"/>
                  </a:moveTo>
                  <a:cubicBezTo>
                    <a:pt x="697" y="396"/>
                    <a:pt x="693" y="442"/>
                    <a:pt x="662" y="424"/>
                  </a:cubicBezTo>
                  <a:cubicBezTo>
                    <a:pt x="631" y="407"/>
                    <a:pt x="544" y="165"/>
                    <a:pt x="360" y="82"/>
                  </a:cubicBezTo>
                  <a:cubicBezTo>
                    <a:pt x="175" y="0"/>
                    <a:pt x="16" y="37"/>
                    <a:pt x="16" y="37"/>
                  </a:cubicBezTo>
                  <a:cubicBezTo>
                    <a:pt x="16" y="37"/>
                    <a:pt x="0" y="264"/>
                    <a:pt x="190" y="424"/>
                  </a:cubicBezTo>
                  <a:cubicBezTo>
                    <a:pt x="375" y="581"/>
                    <a:pt x="470" y="597"/>
                    <a:pt x="593" y="569"/>
                  </a:cubicBezTo>
                  <a:cubicBezTo>
                    <a:pt x="643" y="558"/>
                    <a:pt x="708" y="606"/>
                    <a:pt x="709" y="639"/>
                  </a:cubicBezTo>
                  <a:cubicBezTo>
                    <a:pt x="710" y="672"/>
                    <a:pt x="787" y="603"/>
                    <a:pt x="788" y="600"/>
                  </a:cubicBezTo>
                  <a:cubicBezTo>
                    <a:pt x="790" y="596"/>
                    <a:pt x="702" y="388"/>
                    <a:pt x="702" y="388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7" name="Freeform 336"/>
            <p:cNvSpPr>
              <a:spLocks/>
            </p:cNvSpPr>
            <p:nvPr/>
          </p:nvSpPr>
          <p:spPr bwMode="auto">
            <a:xfrm>
              <a:off x="7415" y="3846"/>
              <a:ext cx="119" cy="121"/>
            </a:xfrm>
            <a:custGeom>
              <a:avLst/>
              <a:gdLst>
                <a:gd name="T0" fmla="*/ 677 w 734"/>
                <a:gd name="T1" fmla="*/ 460 h 742"/>
                <a:gd name="T2" fmla="*/ 632 w 734"/>
                <a:gd name="T3" fmla="*/ 490 h 742"/>
                <a:gd name="T4" fmla="*/ 381 w 734"/>
                <a:gd name="T5" fmla="*/ 109 h 742"/>
                <a:gd name="T6" fmla="*/ 47 w 734"/>
                <a:gd name="T7" fmla="*/ 14 h 742"/>
                <a:gd name="T8" fmla="*/ 165 w 734"/>
                <a:gd name="T9" fmla="*/ 423 h 742"/>
                <a:gd name="T10" fmla="*/ 543 w 734"/>
                <a:gd name="T11" fmla="*/ 624 h 742"/>
                <a:gd name="T12" fmla="*/ 648 w 734"/>
                <a:gd name="T13" fmla="*/ 709 h 742"/>
                <a:gd name="T14" fmla="*/ 732 w 734"/>
                <a:gd name="T15" fmla="*/ 681 h 742"/>
                <a:gd name="T16" fmla="*/ 677 w 734"/>
                <a:gd name="T17" fmla="*/ 460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742">
                  <a:moveTo>
                    <a:pt x="677" y="460"/>
                  </a:moveTo>
                  <a:cubicBezTo>
                    <a:pt x="670" y="467"/>
                    <a:pt x="661" y="511"/>
                    <a:pt x="632" y="490"/>
                  </a:cubicBezTo>
                  <a:cubicBezTo>
                    <a:pt x="604" y="469"/>
                    <a:pt x="553" y="217"/>
                    <a:pt x="381" y="109"/>
                  </a:cubicBezTo>
                  <a:cubicBezTo>
                    <a:pt x="210" y="0"/>
                    <a:pt x="47" y="14"/>
                    <a:pt x="47" y="14"/>
                  </a:cubicBezTo>
                  <a:cubicBezTo>
                    <a:pt x="47" y="14"/>
                    <a:pt x="0" y="237"/>
                    <a:pt x="165" y="423"/>
                  </a:cubicBezTo>
                  <a:cubicBezTo>
                    <a:pt x="326" y="604"/>
                    <a:pt x="418" y="634"/>
                    <a:pt x="543" y="624"/>
                  </a:cubicBezTo>
                  <a:cubicBezTo>
                    <a:pt x="594" y="620"/>
                    <a:pt x="651" y="676"/>
                    <a:pt x="648" y="709"/>
                  </a:cubicBezTo>
                  <a:cubicBezTo>
                    <a:pt x="645" y="742"/>
                    <a:pt x="730" y="685"/>
                    <a:pt x="732" y="681"/>
                  </a:cubicBezTo>
                  <a:cubicBezTo>
                    <a:pt x="734" y="678"/>
                    <a:pt x="677" y="460"/>
                    <a:pt x="677" y="460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8" name="Freeform 337"/>
            <p:cNvSpPr>
              <a:spLocks/>
            </p:cNvSpPr>
            <p:nvPr/>
          </p:nvSpPr>
          <p:spPr bwMode="auto">
            <a:xfrm>
              <a:off x="7392" y="3943"/>
              <a:ext cx="101" cy="136"/>
            </a:xfrm>
            <a:custGeom>
              <a:avLst/>
              <a:gdLst>
                <a:gd name="T0" fmla="*/ 615 w 625"/>
                <a:gd name="T1" fmla="*/ 568 h 837"/>
                <a:gd name="T2" fmla="*/ 565 w 625"/>
                <a:gd name="T3" fmla="*/ 588 h 837"/>
                <a:gd name="T4" fmla="*/ 400 w 625"/>
                <a:gd name="T5" fmla="*/ 163 h 837"/>
                <a:gd name="T6" fmla="*/ 93 w 625"/>
                <a:gd name="T7" fmla="*/ 0 h 837"/>
                <a:gd name="T8" fmla="*/ 122 w 625"/>
                <a:gd name="T9" fmla="*/ 424 h 837"/>
                <a:gd name="T10" fmla="*/ 450 w 625"/>
                <a:gd name="T11" fmla="*/ 700 h 837"/>
                <a:gd name="T12" fmla="*/ 534 w 625"/>
                <a:gd name="T13" fmla="*/ 806 h 837"/>
                <a:gd name="T14" fmla="*/ 622 w 625"/>
                <a:gd name="T15" fmla="*/ 796 h 837"/>
                <a:gd name="T16" fmla="*/ 615 w 625"/>
                <a:gd name="T17" fmla="*/ 568 h 8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5" h="837">
                  <a:moveTo>
                    <a:pt x="615" y="568"/>
                  </a:moveTo>
                  <a:cubicBezTo>
                    <a:pt x="607" y="573"/>
                    <a:pt x="588" y="615"/>
                    <a:pt x="565" y="588"/>
                  </a:cubicBezTo>
                  <a:cubicBezTo>
                    <a:pt x="542" y="561"/>
                    <a:pt x="545" y="304"/>
                    <a:pt x="400" y="163"/>
                  </a:cubicBezTo>
                  <a:cubicBezTo>
                    <a:pt x="255" y="21"/>
                    <a:pt x="93" y="0"/>
                    <a:pt x="93" y="0"/>
                  </a:cubicBezTo>
                  <a:cubicBezTo>
                    <a:pt x="93" y="0"/>
                    <a:pt x="0" y="208"/>
                    <a:pt x="122" y="424"/>
                  </a:cubicBezTo>
                  <a:cubicBezTo>
                    <a:pt x="241" y="635"/>
                    <a:pt x="325" y="684"/>
                    <a:pt x="450" y="700"/>
                  </a:cubicBezTo>
                  <a:cubicBezTo>
                    <a:pt x="500" y="707"/>
                    <a:pt x="545" y="774"/>
                    <a:pt x="534" y="806"/>
                  </a:cubicBezTo>
                  <a:cubicBezTo>
                    <a:pt x="524" y="837"/>
                    <a:pt x="620" y="799"/>
                    <a:pt x="622" y="796"/>
                  </a:cubicBezTo>
                  <a:cubicBezTo>
                    <a:pt x="625" y="793"/>
                    <a:pt x="615" y="568"/>
                    <a:pt x="615" y="568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9" name="Freeform 338"/>
            <p:cNvSpPr>
              <a:spLocks/>
            </p:cNvSpPr>
            <p:nvPr/>
          </p:nvSpPr>
          <p:spPr bwMode="auto">
            <a:xfrm>
              <a:off x="7348" y="4030"/>
              <a:ext cx="82" cy="150"/>
            </a:xfrm>
            <a:custGeom>
              <a:avLst/>
              <a:gdLst>
                <a:gd name="T0" fmla="*/ 506 w 506"/>
                <a:gd name="T1" fmla="*/ 680 h 918"/>
                <a:gd name="T2" fmla="*/ 453 w 506"/>
                <a:gd name="T3" fmla="*/ 687 h 918"/>
                <a:gd name="T4" fmla="*/ 400 w 506"/>
                <a:gd name="T5" fmla="*/ 234 h 918"/>
                <a:gd name="T6" fmla="*/ 143 w 506"/>
                <a:gd name="T7" fmla="*/ 0 h 918"/>
                <a:gd name="T8" fmla="*/ 65 w 506"/>
                <a:gd name="T9" fmla="*/ 418 h 918"/>
                <a:gd name="T10" fmla="*/ 314 w 506"/>
                <a:gd name="T11" fmla="*/ 767 h 918"/>
                <a:gd name="T12" fmla="*/ 369 w 506"/>
                <a:gd name="T13" fmla="*/ 890 h 918"/>
                <a:gd name="T14" fmla="*/ 457 w 506"/>
                <a:gd name="T15" fmla="*/ 903 h 918"/>
                <a:gd name="T16" fmla="*/ 506 w 506"/>
                <a:gd name="T17" fmla="*/ 680 h 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6" h="918">
                  <a:moveTo>
                    <a:pt x="506" y="680"/>
                  </a:moveTo>
                  <a:cubicBezTo>
                    <a:pt x="498" y="683"/>
                    <a:pt x="469" y="719"/>
                    <a:pt x="453" y="687"/>
                  </a:cubicBezTo>
                  <a:cubicBezTo>
                    <a:pt x="437" y="655"/>
                    <a:pt x="504" y="407"/>
                    <a:pt x="400" y="234"/>
                  </a:cubicBezTo>
                  <a:cubicBezTo>
                    <a:pt x="295" y="60"/>
                    <a:pt x="143" y="0"/>
                    <a:pt x="143" y="0"/>
                  </a:cubicBezTo>
                  <a:cubicBezTo>
                    <a:pt x="143" y="0"/>
                    <a:pt x="0" y="178"/>
                    <a:pt x="65" y="418"/>
                  </a:cubicBezTo>
                  <a:cubicBezTo>
                    <a:pt x="128" y="652"/>
                    <a:pt x="197" y="720"/>
                    <a:pt x="314" y="767"/>
                  </a:cubicBezTo>
                  <a:cubicBezTo>
                    <a:pt x="361" y="786"/>
                    <a:pt x="387" y="862"/>
                    <a:pt x="369" y="890"/>
                  </a:cubicBezTo>
                  <a:cubicBezTo>
                    <a:pt x="351" y="918"/>
                    <a:pt x="454" y="905"/>
                    <a:pt x="457" y="903"/>
                  </a:cubicBezTo>
                  <a:cubicBezTo>
                    <a:pt x="460" y="901"/>
                    <a:pt x="506" y="680"/>
                    <a:pt x="506" y="680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0" name="Freeform 339"/>
            <p:cNvSpPr>
              <a:spLocks/>
            </p:cNvSpPr>
            <p:nvPr/>
          </p:nvSpPr>
          <p:spPr bwMode="auto">
            <a:xfrm>
              <a:off x="7285" y="4107"/>
              <a:ext cx="71" cy="155"/>
            </a:xfrm>
            <a:custGeom>
              <a:avLst/>
              <a:gdLst>
                <a:gd name="T0" fmla="*/ 376 w 437"/>
                <a:gd name="T1" fmla="*/ 746 h 953"/>
                <a:gd name="T2" fmla="*/ 323 w 437"/>
                <a:gd name="T3" fmla="*/ 740 h 953"/>
                <a:gd name="T4" fmla="*/ 376 w 437"/>
                <a:gd name="T5" fmla="*/ 287 h 953"/>
                <a:gd name="T6" fmla="*/ 180 w 437"/>
                <a:gd name="T7" fmla="*/ 0 h 953"/>
                <a:gd name="T8" fmla="*/ 7 w 437"/>
                <a:gd name="T9" fmla="*/ 389 h 953"/>
                <a:gd name="T10" fmla="*/ 169 w 437"/>
                <a:gd name="T11" fmla="*/ 786 h 953"/>
                <a:gd name="T12" fmla="*/ 194 w 437"/>
                <a:gd name="T13" fmla="*/ 918 h 953"/>
                <a:gd name="T14" fmla="*/ 276 w 437"/>
                <a:gd name="T15" fmla="*/ 951 h 953"/>
                <a:gd name="T16" fmla="*/ 376 w 437"/>
                <a:gd name="T17" fmla="*/ 745 h 953"/>
                <a:gd name="T18" fmla="*/ 376 w 437"/>
                <a:gd name="T19" fmla="*/ 746 h 9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7" h="953">
                  <a:moveTo>
                    <a:pt x="376" y="746"/>
                  </a:moveTo>
                  <a:cubicBezTo>
                    <a:pt x="367" y="747"/>
                    <a:pt x="331" y="775"/>
                    <a:pt x="323" y="740"/>
                  </a:cubicBezTo>
                  <a:cubicBezTo>
                    <a:pt x="315" y="706"/>
                    <a:pt x="437" y="480"/>
                    <a:pt x="376" y="287"/>
                  </a:cubicBezTo>
                  <a:cubicBezTo>
                    <a:pt x="314" y="94"/>
                    <a:pt x="180" y="0"/>
                    <a:pt x="180" y="0"/>
                  </a:cubicBezTo>
                  <a:cubicBezTo>
                    <a:pt x="180" y="0"/>
                    <a:pt x="0" y="141"/>
                    <a:pt x="7" y="389"/>
                  </a:cubicBezTo>
                  <a:cubicBezTo>
                    <a:pt x="15" y="631"/>
                    <a:pt x="66" y="713"/>
                    <a:pt x="169" y="786"/>
                  </a:cubicBezTo>
                  <a:cubicBezTo>
                    <a:pt x="210" y="815"/>
                    <a:pt x="218" y="895"/>
                    <a:pt x="194" y="918"/>
                  </a:cubicBezTo>
                  <a:cubicBezTo>
                    <a:pt x="170" y="942"/>
                    <a:pt x="273" y="953"/>
                    <a:pt x="276" y="951"/>
                  </a:cubicBezTo>
                  <a:cubicBezTo>
                    <a:pt x="280" y="950"/>
                    <a:pt x="376" y="745"/>
                    <a:pt x="376" y="745"/>
                  </a:cubicBezTo>
                  <a:lnTo>
                    <a:pt x="376" y="746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1" name="Freeform 340"/>
            <p:cNvSpPr>
              <a:spLocks/>
            </p:cNvSpPr>
            <p:nvPr/>
          </p:nvSpPr>
          <p:spPr bwMode="auto">
            <a:xfrm>
              <a:off x="7193" y="4171"/>
              <a:ext cx="73" cy="153"/>
            </a:xfrm>
            <a:custGeom>
              <a:avLst/>
              <a:gdLst>
                <a:gd name="T0" fmla="*/ 316 w 448"/>
                <a:gd name="T1" fmla="*/ 770 h 941"/>
                <a:gd name="T2" fmla="*/ 266 w 448"/>
                <a:gd name="T3" fmla="*/ 751 h 941"/>
                <a:gd name="T4" fmla="*/ 441 w 448"/>
                <a:gd name="T5" fmla="*/ 329 h 941"/>
                <a:gd name="T6" fmla="*/ 332 w 448"/>
                <a:gd name="T7" fmla="*/ 0 h 941"/>
                <a:gd name="T8" fmla="*/ 59 w 448"/>
                <a:gd name="T9" fmla="*/ 326 h 941"/>
                <a:gd name="T10" fmla="*/ 105 w 448"/>
                <a:gd name="T11" fmla="*/ 752 h 941"/>
                <a:gd name="T12" fmla="*/ 93 w 448"/>
                <a:gd name="T13" fmla="*/ 887 h 941"/>
                <a:gd name="T14" fmla="*/ 163 w 448"/>
                <a:gd name="T15" fmla="*/ 941 h 941"/>
                <a:gd name="T16" fmla="*/ 316 w 448"/>
                <a:gd name="T17" fmla="*/ 770 h 9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8" h="941">
                  <a:moveTo>
                    <a:pt x="316" y="770"/>
                  </a:moveTo>
                  <a:cubicBezTo>
                    <a:pt x="306" y="769"/>
                    <a:pt x="264" y="786"/>
                    <a:pt x="266" y="751"/>
                  </a:cubicBezTo>
                  <a:cubicBezTo>
                    <a:pt x="268" y="715"/>
                    <a:pt x="448" y="532"/>
                    <a:pt x="441" y="329"/>
                  </a:cubicBezTo>
                  <a:cubicBezTo>
                    <a:pt x="435" y="127"/>
                    <a:pt x="332" y="0"/>
                    <a:pt x="332" y="0"/>
                  </a:cubicBezTo>
                  <a:cubicBezTo>
                    <a:pt x="332" y="0"/>
                    <a:pt x="121" y="86"/>
                    <a:pt x="59" y="326"/>
                  </a:cubicBezTo>
                  <a:cubicBezTo>
                    <a:pt x="0" y="561"/>
                    <a:pt x="26" y="654"/>
                    <a:pt x="105" y="752"/>
                  </a:cubicBezTo>
                  <a:cubicBezTo>
                    <a:pt x="137" y="792"/>
                    <a:pt x="122" y="871"/>
                    <a:pt x="93" y="887"/>
                  </a:cubicBezTo>
                  <a:cubicBezTo>
                    <a:pt x="64" y="902"/>
                    <a:pt x="159" y="941"/>
                    <a:pt x="163" y="941"/>
                  </a:cubicBezTo>
                  <a:cubicBezTo>
                    <a:pt x="167" y="940"/>
                    <a:pt x="316" y="770"/>
                    <a:pt x="316" y="770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2" name="Freeform 341"/>
            <p:cNvSpPr>
              <a:spLocks/>
            </p:cNvSpPr>
            <p:nvPr/>
          </p:nvSpPr>
          <p:spPr bwMode="auto">
            <a:xfrm>
              <a:off x="7082" y="4224"/>
              <a:ext cx="88" cy="142"/>
            </a:xfrm>
            <a:custGeom>
              <a:avLst/>
              <a:gdLst>
                <a:gd name="T0" fmla="*/ 276 w 546"/>
                <a:gd name="T1" fmla="*/ 744 h 873"/>
                <a:gd name="T2" fmla="*/ 233 w 546"/>
                <a:gd name="T3" fmla="*/ 713 h 873"/>
                <a:gd name="T4" fmla="*/ 504 w 546"/>
                <a:gd name="T5" fmla="*/ 345 h 873"/>
                <a:gd name="T6" fmla="*/ 476 w 546"/>
                <a:gd name="T7" fmla="*/ 0 h 873"/>
                <a:gd name="T8" fmla="*/ 134 w 546"/>
                <a:gd name="T9" fmla="*/ 251 h 873"/>
                <a:gd name="T10" fmla="*/ 76 w 546"/>
                <a:gd name="T11" fmla="*/ 676 h 873"/>
                <a:gd name="T12" fmla="*/ 32 w 546"/>
                <a:gd name="T13" fmla="*/ 803 h 873"/>
                <a:gd name="T14" fmla="*/ 87 w 546"/>
                <a:gd name="T15" fmla="*/ 873 h 873"/>
                <a:gd name="T16" fmla="*/ 276 w 546"/>
                <a:gd name="T17" fmla="*/ 744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6" h="873">
                  <a:moveTo>
                    <a:pt x="276" y="744"/>
                  </a:moveTo>
                  <a:cubicBezTo>
                    <a:pt x="268" y="740"/>
                    <a:pt x="222" y="747"/>
                    <a:pt x="233" y="713"/>
                  </a:cubicBezTo>
                  <a:cubicBezTo>
                    <a:pt x="243" y="679"/>
                    <a:pt x="461" y="543"/>
                    <a:pt x="504" y="345"/>
                  </a:cubicBezTo>
                  <a:cubicBezTo>
                    <a:pt x="546" y="147"/>
                    <a:pt x="476" y="0"/>
                    <a:pt x="476" y="0"/>
                  </a:cubicBezTo>
                  <a:cubicBezTo>
                    <a:pt x="476" y="0"/>
                    <a:pt x="250" y="32"/>
                    <a:pt x="134" y="251"/>
                  </a:cubicBezTo>
                  <a:cubicBezTo>
                    <a:pt x="19" y="465"/>
                    <a:pt x="23" y="562"/>
                    <a:pt x="76" y="676"/>
                  </a:cubicBezTo>
                  <a:cubicBezTo>
                    <a:pt x="98" y="722"/>
                    <a:pt x="65" y="795"/>
                    <a:pt x="32" y="803"/>
                  </a:cubicBezTo>
                  <a:cubicBezTo>
                    <a:pt x="0" y="812"/>
                    <a:pt x="84" y="872"/>
                    <a:pt x="87" y="873"/>
                  </a:cubicBezTo>
                  <a:cubicBezTo>
                    <a:pt x="91" y="873"/>
                    <a:pt x="276" y="744"/>
                    <a:pt x="276" y="744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3" name="Freeform 342"/>
            <p:cNvSpPr>
              <a:spLocks/>
            </p:cNvSpPr>
            <p:nvPr/>
          </p:nvSpPr>
          <p:spPr bwMode="auto">
            <a:xfrm>
              <a:off x="7538" y="3654"/>
              <a:ext cx="118" cy="135"/>
            </a:xfrm>
            <a:custGeom>
              <a:avLst/>
              <a:gdLst>
                <a:gd name="T0" fmla="*/ 118 w 724"/>
                <a:gd name="T1" fmla="*/ 828 h 828"/>
                <a:gd name="T2" fmla="*/ 212 w 724"/>
                <a:gd name="T3" fmla="*/ 759 h 828"/>
                <a:gd name="T4" fmla="*/ 590 w 724"/>
                <a:gd name="T5" fmla="*/ 590 h 828"/>
                <a:gd name="T6" fmla="*/ 701 w 724"/>
                <a:gd name="T7" fmla="*/ 0 h 828"/>
                <a:gd name="T8" fmla="*/ 265 w 724"/>
                <a:gd name="T9" fmla="*/ 244 h 828"/>
                <a:gd name="T10" fmla="*/ 87 w 724"/>
                <a:gd name="T11" fmla="*/ 509 h 828"/>
                <a:gd name="T12" fmla="*/ 0 w 724"/>
                <a:gd name="T13" fmla="*/ 559 h 828"/>
                <a:gd name="T14" fmla="*/ 20 w 724"/>
                <a:gd name="T15" fmla="*/ 706 h 828"/>
                <a:gd name="T16" fmla="*/ 118 w 724"/>
                <a:gd name="T17" fmla="*/ 828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4" h="828">
                  <a:moveTo>
                    <a:pt x="118" y="828"/>
                  </a:moveTo>
                  <a:cubicBezTo>
                    <a:pt x="118" y="828"/>
                    <a:pt x="127" y="763"/>
                    <a:pt x="212" y="759"/>
                  </a:cubicBezTo>
                  <a:cubicBezTo>
                    <a:pt x="297" y="754"/>
                    <a:pt x="513" y="801"/>
                    <a:pt x="590" y="590"/>
                  </a:cubicBezTo>
                  <a:cubicBezTo>
                    <a:pt x="644" y="443"/>
                    <a:pt x="724" y="137"/>
                    <a:pt x="701" y="0"/>
                  </a:cubicBezTo>
                  <a:cubicBezTo>
                    <a:pt x="550" y="30"/>
                    <a:pt x="381" y="91"/>
                    <a:pt x="265" y="244"/>
                  </a:cubicBezTo>
                  <a:cubicBezTo>
                    <a:pt x="198" y="333"/>
                    <a:pt x="144" y="608"/>
                    <a:pt x="87" y="509"/>
                  </a:cubicBezTo>
                  <a:cubicBezTo>
                    <a:pt x="77" y="478"/>
                    <a:pt x="0" y="559"/>
                    <a:pt x="0" y="559"/>
                  </a:cubicBezTo>
                  <a:lnTo>
                    <a:pt x="20" y="706"/>
                  </a:lnTo>
                  <a:lnTo>
                    <a:pt x="118" y="828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4" name="Freeform 343"/>
            <p:cNvSpPr>
              <a:spLocks/>
            </p:cNvSpPr>
            <p:nvPr/>
          </p:nvSpPr>
          <p:spPr bwMode="auto">
            <a:xfrm>
              <a:off x="7539" y="3796"/>
              <a:ext cx="134" cy="121"/>
            </a:xfrm>
            <a:custGeom>
              <a:avLst/>
              <a:gdLst>
                <a:gd name="T0" fmla="*/ 67 w 827"/>
                <a:gd name="T1" fmla="*/ 676 h 742"/>
                <a:gd name="T2" fmla="*/ 174 w 827"/>
                <a:gd name="T3" fmla="*/ 630 h 742"/>
                <a:gd name="T4" fmla="*/ 581 w 827"/>
                <a:gd name="T5" fmla="*/ 555 h 742"/>
                <a:gd name="T6" fmla="*/ 827 w 827"/>
                <a:gd name="T7" fmla="*/ 6 h 742"/>
                <a:gd name="T8" fmla="*/ 346 w 827"/>
                <a:gd name="T9" fmla="*/ 143 h 742"/>
                <a:gd name="T10" fmla="*/ 111 w 827"/>
                <a:gd name="T11" fmla="*/ 358 h 742"/>
                <a:gd name="T12" fmla="*/ 14 w 827"/>
                <a:gd name="T13" fmla="*/ 387 h 742"/>
                <a:gd name="T14" fmla="*/ 0 w 827"/>
                <a:gd name="T15" fmla="*/ 535 h 742"/>
                <a:gd name="T16" fmla="*/ 67 w 827"/>
                <a:gd name="T17" fmla="*/ 676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7" h="742">
                  <a:moveTo>
                    <a:pt x="67" y="676"/>
                  </a:moveTo>
                  <a:cubicBezTo>
                    <a:pt x="67" y="676"/>
                    <a:pt x="91" y="615"/>
                    <a:pt x="174" y="630"/>
                  </a:cubicBezTo>
                  <a:cubicBezTo>
                    <a:pt x="257" y="646"/>
                    <a:pt x="457" y="742"/>
                    <a:pt x="581" y="555"/>
                  </a:cubicBezTo>
                  <a:cubicBezTo>
                    <a:pt x="667" y="424"/>
                    <a:pt x="817" y="144"/>
                    <a:pt x="827" y="6"/>
                  </a:cubicBezTo>
                  <a:cubicBezTo>
                    <a:pt x="673" y="0"/>
                    <a:pt x="494" y="20"/>
                    <a:pt x="346" y="143"/>
                  </a:cubicBezTo>
                  <a:cubicBezTo>
                    <a:pt x="260" y="214"/>
                    <a:pt x="143" y="468"/>
                    <a:pt x="111" y="358"/>
                  </a:cubicBezTo>
                  <a:cubicBezTo>
                    <a:pt x="108" y="326"/>
                    <a:pt x="14" y="387"/>
                    <a:pt x="14" y="387"/>
                  </a:cubicBezTo>
                  <a:lnTo>
                    <a:pt x="0" y="535"/>
                  </a:lnTo>
                  <a:lnTo>
                    <a:pt x="67" y="676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5" name="Freeform 344"/>
            <p:cNvSpPr>
              <a:spLocks/>
            </p:cNvSpPr>
            <p:nvPr/>
          </p:nvSpPr>
          <p:spPr bwMode="auto">
            <a:xfrm>
              <a:off x="7510" y="3932"/>
              <a:ext cx="147" cy="114"/>
            </a:xfrm>
            <a:custGeom>
              <a:avLst/>
              <a:gdLst>
                <a:gd name="T0" fmla="*/ 40 w 910"/>
                <a:gd name="T1" fmla="*/ 567 h 703"/>
                <a:gd name="T2" fmla="*/ 154 w 910"/>
                <a:gd name="T3" fmla="*/ 541 h 703"/>
                <a:gd name="T4" fmla="*/ 568 w 910"/>
                <a:gd name="T5" fmla="*/ 541 h 703"/>
                <a:gd name="T6" fmla="*/ 910 w 910"/>
                <a:gd name="T7" fmla="*/ 47 h 703"/>
                <a:gd name="T8" fmla="*/ 412 w 910"/>
                <a:gd name="T9" fmla="*/ 93 h 703"/>
                <a:gd name="T10" fmla="*/ 142 w 910"/>
                <a:gd name="T11" fmla="*/ 263 h 703"/>
                <a:gd name="T12" fmla="*/ 41 w 910"/>
                <a:gd name="T13" fmla="*/ 274 h 703"/>
                <a:gd name="T14" fmla="*/ 0 w 910"/>
                <a:gd name="T15" fmla="*/ 416 h 703"/>
                <a:gd name="T16" fmla="*/ 40 w 910"/>
                <a:gd name="T17" fmla="*/ 567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0" h="703">
                  <a:moveTo>
                    <a:pt x="40" y="567"/>
                  </a:moveTo>
                  <a:cubicBezTo>
                    <a:pt x="40" y="567"/>
                    <a:pt x="75" y="511"/>
                    <a:pt x="154" y="541"/>
                  </a:cubicBezTo>
                  <a:cubicBezTo>
                    <a:pt x="234" y="572"/>
                    <a:pt x="413" y="703"/>
                    <a:pt x="568" y="541"/>
                  </a:cubicBezTo>
                  <a:cubicBezTo>
                    <a:pt x="677" y="428"/>
                    <a:pt x="875" y="181"/>
                    <a:pt x="910" y="47"/>
                  </a:cubicBezTo>
                  <a:cubicBezTo>
                    <a:pt x="760" y="13"/>
                    <a:pt x="581" y="0"/>
                    <a:pt x="412" y="93"/>
                  </a:cubicBezTo>
                  <a:cubicBezTo>
                    <a:pt x="314" y="147"/>
                    <a:pt x="154" y="376"/>
                    <a:pt x="142" y="263"/>
                  </a:cubicBezTo>
                  <a:cubicBezTo>
                    <a:pt x="145" y="230"/>
                    <a:pt x="41" y="274"/>
                    <a:pt x="41" y="274"/>
                  </a:cubicBezTo>
                  <a:lnTo>
                    <a:pt x="0" y="416"/>
                  </a:lnTo>
                  <a:lnTo>
                    <a:pt x="40" y="567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6" name="Freeform 345"/>
            <p:cNvSpPr>
              <a:spLocks/>
            </p:cNvSpPr>
            <p:nvPr/>
          </p:nvSpPr>
          <p:spPr bwMode="auto">
            <a:xfrm>
              <a:off x="7460" y="4057"/>
              <a:ext cx="156" cy="108"/>
            </a:xfrm>
            <a:custGeom>
              <a:avLst/>
              <a:gdLst>
                <a:gd name="T0" fmla="*/ 15 w 958"/>
                <a:gd name="T1" fmla="*/ 471 h 666"/>
                <a:gd name="T2" fmla="*/ 131 w 958"/>
                <a:gd name="T3" fmla="*/ 465 h 666"/>
                <a:gd name="T4" fmla="*/ 539 w 958"/>
                <a:gd name="T5" fmla="*/ 532 h 666"/>
                <a:gd name="T6" fmla="*/ 958 w 958"/>
                <a:gd name="T7" fmla="*/ 101 h 666"/>
                <a:gd name="T8" fmla="*/ 459 w 958"/>
                <a:gd name="T9" fmla="*/ 65 h 666"/>
                <a:gd name="T10" fmla="*/ 165 w 958"/>
                <a:gd name="T11" fmla="*/ 188 h 666"/>
                <a:gd name="T12" fmla="*/ 64 w 958"/>
                <a:gd name="T13" fmla="*/ 182 h 666"/>
                <a:gd name="T14" fmla="*/ 0 w 958"/>
                <a:gd name="T15" fmla="*/ 315 h 666"/>
                <a:gd name="T16" fmla="*/ 15 w 958"/>
                <a:gd name="T17" fmla="*/ 471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8" h="666">
                  <a:moveTo>
                    <a:pt x="15" y="471"/>
                  </a:moveTo>
                  <a:cubicBezTo>
                    <a:pt x="15" y="471"/>
                    <a:pt x="58" y="421"/>
                    <a:pt x="131" y="465"/>
                  </a:cubicBezTo>
                  <a:cubicBezTo>
                    <a:pt x="204" y="508"/>
                    <a:pt x="359" y="666"/>
                    <a:pt x="539" y="532"/>
                  </a:cubicBezTo>
                  <a:cubicBezTo>
                    <a:pt x="665" y="439"/>
                    <a:pt x="901" y="227"/>
                    <a:pt x="958" y="101"/>
                  </a:cubicBezTo>
                  <a:cubicBezTo>
                    <a:pt x="815" y="42"/>
                    <a:pt x="641" y="0"/>
                    <a:pt x="459" y="65"/>
                  </a:cubicBezTo>
                  <a:cubicBezTo>
                    <a:pt x="354" y="102"/>
                    <a:pt x="158" y="302"/>
                    <a:pt x="165" y="188"/>
                  </a:cubicBezTo>
                  <a:cubicBezTo>
                    <a:pt x="173" y="156"/>
                    <a:pt x="64" y="182"/>
                    <a:pt x="64" y="182"/>
                  </a:cubicBezTo>
                  <a:lnTo>
                    <a:pt x="0" y="315"/>
                  </a:lnTo>
                  <a:lnTo>
                    <a:pt x="15" y="471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7" name="Freeform 346"/>
            <p:cNvSpPr>
              <a:spLocks/>
            </p:cNvSpPr>
            <p:nvPr/>
          </p:nvSpPr>
          <p:spPr bwMode="auto">
            <a:xfrm>
              <a:off x="7380" y="4173"/>
              <a:ext cx="163" cy="96"/>
            </a:xfrm>
            <a:custGeom>
              <a:avLst/>
              <a:gdLst>
                <a:gd name="T0" fmla="*/ 0 w 1000"/>
                <a:gd name="T1" fmla="*/ 329 h 592"/>
                <a:gd name="T2" fmla="*/ 115 w 1000"/>
                <a:gd name="T3" fmla="*/ 347 h 592"/>
                <a:gd name="T4" fmla="*/ 500 w 1000"/>
                <a:gd name="T5" fmla="*/ 499 h 592"/>
                <a:gd name="T6" fmla="*/ 1000 w 1000"/>
                <a:gd name="T7" fmla="*/ 164 h 592"/>
                <a:gd name="T8" fmla="*/ 520 w 1000"/>
                <a:gd name="T9" fmla="*/ 25 h 592"/>
                <a:gd name="T10" fmla="*/ 206 w 1000"/>
                <a:gd name="T11" fmla="*/ 83 h 592"/>
                <a:gd name="T12" fmla="*/ 109 w 1000"/>
                <a:gd name="T13" fmla="*/ 56 h 592"/>
                <a:gd name="T14" fmla="*/ 18 w 1000"/>
                <a:gd name="T15" fmla="*/ 174 h 592"/>
                <a:gd name="T16" fmla="*/ 0 w 1000"/>
                <a:gd name="T17" fmla="*/ 329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0" h="592">
                  <a:moveTo>
                    <a:pt x="0" y="329"/>
                  </a:moveTo>
                  <a:cubicBezTo>
                    <a:pt x="0" y="329"/>
                    <a:pt x="53" y="289"/>
                    <a:pt x="115" y="347"/>
                  </a:cubicBezTo>
                  <a:cubicBezTo>
                    <a:pt x="177" y="404"/>
                    <a:pt x="296" y="592"/>
                    <a:pt x="500" y="499"/>
                  </a:cubicBezTo>
                  <a:cubicBezTo>
                    <a:pt x="643" y="434"/>
                    <a:pt x="918" y="276"/>
                    <a:pt x="1000" y="164"/>
                  </a:cubicBezTo>
                  <a:cubicBezTo>
                    <a:pt x="873" y="77"/>
                    <a:pt x="711" y="0"/>
                    <a:pt x="520" y="25"/>
                  </a:cubicBezTo>
                  <a:cubicBezTo>
                    <a:pt x="409" y="39"/>
                    <a:pt x="175" y="193"/>
                    <a:pt x="206" y="83"/>
                  </a:cubicBezTo>
                  <a:cubicBezTo>
                    <a:pt x="221" y="54"/>
                    <a:pt x="109" y="56"/>
                    <a:pt x="109" y="56"/>
                  </a:cubicBezTo>
                  <a:lnTo>
                    <a:pt x="18" y="174"/>
                  </a:lnTo>
                  <a:lnTo>
                    <a:pt x="0" y="329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8" name="Freeform 347"/>
            <p:cNvSpPr>
              <a:spLocks/>
            </p:cNvSpPr>
            <p:nvPr/>
          </p:nvSpPr>
          <p:spPr bwMode="auto">
            <a:xfrm>
              <a:off x="7272" y="4263"/>
              <a:ext cx="181" cy="91"/>
            </a:xfrm>
            <a:custGeom>
              <a:avLst/>
              <a:gdLst>
                <a:gd name="T0" fmla="*/ 0 w 1114"/>
                <a:gd name="T1" fmla="*/ 253 h 558"/>
                <a:gd name="T2" fmla="*/ 122 w 1114"/>
                <a:gd name="T3" fmla="*/ 288 h 558"/>
                <a:gd name="T4" fmla="*/ 514 w 1114"/>
                <a:gd name="T5" fmla="*/ 498 h 558"/>
                <a:gd name="T6" fmla="*/ 1114 w 1114"/>
                <a:gd name="T7" fmla="*/ 246 h 558"/>
                <a:gd name="T8" fmla="*/ 617 w 1114"/>
                <a:gd name="T9" fmla="*/ 33 h 558"/>
                <a:gd name="T10" fmla="*/ 266 w 1114"/>
                <a:gd name="T11" fmla="*/ 42 h 558"/>
                <a:gd name="T12" fmla="*/ 165 w 1114"/>
                <a:gd name="T13" fmla="*/ 0 h 558"/>
                <a:gd name="T14" fmla="*/ 47 w 1114"/>
                <a:gd name="T15" fmla="*/ 102 h 558"/>
                <a:gd name="T16" fmla="*/ 0 w 1114"/>
                <a:gd name="T17" fmla="*/ 253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4" h="558">
                  <a:moveTo>
                    <a:pt x="0" y="253"/>
                  </a:moveTo>
                  <a:cubicBezTo>
                    <a:pt x="0" y="253"/>
                    <a:pt x="64" y="222"/>
                    <a:pt x="122" y="288"/>
                  </a:cubicBezTo>
                  <a:cubicBezTo>
                    <a:pt x="180" y="355"/>
                    <a:pt x="276" y="558"/>
                    <a:pt x="514" y="498"/>
                  </a:cubicBezTo>
                  <a:cubicBezTo>
                    <a:pt x="680" y="456"/>
                    <a:pt x="1006" y="344"/>
                    <a:pt x="1114" y="246"/>
                  </a:cubicBezTo>
                  <a:cubicBezTo>
                    <a:pt x="991" y="140"/>
                    <a:pt x="828" y="38"/>
                    <a:pt x="617" y="33"/>
                  </a:cubicBezTo>
                  <a:cubicBezTo>
                    <a:pt x="494" y="30"/>
                    <a:pt x="214" y="146"/>
                    <a:pt x="266" y="42"/>
                  </a:cubicBezTo>
                  <a:cubicBezTo>
                    <a:pt x="287" y="16"/>
                    <a:pt x="165" y="0"/>
                    <a:pt x="165" y="0"/>
                  </a:cubicBezTo>
                  <a:lnTo>
                    <a:pt x="47" y="102"/>
                  </a:lnTo>
                  <a:lnTo>
                    <a:pt x="0" y="253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9" name="Freeform 348"/>
            <p:cNvSpPr>
              <a:spLocks/>
            </p:cNvSpPr>
            <p:nvPr/>
          </p:nvSpPr>
          <p:spPr bwMode="auto">
            <a:xfrm>
              <a:off x="6687" y="3296"/>
              <a:ext cx="871" cy="1138"/>
            </a:xfrm>
            <a:custGeom>
              <a:avLst/>
              <a:gdLst>
                <a:gd name="T0" fmla="*/ 290 w 5360"/>
                <a:gd name="T1" fmla="*/ 6995 h 6995"/>
                <a:gd name="T2" fmla="*/ 1440 w 5360"/>
                <a:gd name="T3" fmla="*/ 6712 h 6995"/>
                <a:gd name="T4" fmla="*/ 4089 w 5360"/>
                <a:gd name="T5" fmla="*/ 5868 h 6995"/>
                <a:gd name="T6" fmla="*/ 5360 w 5360"/>
                <a:gd name="T7" fmla="*/ 3127 h 6995"/>
                <a:gd name="T8" fmla="*/ 4154 w 5360"/>
                <a:gd name="T9" fmla="*/ 615 h 6995"/>
                <a:gd name="T10" fmla="*/ 3155 w 5360"/>
                <a:gd name="T11" fmla="*/ 15 h 6995"/>
                <a:gd name="T12" fmla="*/ 3126 w 5360"/>
                <a:gd name="T13" fmla="*/ 64 h 6995"/>
                <a:gd name="T14" fmla="*/ 3646 w 5360"/>
                <a:gd name="T15" fmla="*/ 366 h 6995"/>
                <a:gd name="T16" fmla="*/ 4339 w 5360"/>
                <a:gd name="T17" fmla="*/ 942 h 6995"/>
                <a:gd name="T18" fmla="*/ 5187 w 5360"/>
                <a:gd name="T19" fmla="*/ 3667 h 6995"/>
                <a:gd name="T20" fmla="*/ 3621 w 5360"/>
                <a:gd name="T21" fmla="*/ 6039 h 6995"/>
                <a:gd name="T22" fmla="*/ 1459 w 5360"/>
                <a:gd name="T23" fmla="*/ 6612 h 6995"/>
                <a:gd name="T24" fmla="*/ 0 w 5360"/>
                <a:gd name="T25" fmla="*/ 6976 h 6995"/>
                <a:gd name="T26" fmla="*/ 290 w 5360"/>
                <a:gd name="T27" fmla="*/ 6995 h 6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60" h="6995">
                  <a:moveTo>
                    <a:pt x="290" y="6995"/>
                  </a:moveTo>
                  <a:cubicBezTo>
                    <a:pt x="290" y="6995"/>
                    <a:pt x="543" y="6719"/>
                    <a:pt x="1440" y="6712"/>
                  </a:cubicBezTo>
                  <a:cubicBezTo>
                    <a:pt x="2337" y="6705"/>
                    <a:pt x="3044" y="6660"/>
                    <a:pt x="4089" y="5868"/>
                  </a:cubicBezTo>
                  <a:cubicBezTo>
                    <a:pt x="5135" y="5076"/>
                    <a:pt x="5360" y="3790"/>
                    <a:pt x="5360" y="3127"/>
                  </a:cubicBezTo>
                  <a:cubicBezTo>
                    <a:pt x="5360" y="2465"/>
                    <a:pt x="5066" y="1337"/>
                    <a:pt x="4154" y="615"/>
                  </a:cubicBezTo>
                  <a:cubicBezTo>
                    <a:pt x="3805" y="338"/>
                    <a:pt x="3256" y="35"/>
                    <a:pt x="3155" y="15"/>
                  </a:cubicBezTo>
                  <a:cubicBezTo>
                    <a:pt x="3081" y="0"/>
                    <a:pt x="3082" y="39"/>
                    <a:pt x="3126" y="64"/>
                  </a:cubicBezTo>
                  <a:cubicBezTo>
                    <a:pt x="3284" y="153"/>
                    <a:pt x="3373" y="185"/>
                    <a:pt x="3646" y="366"/>
                  </a:cubicBezTo>
                  <a:cubicBezTo>
                    <a:pt x="3888" y="526"/>
                    <a:pt x="4145" y="735"/>
                    <a:pt x="4339" y="942"/>
                  </a:cubicBezTo>
                  <a:cubicBezTo>
                    <a:pt x="4752" y="1385"/>
                    <a:pt x="5355" y="2299"/>
                    <a:pt x="5187" y="3667"/>
                  </a:cubicBezTo>
                  <a:cubicBezTo>
                    <a:pt x="5020" y="5035"/>
                    <a:pt x="4112" y="5734"/>
                    <a:pt x="3621" y="6039"/>
                  </a:cubicBezTo>
                  <a:cubicBezTo>
                    <a:pt x="3129" y="6344"/>
                    <a:pt x="2430" y="6630"/>
                    <a:pt x="1459" y="6612"/>
                  </a:cubicBezTo>
                  <a:cubicBezTo>
                    <a:pt x="487" y="6593"/>
                    <a:pt x="0" y="6976"/>
                    <a:pt x="0" y="6976"/>
                  </a:cubicBezTo>
                  <a:lnTo>
                    <a:pt x="290" y="6995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70" name="Magnifying_Glass2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1544273" y="3502871"/>
            <a:ext cx="485240" cy="485240"/>
          </a:xfrm>
          <a:custGeom>
            <a:avLst/>
            <a:gdLst>
              <a:gd name="T0" fmla="*/ 634 w 896"/>
              <a:gd name="T1" fmla="*/ 514 h 896"/>
              <a:gd name="T2" fmla="*/ 623 w 896"/>
              <a:gd name="T3" fmla="*/ 503 h 896"/>
              <a:gd name="T4" fmla="*/ 619 w 896"/>
              <a:gd name="T5" fmla="*/ 500 h 896"/>
              <a:gd name="T6" fmla="*/ 665 w 896"/>
              <a:gd name="T7" fmla="*/ 332 h 896"/>
              <a:gd name="T8" fmla="*/ 332 w 896"/>
              <a:gd name="T9" fmla="*/ 0 h 896"/>
              <a:gd name="T10" fmla="*/ 0 w 896"/>
              <a:gd name="T11" fmla="*/ 332 h 896"/>
              <a:gd name="T12" fmla="*/ 332 w 896"/>
              <a:gd name="T13" fmla="*/ 665 h 896"/>
              <a:gd name="T14" fmla="*/ 499 w 896"/>
              <a:gd name="T15" fmla="*/ 620 h 896"/>
              <a:gd name="T16" fmla="*/ 502 w 896"/>
              <a:gd name="T17" fmla="*/ 624 h 896"/>
              <a:gd name="T18" fmla="*/ 514 w 896"/>
              <a:gd name="T19" fmla="*/ 635 h 896"/>
              <a:gd name="T20" fmla="*/ 583 w 896"/>
              <a:gd name="T21" fmla="*/ 584 h 896"/>
              <a:gd name="T22" fmla="*/ 634 w 896"/>
              <a:gd name="T23" fmla="*/ 514 h 896"/>
              <a:gd name="T24" fmla="*/ 332 w 896"/>
              <a:gd name="T25" fmla="*/ 564 h 896"/>
              <a:gd name="T26" fmla="*/ 100 w 896"/>
              <a:gd name="T27" fmla="*/ 332 h 896"/>
              <a:gd name="T28" fmla="*/ 332 w 896"/>
              <a:gd name="T29" fmla="*/ 100 h 896"/>
              <a:gd name="T30" fmla="*/ 564 w 896"/>
              <a:gd name="T31" fmla="*/ 332 h 896"/>
              <a:gd name="T32" fmla="*/ 332 w 896"/>
              <a:gd name="T33" fmla="*/ 564 h 896"/>
              <a:gd name="T34" fmla="*/ 860 w 896"/>
              <a:gd name="T35" fmla="*/ 740 h 896"/>
              <a:gd name="T36" fmla="*/ 657 w 896"/>
              <a:gd name="T37" fmla="*/ 537 h 896"/>
              <a:gd name="T38" fmla="*/ 604 w 896"/>
              <a:gd name="T39" fmla="*/ 606 h 896"/>
              <a:gd name="T40" fmla="*/ 537 w 896"/>
              <a:gd name="T41" fmla="*/ 658 h 896"/>
              <a:gd name="T42" fmla="*/ 739 w 896"/>
              <a:gd name="T43" fmla="*/ 860 h 896"/>
              <a:gd name="T44" fmla="*/ 798 w 896"/>
              <a:gd name="T45" fmla="*/ 798 h 896"/>
              <a:gd name="T46" fmla="*/ 860 w 896"/>
              <a:gd name="T47" fmla="*/ 740 h 896"/>
              <a:gd name="T48" fmla="*/ 881 w 896"/>
              <a:gd name="T49" fmla="*/ 769 h 896"/>
              <a:gd name="T50" fmla="*/ 828 w 896"/>
              <a:gd name="T51" fmla="*/ 831 h 896"/>
              <a:gd name="T52" fmla="*/ 769 w 896"/>
              <a:gd name="T53" fmla="*/ 882 h 896"/>
              <a:gd name="T54" fmla="*/ 864 w 896"/>
              <a:gd name="T55" fmla="*/ 865 h 896"/>
              <a:gd name="T56" fmla="*/ 881 w 896"/>
              <a:gd name="T57" fmla="*/ 769 h 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96" h="896">
                <a:moveTo>
                  <a:pt x="634" y="514"/>
                </a:moveTo>
                <a:lnTo>
                  <a:pt x="623" y="503"/>
                </a:lnTo>
                <a:cubicBezTo>
                  <a:pt x="622" y="502"/>
                  <a:pt x="621" y="501"/>
                  <a:pt x="619" y="500"/>
                </a:cubicBezTo>
                <a:cubicBezTo>
                  <a:pt x="648" y="451"/>
                  <a:pt x="665" y="393"/>
                  <a:pt x="665" y="332"/>
                </a:cubicBezTo>
                <a:cubicBezTo>
                  <a:pt x="665" y="149"/>
                  <a:pt x="516" y="0"/>
                  <a:pt x="332" y="0"/>
                </a:cubicBezTo>
                <a:cubicBezTo>
                  <a:pt x="149" y="0"/>
                  <a:pt x="0" y="149"/>
                  <a:pt x="0" y="332"/>
                </a:cubicBezTo>
                <a:cubicBezTo>
                  <a:pt x="0" y="516"/>
                  <a:pt x="149" y="665"/>
                  <a:pt x="332" y="665"/>
                </a:cubicBezTo>
                <a:cubicBezTo>
                  <a:pt x="393" y="665"/>
                  <a:pt x="450" y="648"/>
                  <a:pt x="499" y="620"/>
                </a:cubicBezTo>
                <a:cubicBezTo>
                  <a:pt x="500" y="621"/>
                  <a:pt x="501" y="622"/>
                  <a:pt x="502" y="624"/>
                </a:cubicBezTo>
                <a:lnTo>
                  <a:pt x="514" y="635"/>
                </a:lnTo>
                <a:cubicBezTo>
                  <a:pt x="536" y="622"/>
                  <a:pt x="565" y="603"/>
                  <a:pt x="583" y="584"/>
                </a:cubicBezTo>
                <a:cubicBezTo>
                  <a:pt x="602" y="565"/>
                  <a:pt x="621" y="536"/>
                  <a:pt x="634" y="514"/>
                </a:cubicBezTo>
                <a:close/>
                <a:moveTo>
                  <a:pt x="332" y="564"/>
                </a:moveTo>
                <a:cubicBezTo>
                  <a:pt x="204" y="564"/>
                  <a:pt x="100" y="460"/>
                  <a:pt x="100" y="332"/>
                </a:cubicBezTo>
                <a:cubicBezTo>
                  <a:pt x="100" y="204"/>
                  <a:pt x="204" y="100"/>
                  <a:pt x="332" y="100"/>
                </a:cubicBezTo>
                <a:cubicBezTo>
                  <a:pt x="460" y="100"/>
                  <a:pt x="564" y="204"/>
                  <a:pt x="564" y="332"/>
                </a:cubicBezTo>
                <a:cubicBezTo>
                  <a:pt x="564" y="460"/>
                  <a:pt x="460" y="564"/>
                  <a:pt x="332" y="564"/>
                </a:cubicBezTo>
                <a:close/>
                <a:moveTo>
                  <a:pt x="860" y="740"/>
                </a:moveTo>
                <a:lnTo>
                  <a:pt x="657" y="537"/>
                </a:lnTo>
                <a:cubicBezTo>
                  <a:pt x="648" y="554"/>
                  <a:pt x="633" y="577"/>
                  <a:pt x="604" y="606"/>
                </a:cubicBezTo>
                <a:cubicBezTo>
                  <a:pt x="576" y="634"/>
                  <a:pt x="554" y="649"/>
                  <a:pt x="537" y="658"/>
                </a:cubicBezTo>
                <a:lnTo>
                  <a:pt x="739" y="860"/>
                </a:lnTo>
                <a:cubicBezTo>
                  <a:pt x="756" y="841"/>
                  <a:pt x="780" y="816"/>
                  <a:pt x="798" y="798"/>
                </a:cubicBezTo>
                <a:cubicBezTo>
                  <a:pt x="817" y="779"/>
                  <a:pt x="842" y="756"/>
                  <a:pt x="860" y="740"/>
                </a:cubicBezTo>
                <a:close/>
                <a:moveTo>
                  <a:pt x="881" y="769"/>
                </a:moveTo>
                <a:cubicBezTo>
                  <a:pt x="871" y="784"/>
                  <a:pt x="855" y="805"/>
                  <a:pt x="828" y="831"/>
                </a:cubicBezTo>
                <a:cubicBezTo>
                  <a:pt x="803" y="856"/>
                  <a:pt x="784" y="872"/>
                  <a:pt x="769" y="882"/>
                </a:cubicBezTo>
                <a:cubicBezTo>
                  <a:pt x="800" y="896"/>
                  <a:pt x="838" y="890"/>
                  <a:pt x="864" y="865"/>
                </a:cubicBezTo>
                <a:cubicBezTo>
                  <a:pt x="890" y="839"/>
                  <a:pt x="896" y="801"/>
                  <a:pt x="881" y="76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pPr defTabSz="7429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3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71" name="Main_Office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2060990" y="2402625"/>
            <a:ext cx="562715" cy="485240"/>
            <a:chOff x="8" y="8"/>
            <a:chExt cx="552" cy="476"/>
          </a:xfrm>
          <a:solidFill>
            <a:schemeClr val="bg1"/>
          </a:solidFill>
        </p:grpSpPr>
        <p:sp>
          <p:nvSpPr>
            <p:cNvPr id="72" name="Main_Office"/>
            <p:cNvSpPr>
              <a:spLocks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8" y="254"/>
              <a:ext cx="552" cy="230"/>
            </a:xfrm>
            <a:custGeom>
              <a:avLst/>
              <a:gdLst>
                <a:gd name="T0" fmla="*/ 1181 w 1250"/>
                <a:gd name="T1" fmla="*/ 0 h 520"/>
                <a:gd name="T2" fmla="*/ 69 w 1250"/>
                <a:gd name="T3" fmla="*/ 0 h 520"/>
                <a:gd name="T4" fmla="*/ 0 w 1250"/>
                <a:gd name="T5" fmla="*/ 0 h 520"/>
                <a:gd name="T6" fmla="*/ 0 w 1250"/>
                <a:gd name="T7" fmla="*/ 86 h 520"/>
                <a:gd name="T8" fmla="*/ 69 w 1250"/>
                <a:gd name="T9" fmla="*/ 86 h 520"/>
                <a:gd name="T10" fmla="*/ 69 w 1250"/>
                <a:gd name="T11" fmla="*/ 520 h 520"/>
                <a:gd name="T12" fmla="*/ 1181 w 1250"/>
                <a:gd name="T13" fmla="*/ 520 h 520"/>
                <a:gd name="T14" fmla="*/ 1181 w 1250"/>
                <a:gd name="T15" fmla="*/ 86 h 520"/>
                <a:gd name="T16" fmla="*/ 1250 w 1250"/>
                <a:gd name="T17" fmla="*/ 86 h 520"/>
                <a:gd name="T18" fmla="*/ 1250 w 1250"/>
                <a:gd name="T19" fmla="*/ 0 h 520"/>
                <a:gd name="T20" fmla="*/ 1181 w 1250"/>
                <a:gd name="T21" fmla="*/ 0 h 520"/>
                <a:gd name="T22" fmla="*/ 727 w 1250"/>
                <a:gd name="T23" fmla="*/ 418 h 520"/>
                <a:gd name="T24" fmla="*/ 625 w 1250"/>
                <a:gd name="T25" fmla="*/ 344 h 520"/>
                <a:gd name="T26" fmla="*/ 523 w 1250"/>
                <a:gd name="T27" fmla="*/ 418 h 520"/>
                <a:gd name="T28" fmla="*/ 562 w 1250"/>
                <a:gd name="T29" fmla="*/ 298 h 520"/>
                <a:gd name="T30" fmla="*/ 460 w 1250"/>
                <a:gd name="T31" fmla="*/ 224 h 520"/>
                <a:gd name="T32" fmla="*/ 586 w 1250"/>
                <a:gd name="T33" fmla="*/ 224 h 520"/>
                <a:gd name="T34" fmla="*/ 625 w 1250"/>
                <a:gd name="T35" fmla="*/ 104 h 520"/>
                <a:gd name="T36" fmla="*/ 664 w 1250"/>
                <a:gd name="T37" fmla="*/ 224 h 520"/>
                <a:gd name="T38" fmla="*/ 790 w 1250"/>
                <a:gd name="T39" fmla="*/ 224 h 520"/>
                <a:gd name="T40" fmla="*/ 688 w 1250"/>
                <a:gd name="T41" fmla="*/ 298 h 520"/>
                <a:gd name="T42" fmla="*/ 727 w 1250"/>
                <a:gd name="T43" fmla="*/ 418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50" h="520">
                  <a:moveTo>
                    <a:pt x="1181" y="0"/>
                  </a:moveTo>
                  <a:lnTo>
                    <a:pt x="69" y="0"/>
                  </a:lnTo>
                  <a:lnTo>
                    <a:pt x="0" y="0"/>
                  </a:lnTo>
                  <a:lnTo>
                    <a:pt x="0" y="86"/>
                  </a:lnTo>
                  <a:lnTo>
                    <a:pt x="69" y="86"/>
                  </a:lnTo>
                  <a:lnTo>
                    <a:pt x="69" y="520"/>
                  </a:lnTo>
                  <a:lnTo>
                    <a:pt x="1181" y="520"/>
                  </a:lnTo>
                  <a:lnTo>
                    <a:pt x="1181" y="86"/>
                  </a:lnTo>
                  <a:lnTo>
                    <a:pt x="1250" y="86"/>
                  </a:lnTo>
                  <a:lnTo>
                    <a:pt x="1250" y="0"/>
                  </a:lnTo>
                  <a:lnTo>
                    <a:pt x="1181" y="0"/>
                  </a:lnTo>
                  <a:close/>
                  <a:moveTo>
                    <a:pt x="727" y="418"/>
                  </a:moveTo>
                  <a:lnTo>
                    <a:pt x="625" y="344"/>
                  </a:lnTo>
                  <a:lnTo>
                    <a:pt x="523" y="418"/>
                  </a:lnTo>
                  <a:lnTo>
                    <a:pt x="562" y="298"/>
                  </a:lnTo>
                  <a:lnTo>
                    <a:pt x="460" y="224"/>
                  </a:lnTo>
                  <a:lnTo>
                    <a:pt x="586" y="224"/>
                  </a:lnTo>
                  <a:lnTo>
                    <a:pt x="625" y="104"/>
                  </a:lnTo>
                  <a:lnTo>
                    <a:pt x="664" y="224"/>
                  </a:lnTo>
                  <a:lnTo>
                    <a:pt x="790" y="224"/>
                  </a:lnTo>
                  <a:lnTo>
                    <a:pt x="688" y="298"/>
                  </a:lnTo>
                  <a:lnTo>
                    <a:pt x="727" y="4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3" name="Main_Office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38" y="8"/>
              <a:ext cx="92" cy="92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4" name="Main_Office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69" y="115"/>
              <a:ext cx="230" cy="123"/>
            </a:xfrm>
            <a:custGeom>
              <a:avLst/>
              <a:gdLst>
                <a:gd name="T0" fmla="*/ 399 w 520"/>
                <a:gd name="T1" fmla="*/ 0 h 278"/>
                <a:gd name="T2" fmla="*/ 121 w 520"/>
                <a:gd name="T3" fmla="*/ 0 h 278"/>
                <a:gd name="T4" fmla="*/ 0 w 520"/>
                <a:gd name="T5" fmla="*/ 122 h 278"/>
                <a:gd name="T6" fmla="*/ 0 w 520"/>
                <a:gd name="T7" fmla="*/ 243 h 278"/>
                <a:gd name="T8" fmla="*/ 0 w 520"/>
                <a:gd name="T9" fmla="*/ 278 h 278"/>
                <a:gd name="T10" fmla="*/ 86 w 520"/>
                <a:gd name="T11" fmla="*/ 278 h 278"/>
                <a:gd name="T12" fmla="*/ 86 w 520"/>
                <a:gd name="T13" fmla="*/ 243 h 278"/>
                <a:gd name="T14" fmla="*/ 86 w 520"/>
                <a:gd name="T15" fmla="*/ 139 h 278"/>
                <a:gd name="T16" fmla="*/ 121 w 520"/>
                <a:gd name="T17" fmla="*/ 139 h 278"/>
                <a:gd name="T18" fmla="*/ 121 w 520"/>
                <a:gd name="T19" fmla="*/ 243 h 278"/>
                <a:gd name="T20" fmla="*/ 121 w 520"/>
                <a:gd name="T21" fmla="*/ 278 h 278"/>
                <a:gd name="T22" fmla="*/ 399 w 520"/>
                <a:gd name="T23" fmla="*/ 278 h 278"/>
                <a:gd name="T24" fmla="*/ 399 w 520"/>
                <a:gd name="T25" fmla="*/ 243 h 278"/>
                <a:gd name="T26" fmla="*/ 399 w 520"/>
                <a:gd name="T27" fmla="*/ 139 h 278"/>
                <a:gd name="T28" fmla="*/ 434 w 520"/>
                <a:gd name="T29" fmla="*/ 139 h 278"/>
                <a:gd name="T30" fmla="*/ 434 w 520"/>
                <a:gd name="T31" fmla="*/ 243 h 278"/>
                <a:gd name="T32" fmla="*/ 434 w 520"/>
                <a:gd name="T33" fmla="*/ 278 h 278"/>
                <a:gd name="T34" fmla="*/ 520 w 520"/>
                <a:gd name="T35" fmla="*/ 278 h 278"/>
                <a:gd name="T36" fmla="*/ 520 w 520"/>
                <a:gd name="T37" fmla="*/ 243 h 278"/>
                <a:gd name="T38" fmla="*/ 520 w 520"/>
                <a:gd name="T39" fmla="*/ 122 h 278"/>
                <a:gd name="T40" fmla="*/ 399 w 520"/>
                <a:gd name="T41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0" h="278">
                  <a:moveTo>
                    <a:pt x="399" y="0"/>
                  </a:moveTo>
                  <a:lnTo>
                    <a:pt x="121" y="0"/>
                  </a:lnTo>
                  <a:cubicBezTo>
                    <a:pt x="34" y="0"/>
                    <a:pt x="0" y="70"/>
                    <a:pt x="0" y="122"/>
                  </a:cubicBezTo>
                  <a:lnTo>
                    <a:pt x="0" y="243"/>
                  </a:lnTo>
                  <a:lnTo>
                    <a:pt x="0" y="278"/>
                  </a:lnTo>
                  <a:lnTo>
                    <a:pt x="86" y="278"/>
                  </a:lnTo>
                  <a:lnTo>
                    <a:pt x="86" y="243"/>
                  </a:lnTo>
                  <a:lnTo>
                    <a:pt x="86" y="139"/>
                  </a:lnTo>
                  <a:lnTo>
                    <a:pt x="121" y="139"/>
                  </a:lnTo>
                  <a:lnTo>
                    <a:pt x="121" y="243"/>
                  </a:lnTo>
                  <a:lnTo>
                    <a:pt x="121" y="278"/>
                  </a:lnTo>
                  <a:lnTo>
                    <a:pt x="399" y="278"/>
                  </a:lnTo>
                  <a:lnTo>
                    <a:pt x="399" y="243"/>
                  </a:lnTo>
                  <a:lnTo>
                    <a:pt x="399" y="139"/>
                  </a:lnTo>
                  <a:lnTo>
                    <a:pt x="434" y="139"/>
                  </a:lnTo>
                  <a:lnTo>
                    <a:pt x="434" y="243"/>
                  </a:lnTo>
                  <a:lnTo>
                    <a:pt x="434" y="278"/>
                  </a:lnTo>
                  <a:lnTo>
                    <a:pt x="520" y="278"/>
                  </a:lnTo>
                  <a:lnTo>
                    <a:pt x="520" y="243"/>
                  </a:lnTo>
                  <a:lnTo>
                    <a:pt x="520" y="122"/>
                  </a:lnTo>
                  <a:cubicBezTo>
                    <a:pt x="520" y="70"/>
                    <a:pt x="486" y="0"/>
                    <a:pt x="39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defTabSz="7429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2" name="Rectangle 1"/>
          <p:cNvSpPr/>
          <p:nvPr/>
        </p:nvSpPr>
        <p:spPr>
          <a:xfrm>
            <a:off x="3121710" y="1071874"/>
            <a:ext cx="644350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 legge di Bilancio 2018 commi 411-414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evede che tutti gli 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dini di acquisto 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la pubblica amministrazione dovranno essere effettuati 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clusivamente in formato elettronico 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 trasmessi tramite il Nodo di Smistamento degli Ordini (NSO).</a:t>
            </a:r>
          </a:p>
        </p:txBody>
      </p:sp>
      <p:sp>
        <p:nvSpPr>
          <p:cNvPr id="3" name="Rectangle 2"/>
          <p:cNvSpPr/>
          <p:nvPr/>
        </p:nvSpPr>
        <p:spPr>
          <a:xfrm>
            <a:off x="3107600" y="2313221"/>
            <a:ext cx="645761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l 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creto MEF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l 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 Dicembre 2018 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 modalità e tempi di attuazione prevede 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’obbligo per le aziende SSN 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partire dal </a:t>
            </a: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Ottobre 2019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sp>
        <p:nvSpPr>
          <p:cNvPr id="4" name="Rectangle 3"/>
          <p:cNvSpPr/>
          <p:nvPr/>
        </p:nvSpPr>
        <p:spPr>
          <a:xfrm>
            <a:off x="3121709" y="3336838"/>
            <a:ext cx="644350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600"/>
              </a:spcAft>
              <a:buSzPct val="100000"/>
              <a:tabLst>
                <a:tab pos="6729413" algn="r"/>
              </a:tabLst>
            </a:pP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SO prevede due scenari di implementazione:</a:t>
            </a:r>
          </a:p>
          <a:p>
            <a:pPr marL="800100" lvl="1" indent="-342900" algn="just" fontAlgn="auto"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q"/>
              <a:tabLst>
                <a:tab pos="6729413" algn="r"/>
              </a:tabLst>
            </a:pP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smissione;</a:t>
            </a:r>
            <a:r>
              <a:rPr lang="it-IT" sz="1800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800100" lvl="1" indent="-342900" algn="just" fontAlgn="auto">
              <a:spcBef>
                <a:spcPts val="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q"/>
              <a:tabLst>
                <a:tab pos="6729413" algn="r"/>
              </a:tabLst>
            </a:pPr>
            <a:r>
              <a:rPr lang="it-IT" sz="18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lidazione.</a:t>
            </a:r>
          </a:p>
        </p:txBody>
      </p:sp>
    </p:spTree>
    <p:extLst>
      <p:ext uri="{BB962C8B-B14F-4D97-AF65-F5344CB8AC3E}">
        <p14:creationId xmlns:p14="http://schemas.microsoft.com/office/powerpoint/2010/main" val="2462264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CasellaDiTesto 34">
            <a:extLst>
              <a:ext uri="{FF2B5EF4-FFF2-40B4-BE49-F238E27FC236}">
                <a16:creationId xmlns:a16="http://schemas.microsoft.com/office/drawing/2014/main" id="{D796B015-2ED9-6447-ADD1-E2E4EF317C31}"/>
              </a:ext>
            </a:extLst>
          </p:cNvPr>
          <p:cNvSpPr txBox="1"/>
          <p:nvPr/>
        </p:nvSpPr>
        <p:spPr>
          <a:xfrm>
            <a:off x="1173163" y="1077570"/>
            <a:ext cx="28129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enario di Validazione</a:t>
            </a:r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A773F583-D743-4741-8C4F-AF4E4E43B3B2}"/>
              </a:ext>
            </a:extLst>
          </p:cNvPr>
          <p:cNvSpPr txBox="1"/>
          <p:nvPr/>
        </p:nvSpPr>
        <p:spPr>
          <a:xfrm>
            <a:off x="126405" y="4080335"/>
            <a:ext cx="4767750" cy="2292935"/>
          </a:xfrm>
          <a:prstGeom prst="rect">
            <a:avLst/>
          </a:prstGeom>
          <a:noFill/>
          <a:ln w="19050">
            <a:solidFill>
              <a:srgbClr val="002060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278606" indent="-278606" algn="just">
              <a:buFont typeface="+mj-lt"/>
              <a:buAutoNum type="arabicPeriod"/>
            </a:pP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La  </a:t>
            </a:r>
            <a:r>
              <a:rPr lang="en-US" sz="1300" b="1" dirty="0" err="1">
                <a:latin typeface="Calibri" panose="020F0502020204030204" pitchFamily="34" charset="0"/>
                <a:cs typeface="Calibri" panose="020F0502020204030204" pitchFamily="34" charset="0"/>
              </a:rPr>
              <a:t>Pubblica</a:t>
            </a:r>
            <a:r>
              <a:rPr lang="en-US" sz="13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300" b="1" dirty="0" err="1">
                <a:latin typeface="Calibri" panose="020F0502020204030204" pitchFamily="34" charset="0"/>
                <a:cs typeface="Calibri" panose="020F0502020204030204" pitchFamily="34" charset="0"/>
              </a:rPr>
              <a:t>Amministrazione</a:t>
            </a:r>
            <a:r>
              <a:rPr lang="en-US" sz="13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iscritta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en-US" sz="1300" b="1" dirty="0" err="1">
                <a:latin typeface="Calibri" panose="020F0502020204030204" pitchFamily="34" charset="0"/>
                <a:cs typeface="Calibri" panose="020F0502020204030204" pitchFamily="34" charset="0"/>
              </a:rPr>
              <a:t>Peppol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300" b="1" dirty="0" err="1">
                <a:latin typeface="Calibri" panose="020F0502020204030204" pitchFamily="34" charset="0"/>
                <a:cs typeface="Calibri" panose="020F0502020204030204" pitchFamily="34" charset="0"/>
              </a:rPr>
              <a:t>consegna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l’ordine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al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proprio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Access Point  (</a:t>
            </a:r>
            <a:r>
              <a:rPr lang="en-US" sz="1300" b="1" dirty="0">
                <a:latin typeface="Calibri" panose="020F0502020204030204" pitchFamily="34" charset="0"/>
                <a:cs typeface="Calibri" panose="020F0502020204030204" pitchFamily="34" charset="0"/>
              </a:rPr>
              <a:t>Corner 2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specificando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come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destinatario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300" b="1" dirty="0">
                <a:latin typeface="Calibri" panose="020F0502020204030204" pitchFamily="34" charset="0"/>
                <a:cs typeface="Calibri" panose="020F0502020204030204" pitchFamily="34" charset="0"/>
              </a:rPr>
              <a:t>9906:PartitaIVA</a:t>
            </a:r>
            <a:endParaRPr lang="en-US" sz="13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78606" indent="-278606" algn="just">
              <a:buFont typeface="+mj-lt"/>
              <a:buAutoNum type="arabicPeriod"/>
            </a:pP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</a:rPr>
              <a:t>L’Access Point (</a:t>
            </a:r>
            <a:r>
              <a:rPr lang="it-IT" sz="1300" b="1" dirty="0">
                <a:latin typeface="Calibri" panose="020F0502020204030204" pitchFamily="34" charset="0"/>
                <a:cs typeface="Calibri" panose="020F0502020204030204" pitchFamily="34" charset="0"/>
              </a:rPr>
              <a:t>Corner 2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  <a:r>
              <a:rPr lang="it-IT" sz="1300" b="1" dirty="0">
                <a:latin typeface="Calibri" panose="020F0502020204030204" pitchFamily="34" charset="0"/>
                <a:cs typeface="Calibri" panose="020F0502020204030204" pitchFamily="34" charset="0"/>
              </a:rPr>
              <a:t>invia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</a:rPr>
              <a:t> l’ordine a </a:t>
            </a:r>
            <a:r>
              <a:rPr lang="it-IT" sz="1300" b="1" dirty="0">
                <a:latin typeface="Calibri" panose="020F0502020204030204" pitchFamily="34" charset="0"/>
                <a:cs typeface="Calibri" panose="020F0502020204030204" pitchFamily="34" charset="0"/>
              </a:rPr>
              <a:t>NSO.</a:t>
            </a:r>
            <a:endParaRPr lang="it-IT" sz="13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78606" indent="-278606" algn="just">
              <a:buFont typeface="+mj-lt"/>
              <a:buAutoNum type="arabicPeriod"/>
            </a:pPr>
            <a:r>
              <a:rPr lang="it-IT" sz="1300" b="1" dirty="0">
                <a:latin typeface="Calibri" panose="020F0502020204030204" pitchFamily="34" charset="0"/>
                <a:cs typeface="Calibri" panose="020F0502020204030204" pitchFamily="34" charset="0"/>
              </a:rPr>
              <a:t>NSO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1300" b="1" dirty="0">
                <a:latin typeface="Calibri" panose="020F0502020204030204" pitchFamily="34" charset="0"/>
                <a:cs typeface="Calibri" panose="020F0502020204030204" pitchFamily="34" charset="0"/>
              </a:rPr>
              <a:t>verifica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1300" b="1" dirty="0">
                <a:latin typeface="Calibri" panose="020F0502020204030204" pitchFamily="34" charset="0"/>
                <a:cs typeface="Calibri" panose="020F0502020204030204" pitchFamily="34" charset="0"/>
              </a:rPr>
              <a:t>l’indirizzo del destinatario 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</a:rPr>
              <a:t>e attiva lo scenario di </a:t>
            </a:r>
            <a:r>
              <a:rPr lang="it-IT" sz="1300" b="1" dirty="0">
                <a:latin typeface="Calibri" panose="020F0502020204030204" pitchFamily="34" charset="0"/>
                <a:cs typeface="Calibri" panose="020F0502020204030204" pitchFamily="34" charset="0"/>
              </a:rPr>
              <a:t>validazione.</a:t>
            </a:r>
          </a:p>
          <a:p>
            <a:pPr marL="278606" indent="-278606" algn="just">
              <a:buFont typeface="+mj-lt"/>
              <a:buAutoNum type="arabicPeriod"/>
            </a:pP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</a:rPr>
              <a:t>NSO valida l’ordine e invia notifica all’Access Point della PA (Corner 2).</a:t>
            </a:r>
          </a:p>
          <a:p>
            <a:pPr marL="278606" indent="-278606" algn="just">
              <a:buFont typeface="+mj-lt"/>
              <a:buAutoNum type="arabicPeriod"/>
            </a:pPr>
            <a:r>
              <a:rPr lang="it-IT" sz="1300" b="1" dirty="0">
                <a:latin typeface="Calibri" panose="020F0502020204030204" pitchFamily="34" charset="0"/>
                <a:cs typeface="Calibri" panose="020F0502020204030204" pitchFamily="34" charset="0"/>
              </a:rPr>
              <a:t>L’Access Point della PA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</a:rPr>
              <a:t> verifica nel SML </a:t>
            </a:r>
            <a:r>
              <a:rPr lang="it-IT" sz="1300" b="1" dirty="0">
                <a:latin typeface="Calibri" panose="020F0502020204030204" pitchFamily="34" charset="0"/>
                <a:cs typeface="Calibri" panose="020F0502020204030204" pitchFamily="34" charset="0"/>
              </a:rPr>
              <a:t>l’Access Point dell’OE (Corner 3) 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</a:rPr>
              <a:t>e gli invia l’odine validato.</a:t>
            </a:r>
          </a:p>
          <a:p>
            <a:pPr marL="278606" indent="-278606" algn="just">
              <a:buFont typeface="+mj-lt"/>
              <a:buAutoNum type="arabicPeriod"/>
            </a:pPr>
            <a:r>
              <a:rPr lang="it-IT" sz="1300" b="1" dirty="0">
                <a:latin typeface="Calibri" panose="020F0502020204030204" pitchFamily="34" charset="0"/>
                <a:cs typeface="Calibri" panose="020F0502020204030204" pitchFamily="34" charset="0"/>
              </a:rPr>
              <a:t>L’Access Point dell’OE 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</a:rPr>
              <a:t>(Corner 3) invia l’ordine all’OE.</a:t>
            </a:r>
          </a:p>
        </p:txBody>
      </p:sp>
      <p:sp>
        <p:nvSpPr>
          <p:cNvPr id="141" name="CasellaDiTesto 37">
            <a:extLst>
              <a:ext uri="{FF2B5EF4-FFF2-40B4-BE49-F238E27FC236}">
                <a16:creationId xmlns:a16="http://schemas.microsoft.com/office/drawing/2014/main" id="{A773F583-D743-4741-8C4F-AF4E4E43B3B2}"/>
              </a:ext>
            </a:extLst>
          </p:cNvPr>
          <p:cNvSpPr txBox="1"/>
          <p:nvPr/>
        </p:nvSpPr>
        <p:spPr>
          <a:xfrm>
            <a:off x="5002022" y="4120912"/>
            <a:ext cx="4768168" cy="1892826"/>
          </a:xfrm>
          <a:prstGeom prst="rect">
            <a:avLst/>
          </a:prstGeom>
          <a:noFill/>
          <a:ln w="19050">
            <a:solidFill>
              <a:srgbClr val="FFC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278606" indent="-278606" algn="just">
              <a:buFont typeface="+mj-lt"/>
              <a:buAutoNum type="arabicPeriod"/>
            </a:pPr>
            <a:r>
              <a:rPr lang="it-IT" sz="1300" b="1" dirty="0">
                <a:latin typeface="Calibri" panose="020F0502020204030204" pitchFamily="34" charset="0"/>
                <a:cs typeface="Calibri" panose="020F0502020204030204" pitchFamily="34" charset="0"/>
              </a:rPr>
              <a:t>L’Operatore Economico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</a:rPr>
              <a:t> iscritto a </a:t>
            </a:r>
            <a:r>
              <a:rPr lang="it-IT" sz="1300" b="1" dirty="0">
                <a:latin typeface="Calibri" panose="020F0502020204030204" pitchFamily="34" charset="0"/>
                <a:cs typeface="Calibri" panose="020F0502020204030204" pitchFamily="34" charset="0"/>
              </a:rPr>
              <a:t>PEPPOL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</a:rPr>
              <a:t> invia al proprio Access Point (Corner 3)  la risposta all'ordine ricevuto dalla Pubblica Amministrazione iscritta a </a:t>
            </a:r>
            <a:r>
              <a:rPr lang="it-IT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Peppol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</a:rPr>
              <a:t>, specificando come destinatario l’id </a:t>
            </a:r>
            <a:r>
              <a:rPr lang="it-IT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Peppol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1300" b="1" dirty="0">
                <a:latin typeface="Calibri" panose="020F0502020204030204" pitchFamily="34" charset="0"/>
                <a:cs typeface="Calibri" panose="020F0502020204030204" pitchFamily="34" charset="0"/>
              </a:rPr>
              <a:t>9921:codiceIPA</a:t>
            </a:r>
          </a:p>
          <a:p>
            <a:pPr marL="278606" indent="-278606" algn="just">
              <a:buFont typeface="+mj-lt"/>
              <a:buAutoNum type="arabicPeriod"/>
            </a:pPr>
            <a:r>
              <a:rPr lang="it-IT" sz="1300" b="1" dirty="0">
                <a:latin typeface="Calibri" panose="020F0502020204030204" pitchFamily="34" charset="0"/>
                <a:cs typeface="Calibri" panose="020F0502020204030204" pitchFamily="34" charset="0"/>
              </a:rPr>
              <a:t>L’Access Point 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</a:rPr>
              <a:t> riconosce il destinatario come un indirizzo PEPPOL, verifica sul SML l’indirizzo del Corner 2 e lo invia.</a:t>
            </a:r>
          </a:p>
          <a:p>
            <a:pPr marL="278606" indent="-278606" algn="just">
              <a:buFont typeface="+mj-lt"/>
              <a:buAutoNum type="arabicPeriod"/>
            </a:pP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</a:rPr>
              <a:t>L'Access Point della PA invia la risposta a NSO.</a:t>
            </a:r>
          </a:p>
          <a:p>
            <a:pPr marL="278606" indent="-278606" algn="just">
              <a:buFont typeface="+mj-lt"/>
              <a:buAutoNum type="arabicPeriod"/>
            </a:pP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</a:rPr>
              <a:t>L’Access Pont della PA invia la risposta alla PA.</a:t>
            </a:r>
          </a:p>
          <a:p>
            <a:endParaRPr lang="it-IT" sz="13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2" name="Group 241"/>
          <p:cNvGrpSpPr/>
          <p:nvPr/>
        </p:nvGrpSpPr>
        <p:grpSpPr>
          <a:xfrm>
            <a:off x="126404" y="3776764"/>
            <a:ext cx="3864157" cy="310050"/>
            <a:chOff x="155575" y="3497251"/>
            <a:chExt cx="4593406" cy="381600"/>
          </a:xfrm>
          <a:solidFill>
            <a:srgbClr val="14316C"/>
          </a:solidFill>
        </p:grpSpPr>
        <p:sp>
          <p:nvSpPr>
            <p:cNvPr id="235" name="Rectangle 234"/>
            <p:cNvSpPr/>
            <p:nvPr/>
          </p:nvSpPr>
          <p:spPr>
            <a:xfrm>
              <a:off x="155575" y="3497251"/>
              <a:ext cx="2104103" cy="381600"/>
            </a:xfrm>
            <a:prstGeom prst="rect">
              <a:avLst/>
            </a:prstGeom>
            <a:grpFill/>
            <a:ln>
              <a:solidFill>
                <a:srgbClr val="1431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800" b="1" dirty="0">
                  <a:latin typeface="Calibri" panose="020F0502020204030204" pitchFamily="34" charset="0"/>
                  <a:cs typeface="Calibri" panose="020F0502020204030204" pitchFamily="34" charset="0"/>
                </a:rPr>
                <a:t>Invio ordine</a:t>
              </a:r>
              <a:endParaRPr lang="en-US" sz="18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7" name="Rectangle 236"/>
            <p:cNvSpPr/>
            <p:nvPr/>
          </p:nvSpPr>
          <p:spPr>
            <a:xfrm>
              <a:off x="2302249" y="3497251"/>
              <a:ext cx="2446732" cy="380830"/>
            </a:xfrm>
            <a:prstGeom prst="rect">
              <a:avLst/>
            </a:prstGeom>
            <a:grpFill/>
            <a:ln>
              <a:solidFill>
                <a:srgbClr val="1431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it-IT" sz="105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ittente – 9921:IPA</a:t>
              </a:r>
            </a:p>
            <a:p>
              <a:r>
                <a:rPr lang="it-IT" sz="105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stinatario – 9906:PartitaIVA</a:t>
              </a:r>
              <a:endParaRPr lang="en-US" sz="10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41" name="Group 240"/>
          <p:cNvGrpSpPr/>
          <p:nvPr/>
        </p:nvGrpSpPr>
        <p:grpSpPr>
          <a:xfrm>
            <a:off x="5002022" y="3776764"/>
            <a:ext cx="3732142" cy="310050"/>
            <a:chOff x="5969524" y="3432990"/>
            <a:chExt cx="4593406" cy="381600"/>
          </a:xfrm>
          <a:solidFill>
            <a:srgbClr val="FFC000"/>
          </a:solidFill>
        </p:grpSpPr>
        <p:sp>
          <p:nvSpPr>
            <p:cNvPr id="239" name="Rectangle 238"/>
            <p:cNvSpPr/>
            <p:nvPr/>
          </p:nvSpPr>
          <p:spPr>
            <a:xfrm>
              <a:off x="5969524" y="3432990"/>
              <a:ext cx="2104103" cy="381600"/>
            </a:xfrm>
            <a:prstGeom prst="rect">
              <a:avLst/>
            </a:prstGeom>
            <a:grpFill/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800" b="1" dirty="0">
                  <a:latin typeface="Calibri" panose="020F0502020204030204" pitchFamily="34" charset="0"/>
                  <a:cs typeface="Calibri" panose="020F0502020204030204" pitchFamily="34" charset="0"/>
                </a:rPr>
                <a:t>Invio risposta</a:t>
              </a:r>
              <a:endParaRPr lang="en-US" sz="18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0" name="Rectangle 239"/>
            <p:cNvSpPr/>
            <p:nvPr/>
          </p:nvSpPr>
          <p:spPr>
            <a:xfrm>
              <a:off x="8116198" y="3432990"/>
              <a:ext cx="2446732" cy="380830"/>
            </a:xfrm>
            <a:prstGeom prst="rect">
              <a:avLst/>
            </a:prstGeom>
            <a:grpFill/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it-IT" sz="105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ittente –9906:PartitaIVA</a:t>
              </a:r>
            </a:p>
            <a:p>
              <a:r>
                <a:rPr lang="it-IT" sz="105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stinatario - 9921:IPA</a:t>
              </a:r>
              <a:endParaRPr lang="en-US" sz="10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6" name="Rectangle 4"/>
          <p:cNvSpPr>
            <a:spLocks noChangeArrowheads="1"/>
          </p:cNvSpPr>
          <p:nvPr/>
        </p:nvSpPr>
        <p:spPr bwMode="auto">
          <a:xfrm>
            <a:off x="1047750" y="222250"/>
            <a:ext cx="8513763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eaLnBrk="0" hangingPunct="0">
              <a:buClr>
                <a:srgbClr val="CC0000"/>
              </a:buClr>
              <a:buSzPct val="70000"/>
              <a:buFont typeface="Wingdings" pitchFamily="2" charset="2"/>
              <a:buNone/>
            </a:pPr>
            <a:r>
              <a:rPr lang="it-IT" sz="2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l Nodo Smistamento Ordini (</a:t>
            </a:r>
            <a:r>
              <a:rPr lang="it-IT" sz="28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/3)</a:t>
            </a:r>
            <a:endParaRPr lang="it-IT" sz="1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98" name="Straight Connector 97"/>
          <p:cNvCxnSpPr/>
          <p:nvPr/>
        </p:nvCxnSpPr>
        <p:spPr>
          <a:xfrm flipV="1">
            <a:off x="2005564" y="2017744"/>
            <a:ext cx="1928906" cy="593682"/>
          </a:xfrm>
          <a:prstGeom prst="line">
            <a:avLst/>
          </a:prstGeom>
          <a:ln w="190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4" name="Group 113"/>
          <p:cNvGrpSpPr>
            <a:grpSpLocks noChangeAspect="1"/>
          </p:cNvGrpSpPr>
          <p:nvPr/>
        </p:nvGrpSpPr>
        <p:grpSpPr>
          <a:xfrm>
            <a:off x="2993590" y="2107591"/>
            <a:ext cx="204750" cy="290924"/>
            <a:chOff x="5558709" y="1869699"/>
            <a:chExt cx="211749" cy="300869"/>
          </a:xfrm>
        </p:grpSpPr>
        <p:sp>
          <p:nvSpPr>
            <p:cNvPr id="115" name="Rectangle 114"/>
            <p:cNvSpPr/>
            <p:nvPr/>
          </p:nvSpPr>
          <p:spPr>
            <a:xfrm>
              <a:off x="5566287" y="1869699"/>
              <a:ext cx="204171" cy="30086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95" tIns="73125" rIns="74295" bIns="7312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75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6" name="Freeform 36"/>
            <p:cNvSpPr>
              <a:spLocks noChangeAspect="1" noEditPoints="1"/>
            </p:cNvSpPr>
            <p:nvPr/>
          </p:nvSpPr>
          <p:spPr bwMode="auto">
            <a:xfrm>
              <a:off x="5558709" y="1895815"/>
              <a:ext cx="204033" cy="252000"/>
            </a:xfrm>
            <a:custGeom>
              <a:avLst/>
              <a:gdLst>
                <a:gd name="T0" fmla="*/ 61 w 64"/>
                <a:gd name="T1" fmla="*/ 76 h 79"/>
                <a:gd name="T2" fmla="*/ 56 w 64"/>
                <a:gd name="T3" fmla="*/ 75 h 79"/>
                <a:gd name="T4" fmla="*/ 26 w 64"/>
                <a:gd name="T5" fmla="*/ 77 h 79"/>
                <a:gd name="T6" fmla="*/ 3 w 64"/>
                <a:gd name="T7" fmla="*/ 79 h 79"/>
                <a:gd name="T8" fmla="*/ 2 w 64"/>
                <a:gd name="T9" fmla="*/ 52 h 79"/>
                <a:gd name="T10" fmla="*/ 4 w 64"/>
                <a:gd name="T11" fmla="*/ 7 h 79"/>
                <a:gd name="T12" fmla="*/ 4 w 64"/>
                <a:gd name="T13" fmla="*/ 0 h 79"/>
                <a:gd name="T14" fmla="*/ 45 w 64"/>
                <a:gd name="T15" fmla="*/ 0 h 79"/>
                <a:gd name="T16" fmla="*/ 62 w 64"/>
                <a:gd name="T17" fmla="*/ 17 h 79"/>
                <a:gd name="T18" fmla="*/ 61 w 64"/>
                <a:gd name="T19" fmla="*/ 45 h 79"/>
                <a:gd name="T20" fmla="*/ 61 w 64"/>
                <a:gd name="T21" fmla="*/ 76 h 79"/>
                <a:gd name="T22" fmla="*/ 46 w 64"/>
                <a:gd name="T23" fmla="*/ 6 h 79"/>
                <a:gd name="T24" fmla="*/ 45 w 64"/>
                <a:gd name="T25" fmla="*/ 21 h 79"/>
                <a:gd name="T26" fmla="*/ 61 w 64"/>
                <a:gd name="T27" fmla="*/ 21 h 79"/>
                <a:gd name="T28" fmla="*/ 46 w 64"/>
                <a:gd name="T29" fmla="*/ 6 h 79"/>
                <a:gd name="T30" fmla="*/ 60 w 64"/>
                <a:gd name="T31" fmla="*/ 24 h 79"/>
                <a:gd name="T32" fmla="*/ 42 w 64"/>
                <a:gd name="T33" fmla="*/ 23 h 79"/>
                <a:gd name="T34" fmla="*/ 43 w 64"/>
                <a:gd name="T35" fmla="*/ 3 h 79"/>
                <a:gd name="T36" fmla="*/ 7 w 64"/>
                <a:gd name="T37" fmla="*/ 3 h 79"/>
                <a:gd name="T38" fmla="*/ 4 w 64"/>
                <a:gd name="T39" fmla="*/ 75 h 79"/>
                <a:gd name="T40" fmla="*/ 59 w 64"/>
                <a:gd name="T41" fmla="*/ 73 h 79"/>
                <a:gd name="T42" fmla="*/ 60 w 64"/>
                <a:gd name="T43" fmla="*/ 2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4" h="79">
                  <a:moveTo>
                    <a:pt x="61" y="76"/>
                  </a:moveTo>
                  <a:cubicBezTo>
                    <a:pt x="59" y="76"/>
                    <a:pt x="58" y="75"/>
                    <a:pt x="56" y="75"/>
                  </a:cubicBezTo>
                  <a:cubicBezTo>
                    <a:pt x="47" y="73"/>
                    <a:pt x="36" y="76"/>
                    <a:pt x="26" y="77"/>
                  </a:cubicBezTo>
                  <a:cubicBezTo>
                    <a:pt x="18" y="78"/>
                    <a:pt x="10" y="76"/>
                    <a:pt x="3" y="79"/>
                  </a:cubicBezTo>
                  <a:cubicBezTo>
                    <a:pt x="0" y="70"/>
                    <a:pt x="2" y="61"/>
                    <a:pt x="2" y="52"/>
                  </a:cubicBezTo>
                  <a:cubicBezTo>
                    <a:pt x="1" y="36"/>
                    <a:pt x="2" y="21"/>
                    <a:pt x="4" y="7"/>
                  </a:cubicBezTo>
                  <a:cubicBezTo>
                    <a:pt x="4" y="4"/>
                    <a:pt x="1" y="2"/>
                    <a:pt x="4" y="0"/>
                  </a:cubicBezTo>
                  <a:cubicBezTo>
                    <a:pt x="15" y="2"/>
                    <a:pt x="34" y="2"/>
                    <a:pt x="45" y="0"/>
                  </a:cubicBezTo>
                  <a:cubicBezTo>
                    <a:pt x="50" y="6"/>
                    <a:pt x="57" y="11"/>
                    <a:pt x="62" y="17"/>
                  </a:cubicBezTo>
                  <a:cubicBezTo>
                    <a:pt x="64" y="26"/>
                    <a:pt x="62" y="35"/>
                    <a:pt x="61" y="45"/>
                  </a:cubicBezTo>
                  <a:cubicBezTo>
                    <a:pt x="61" y="57"/>
                    <a:pt x="63" y="65"/>
                    <a:pt x="61" y="76"/>
                  </a:cubicBezTo>
                  <a:close/>
                  <a:moveTo>
                    <a:pt x="46" y="6"/>
                  </a:moveTo>
                  <a:cubicBezTo>
                    <a:pt x="45" y="10"/>
                    <a:pt x="44" y="17"/>
                    <a:pt x="45" y="21"/>
                  </a:cubicBezTo>
                  <a:cubicBezTo>
                    <a:pt x="50" y="21"/>
                    <a:pt x="58" y="22"/>
                    <a:pt x="61" y="21"/>
                  </a:cubicBezTo>
                  <a:cubicBezTo>
                    <a:pt x="56" y="15"/>
                    <a:pt x="52" y="8"/>
                    <a:pt x="46" y="6"/>
                  </a:cubicBezTo>
                  <a:close/>
                  <a:moveTo>
                    <a:pt x="60" y="24"/>
                  </a:moveTo>
                  <a:cubicBezTo>
                    <a:pt x="55" y="23"/>
                    <a:pt x="47" y="25"/>
                    <a:pt x="42" y="23"/>
                  </a:cubicBezTo>
                  <a:cubicBezTo>
                    <a:pt x="43" y="17"/>
                    <a:pt x="43" y="10"/>
                    <a:pt x="43" y="3"/>
                  </a:cubicBezTo>
                  <a:cubicBezTo>
                    <a:pt x="31" y="3"/>
                    <a:pt x="19" y="4"/>
                    <a:pt x="7" y="3"/>
                  </a:cubicBezTo>
                  <a:cubicBezTo>
                    <a:pt x="3" y="24"/>
                    <a:pt x="2" y="53"/>
                    <a:pt x="4" y="75"/>
                  </a:cubicBezTo>
                  <a:cubicBezTo>
                    <a:pt x="25" y="77"/>
                    <a:pt x="40" y="70"/>
                    <a:pt x="59" y="73"/>
                  </a:cubicBezTo>
                  <a:cubicBezTo>
                    <a:pt x="62" y="56"/>
                    <a:pt x="58" y="42"/>
                    <a:pt x="60" y="24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vert="horz" wrap="square" lIns="81738" tIns="40869" rIns="81738" bIns="40869" numCol="1" anchor="t" anchorCtr="0" compatLnSpc="1">
              <a:prstTxWarp prst="textNoShape">
                <a:avLst/>
              </a:prstTxWarp>
            </a:bodyPr>
            <a:lstStyle/>
            <a:p>
              <a:endParaRPr lang="en-US" sz="1788"/>
            </a:p>
          </p:txBody>
        </p:sp>
      </p:grpSp>
      <p:sp>
        <p:nvSpPr>
          <p:cNvPr id="122" name="Rectangle 121"/>
          <p:cNvSpPr/>
          <p:nvPr/>
        </p:nvSpPr>
        <p:spPr>
          <a:xfrm>
            <a:off x="4026824" y="1723301"/>
            <a:ext cx="828227" cy="495540"/>
          </a:xfrm>
          <a:prstGeom prst="rect">
            <a:avLst/>
          </a:prstGeom>
          <a:solidFill>
            <a:srgbClr val="C00000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73125" rIns="74295" bIns="7312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975" b="1" dirty="0">
                <a:solidFill>
                  <a:schemeClr val="bg1"/>
                </a:solidFill>
                <a:cs typeface="Arial" pitchFamily="34" charset="0"/>
              </a:rPr>
              <a:t>Access Point</a:t>
            </a:r>
          </a:p>
          <a:p>
            <a:pPr algn="ctr"/>
            <a:r>
              <a:rPr lang="it-IT" sz="975" b="1" dirty="0">
                <a:solidFill>
                  <a:schemeClr val="bg1"/>
                </a:solidFill>
                <a:cs typeface="Arial" pitchFamily="34" charset="0"/>
              </a:rPr>
              <a:t>(Corner 2)</a:t>
            </a:r>
            <a:endParaRPr lang="en-US" sz="975" b="1" dirty="0" err="1">
              <a:solidFill>
                <a:schemeClr val="bg1"/>
              </a:solidFill>
              <a:cs typeface="Arial" pitchFamily="34" charset="0"/>
            </a:endParaRPr>
          </a:p>
        </p:txBody>
      </p:sp>
      <p:cxnSp>
        <p:nvCxnSpPr>
          <p:cNvPr id="129" name="Straight Connector 128"/>
          <p:cNvCxnSpPr/>
          <p:nvPr/>
        </p:nvCxnSpPr>
        <p:spPr>
          <a:xfrm>
            <a:off x="4199008" y="2229080"/>
            <a:ext cx="0" cy="324000"/>
          </a:xfrm>
          <a:prstGeom prst="line">
            <a:avLst/>
          </a:prstGeom>
          <a:ln w="190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/>
          <p:cNvCxnSpPr/>
          <p:nvPr/>
        </p:nvCxnSpPr>
        <p:spPr>
          <a:xfrm flipV="1">
            <a:off x="2239378" y="2159498"/>
            <a:ext cx="1746765" cy="544190"/>
          </a:xfrm>
          <a:prstGeom prst="line">
            <a:avLst/>
          </a:prstGeom>
          <a:ln w="19050">
            <a:solidFill>
              <a:schemeClr val="accent4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1" name="Group 210"/>
          <p:cNvGrpSpPr/>
          <p:nvPr/>
        </p:nvGrpSpPr>
        <p:grpSpPr>
          <a:xfrm>
            <a:off x="2779581" y="2422598"/>
            <a:ext cx="204750" cy="292500"/>
            <a:chOff x="10208543" y="1107592"/>
            <a:chExt cx="349210" cy="496168"/>
          </a:xfrm>
        </p:grpSpPr>
        <p:sp>
          <p:nvSpPr>
            <p:cNvPr id="212" name="Rectangle 211"/>
            <p:cNvSpPr/>
            <p:nvPr/>
          </p:nvSpPr>
          <p:spPr>
            <a:xfrm>
              <a:off x="10221050" y="1107592"/>
              <a:ext cx="336703" cy="496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95" tIns="73125" rIns="74295" bIns="7312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75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3" name="Freeform 36"/>
            <p:cNvSpPr>
              <a:spLocks noChangeAspect="1" noEditPoints="1"/>
            </p:cNvSpPr>
            <p:nvPr/>
          </p:nvSpPr>
          <p:spPr bwMode="auto">
            <a:xfrm>
              <a:off x="10208543" y="1150659"/>
              <a:ext cx="336475" cy="415577"/>
            </a:xfrm>
            <a:custGeom>
              <a:avLst/>
              <a:gdLst>
                <a:gd name="T0" fmla="*/ 61 w 64"/>
                <a:gd name="T1" fmla="*/ 76 h 79"/>
                <a:gd name="T2" fmla="*/ 56 w 64"/>
                <a:gd name="T3" fmla="*/ 75 h 79"/>
                <a:gd name="T4" fmla="*/ 26 w 64"/>
                <a:gd name="T5" fmla="*/ 77 h 79"/>
                <a:gd name="T6" fmla="*/ 3 w 64"/>
                <a:gd name="T7" fmla="*/ 79 h 79"/>
                <a:gd name="T8" fmla="*/ 2 w 64"/>
                <a:gd name="T9" fmla="*/ 52 h 79"/>
                <a:gd name="T10" fmla="*/ 4 w 64"/>
                <a:gd name="T11" fmla="*/ 7 h 79"/>
                <a:gd name="T12" fmla="*/ 4 w 64"/>
                <a:gd name="T13" fmla="*/ 0 h 79"/>
                <a:gd name="T14" fmla="*/ 45 w 64"/>
                <a:gd name="T15" fmla="*/ 0 h 79"/>
                <a:gd name="T16" fmla="*/ 62 w 64"/>
                <a:gd name="T17" fmla="*/ 17 h 79"/>
                <a:gd name="T18" fmla="*/ 61 w 64"/>
                <a:gd name="T19" fmla="*/ 45 h 79"/>
                <a:gd name="T20" fmla="*/ 61 w 64"/>
                <a:gd name="T21" fmla="*/ 76 h 79"/>
                <a:gd name="T22" fmla="*/ 46 w 64"/>
                <a:gd name="T23" fmla="*/ 6 h 79"/>
                <a:gd name="T24" fmla="*/ 45 w 64"/>
                <a:gd name="T25" fmla="*/ 21 h 79"/>
                <a:gd name="T26" fmla="*/ 61 w 64"/>
                <a:gd name="T27" fmla="*/ 21 h 79"/>
                <a:gd name="T28" fmla="*/ 46 w 64"/>
                <a:gd name="T29" fmla="*/ 6 h 79"/>
                <a:gd name="T30" fmla="*/ 60 w 64"/>
                <a:gd name="T31" fmla="*/ 24 h 79"/>
                <a:gd name="T32" fmla="*/ 42 w 64"/>
                <a:gd name="T33" fmla="*/ 23 h 79"/>
                <a:gd name="T34" fmla="*/ 43 w 64"/>
                <a:gd name="T35" fmla="*/ 3 h 79"/>
                <a:gd name="T36" fmla="*/ 7 w 64"/>
                <a:gd name="T37" fmla="*/ 3 h 79"/>
                <a:gd name="T38" fmla="*/ 4 w 64"/>
                <a:gd name="T39" fmla="*/ 75 h 79"/>
                <a:gd name="T40" fmla="*/ 59 w 64"/>
                <a:gd name="T41" fmla="*/ 73 h 79"/>
                <a:gd name="T42" fmla="*/ 60 w 64"/>
                <a:gd name="T43" fmla="*/ 2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4" h="79">
                  <a:moveTo>
                    <a:pt x="61" y="76"/>
                  </a:moveTo>
                  <a:cubicBezTo>
                    <a:pt x="59" y="76"/>
                    <a:pt x="58" y="75"/>
                    <a:pt x="56" y="75"/>
                  </a:cubicBezTo>
                  <a:cubicBezTo>
                    <a:pt x="47" y="73"/>
                    <a:pt x="36" y="76"/>
                    <a:pt x="26" y="77"/>
                  </a:cubicBezTo>
                  <a:cubicBezTo>
                    <a:pt x="18" y="78"/>
                    <a:pt x="10" y="76"/>
                    <a:pt x="3" y="79"/>
                  </a:cubicBezTo>
                  <a:cubicBezTo>
                    <a:pt x="0" y="70"/>
                    <a:pt x="2" y="61"/>
                    <a:pt x="2" y="52"/>
                  </a:cubicBezTo>
                  <a:cubicBezTo>
                    <a:pt x="1" y="36"/>
                    <a:pt x="2" y="21"/>
                    <a:pt x="4" y="7"/>
                  </a:cubicBezTo>
                  <a:cubicBezTo>
                    <a:pt x="4" y="4"/>
                    <a:pt x="1" y="2"/>
                    <a:pt x="4" y="0"/>
                  </a:cubicBezTo>
                  <a:cubicBezTo>
                    <a:pt x="15" y="2"/>
                    <a:pt x="34" y="2"/>
                    <a:pt x="45" y="0"/>
                  </a:cubicBezTo>
                  <a:cubicBezTo>
                    <a:pt x="50" y="6"/>
                    <a:pt x="57" y="11"/>
                    <a:pt x="62" y="17"/>
                  </a:cubicBezTo>
                  <a:cubicBezTo>
                    <a:pt x="64" y="26"/>
                    <a:pt x="62" y="35"/>
                    <a:pt x="61" y="45"/>
                  </a:cubicBezTo>
                  <a:cubicBezTo>
                    <a:pt x="61" y="57"/>
                    <a:pt x="63" y="65"/>
                    <a:pt x="61" y="76"/>
                  </a:cubicBezTo>
                  <a:close/>
                  <a:moveTo>
                    <a:pt x="46" y="6"/>
                  </a:moveTo>
                  <a:cubicBezTo>
                    <a:pt x="45" y="10"/>
                    <a:pt x="44" y="17"/>
                    <a:pt x="45" y="21"/>
                  </a:cubicBezTo>
                  <a:cubicBezTo>
                    <a:pt x="50" y="21"/>
                    <a:pt x="58" y="22"/>
                    <a:pt x="61" y="21"/>
                  </a:cubicBezTo>
                  <a:cubicBezTo>
                    <a:pt x="56" y="15"/>
                    <a:pt x="52" y="8"/>
                    <a:pt x="46" y="6"/>
                  </a:cubicBezTo>
                  <a:close/>
                  <a:moveTo>
                    <a:pt x="60" y="24"/>
                  </a:moveTo>
                  <a:cubicBezTo>
                    <a:pt x="55" y="23"/>
                    <a:pt x="47" y="25"/>
                    <a:pt x="42" y="23"/>
                  </a:cubicBezTo>
                  <a:cubicBezTo>
                    <a:pt x="43" y="17"/>
                    <a:pt x="43" y="10"/>
                    <a:pt x="43" y="3"/>
                  </a:cubicBezTo>
                  <a:cubicBezTo>
                    <a:pt x="31" y="3"/>
                    <a:pt x="19" y="4"/>
                    <a:pt x="7" y="3"/>
                  </a:cubicBezTo>
                  <a:cubicBezTo>
                    <a:pt x="3" y="24"/>
                    <a:pt x="2" y="53"/>
                    <a:pt x="4" y="75"/>
                  </a:cubicBezTo>
                  <a:cubicBezTo>
                    <a:pt x="25" y="77"/>
                    <a:pt x="40" y="70"/>
                    <a:pt x="59" y="73"/>
                  </a:cubicBezTo>
                  <a:cubicBezTo>
                    <a:pt x="62" y="56"/>
                    <a:pt x="58" y="42"/>
                    <a:pt x="60" y="2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81738" tIns="40869" rIns="81738" bIns="40869" numCol="1" anchor="t" anchorCtr="0" compatLnSpc="1">
              <a:prstTxWarp prst="textNoShape">
                <a:avLst/>
              </a:prstTxWarp>
            </a:bodyPr>
            <a:lstStyle/>
            <a:p>
              <a:endParaRPr lang="en-US" sz="1788"/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1202492" y="2607547"/>
            <a:ext cx="1553828" cy="1081048"/>
            <a:chOff x="1443285" y="1511516"/>
            <a:chExt cx="1912404" cy="1330519"/>
          </a:xfrm>
        </p:grpSpPr>
        <p:sp>
          <p:nvSpPr>
            <p:cNvPr id="42" name="Freeform 41"/>
            <p:cNvSpPr>
              <a:spLocks noChangeAspect="1" noEditPoints="1"/>
            </p:cNvSpPr>
            <p:nvPr/>
          </p:nvSpPr>
          <p:spPr bwMode="auto">
            <a:xfrm>
              <a:off x="1965572" y="1511516"/>
              <a:ext cx="771545" cy="669671"/>
            </a:xfrm>
            <a:custGeom>
              <a:avLst/>
              <a:gdLst>
                <a:gd name="T0" fmla="*/ 440 w 1324"/>
                <a:gd name="T1" fmla="*/ 137 h 1151"/>
                <a:gd name="T2" fmla="*/ 1234 w 1324"/>
                <a:gd name="T3" fmla="*/ 917 h 1151"/>
                <a:gd name="T4" fmla="*/ 25 w 1324"/>
                <a:gd name="T5" fmla="*/ 1151 h 1151"/>
                <a:gd name="T6" fmla="*/ 524 w 1324"/>
                <a:gd name="T7" fmla="*/ 987 h 1151"/>
                <a:gd name="T8" fmla="*/ 327 w 1324"/>
                <a:gd name="T9" fmla="*/ 964 h 1151"/>
                <a:gd name="T10" fmla="*/ 207 w 1324"/>
                <a:gd name="T11" fmla="*/ 982 h 1151"/>
                <a:gd name="T12" fmla="*/ 466 w 1324"/>
                <a:gd name="T13" fmla="*/ 1098 h 1151"/>
                <a:gd name="T14" fmla="*/ 720 w 1324"/>
                <a:gd name="T15" fmla="*/ 1111 h 1151"/>
                <a:gd name="T16" fmla="*/ 1097 w 1324"/>
                <a:gd name="T17" fmla="*/ 1087 h 1151"/>
                <a:gd name="T18" fmla="*/ 1264 w 1324"/>
                <a:gd name="T19" fmla="*/ 1077 h 1151"/>
                <a:gd name="T20" fmla="*/ 1293 w 1324"/>
                <a:gd name="T21" fmla="*/ 1034 h 1151"/>
                <a:gd name="T22" fmla="*/ 1214 w 1324"/>
                <a:gd name="T23" fmla="*/ 1019 h 1151"/>
                <a:gd name="T24" fmla="*/ 878 w 1324"/>
                <a:gd name="T25" fmla="*/ 969 h 1151"/>
                <a:gd name="T26" fmla="*/ 926 w 1324"/>
                <a:gd name="T27" fmla="*/ 1084 h 1151"/>
                <a:gd name="T28" fmla="*/ 886 w 1324"/>
                <a:gd name="T29" fmla="*/ 1044 h 1151"/>
                <a:gd name="T30" fmla="*/ 520 w 1324"/>
                <a:gd name="T31" fmla="*/ 1052 h 1151"/>
                <a:gd name="T32" fmla="*/ 738 w 1324"/>
                <a:gd name="T33" fmla="*/ 974 h 1151"/>
                <a:gd name="T34" fmla="*/ 267 w 1324"/>
                <a:gd name="T35" fmla="*/ 443 h 1151"/>
                <a:gd name="T36" fmla="*/ 426 w 1324"/>
                <a:gd name="T37" fmla="*/ 924 h 1151"/>
                <a:gd name="T38" fmla="*/ 677 w 1324"/>
                <a:gd name="T39" fmla="*/ 409 h 1151"/>
                <a:gd name="T40" fmla="*/ 968 w 1324"/>
                <a:gd name="T41" fmla="*/ 684 h 1151"/>
                <a:gd name="T42" fmla="*/ 185 w 1324"/>
                <a:gd name="T43" fmla="*/ 819 h 1151"/>
                <a:gd name="T44" fmla="*/ 193 w 1324"/>
                <a:gd name="T45" fmla="*/ 724 h 1151"/>
                <a:gd name="T46" fmla="*/ 225 w 1324"/>
                <a:gd name="T47" fmla="*/ 494 h 1151"/>
                <a:gd name="T48" fmla="*/ 146 w 1324"/>
                <a:gd name="T49" fmla="*/ 457 h 1151"/>
                <a:gd name="T50" fmla="*/ 226 w 1324"/>
                <a:gd name="T51" fmla="*/ 898 h 1151"/>
                <a:gd name="T52" fmla="*/ 461 w 1324"/>
                <a:gd name="T53" fmla="*/ 824 h 1151"/>
                <a:gd name="T54" fmla="*/ 434 w 1324"/>
                <a:gd name="T55" fmla="*/ 678 h 1151"/>
                <a:gd name="T56" fmla="*/ 409 w 1324"/>
                <a:gd name="T57" fmla="*/ 889 h 1151"/>
                <a:gd name="T58" fmla="*/ 476 w 1324"/>
                <a:gd name="T59" fmla="*/ 576 h 1151"/>
                <a:gd name="T60" fmla="*/ 453 w 1324"/>
                <a:gd name="T61" fmla="*/ 519 h 1151"/>
                <a:gd name="T62" fmla="*/ 919 w 1324"/>
                <a:gd name="T63" fmla="*/ 824 h 1151"/>
                <a:gd name="T64" fmla="*/ 912 w 1324"/>
                <a:gd name="T65" fmla="*/ 726 h 1151"/>
                <a:gd name="T66" fmla="*/ 924 w 1324"/>
                <a:gd name="T67" fmla="*/ 513 h 1151"/>
                <a:gd name="T68" fmla="*/ 901 w 1324"/>
                <a:gd name="T69" fmla="*/ 861 h 1151"/>
                <a:gd name="T70" fmla="*/ 1185 w 1324"/>
                <a:gd name="T71" fmla="*/ 698 h 1151"/>
                <a:gd name="T72" fmla="*/ 1193 w 1324"/>
                <a:gd name="T73" fmla="*/ 478 h 1151"/>
                <a:gd name="T74" fmla="*/ 1184 w 1324"/>
                <a:gd name="T75" fmla="*/ 531 h 1151"/>
                <a:gd name="T76" fmla="*/ 1166 w 1324"/>
                <a:gd name="T77" fmla="*/ 498 h 1151"/>
                <a:gd name="T78" fmla="*/ 933 w 1324"/>
                <a:gd name="T79" fmla="*/ 724 h 1151"/>
                <a:gd name="T80" fmla="*/ 218 w 1324"/>
                <a:gd name="T81" fmla="*/ 698 h 1151"/>
                <a:gd name="T82" fmla="*/ 200 w 1324"/>
                <a:gd name="T83" fmla="*/ 418 h 1151"/>
                <a:gd name="T84" fmla="*/ 413 w 1324"/>
                <a:gd name="T85" fmla="*/ 444 h 1151"/>
                <a:gd name="T86" fmla="*/ 866 w 1324"/>
                <a:gd name="T87" fmla="*/ 431 h 1151"/>
                <a:gd name="T88" fmla="*/ 899 w 1324"/>
                <a:gd name="T89" fmla="*/ 443 h 1151"/>
                <a:gd name="T90" fmla="*/ 372 w 1324"/>
                <a:gd name="T91" fmla="*/ 374 h 1151"/>
                <a:gd name="T92" fmla="*/ 569 w 1324"/>
                <a:gd name="T93" fmla="*/ 127 h 1151"/>
                <a:gd name="T94" fmla="*/ 965 w 1324"/>
                <a:gd name="T95" fmla="*/ 199 h 1151"/>
                <a:gd name="T96" fmla="*/ 58 w 1324"/>
                <a:gd name="T97" fmla="*/ 394 h 1151"/>
                <a:gd name="T98" fmla="*/ 586 w 1324"/>
                <a:gd name="T99" fmla="*/ 359 h 1151"/>
                <a:gd name="T100" fmla="*/ 1194 w 1324"/>
                <a:gd name="T101" fmla="*/ 324 h 1151"/>
                <a:gd name="T102" fmla="*/ 795 w 1324"/>
                <a:gd name="T103" fmla="*/ 353 h 1151"/>
                <a:gd name="T104" fmla="*/ 859 w 1324"/>
                <a:gd name="T105" fmla="*/ 378 h 1151"/>
                <a:gd name="T106" fmla="*/ 946 w 1324"/>
                <a:gd name="T107" fmla="*/ 363 h 1151"/>
                <a:gd name="T108" fmla="*/ 1110 w 1324"/>
                <a:gd name="T109" fmla="*/ 308 h 1151"/>
                <a:gd name="T110" fmla="*/ 1124 w 1324"/>
                <a:gd name="T111" fmla="*/ 378 h 1151"/>
                <a:gd name="T112" fmla="*/ 1039 w 1324"/>
                <a:gd name="T113" fmla="*/ 320 h 1151"/>
                <a:gd name="T114" fmla="*/ 566 w 1324"/>
                <a:gd name="T115" fmla="*/ 164 h 1151"/>
                <a:gd name="T116" fmla="*/ 408 w 1324"/>
                <a:gd name="T117" fmla="*/ 267 h 1151"/>
                <a:gd name="T118" fmla="*/ 648 w 1324"/>
                <a:gd name="T119" fmla="*/ 164 h 1151"/>
                <a:gd name="T120" fmla="*/ 1066 w 1324"/>
                <a:gd name="T121" fmla="*/ 272 h 1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24" h="1151">
                  <a:moveTo>
                    <a:pt x="29" y="1054"/>
                  </a:moveTo>
                  <a:cubicBezTo>
                    <a:pt x="32" y="970"/>
                    <a:pt x="36" y="957"/>
                    <a:pt x="60" y="953"/>
                  </a:cubicBezTo>
                  <a:cubicBezTo>
                    <a:pt x="117" y="942"/>
                    <a:pt x="120" y="931"/>
                    <a:pt x="120" y="685"/>
                  </a:cubicBezTo>
                  <a:cubicBezTo>
                    <a:pt x="120" y="427"/>
                    <a:pt x="117" y="418"/>
                    <a:pt x="44" y="418"/>
                  </a:cubicBezTo>
                  <a:cubicBezTo>
                    <a:pt x="19" y="418"/>
                    <a:pt x="0" y="412"/>
                    <a:pt x="0" y="405"/>
                  </a:cubicBezTo>
                  <a:cubicBezTo>
                    <a:pt x="0" y="383"/>
                    <a:pt x="81" y="330"/>
                    <a:pt x="213" y="264"/>
                  </a:cubicBezTo>
                  <a:cubicBezTo>
                    <a:pt x="283" y="229"/>
                    <a:pt x="385" y="172"/>
                    <a:pt x="440" y="137"/>
                  </a:cubicBezTo>
                  <a:cubicBezTo>
                    <a:pt x="495" y="102"/>
                    <a:pt x="573" y="57"/>
                    <a:pt x="615" y="37"/>
                  </a:cubicBezTo>
                  <a:lnTo>
                    <a:pt x="690" y="0"/>
                  </a:lnTo>
                  <a:lnTo>
                    <a:pt x="795" y="58"/>
                  </a:lnTo>
                  <a:cubicBezTo>
                    <a:pt x="938" y="136"/>
                    <a:pt x="1230" y="318"/>
                    <a:pt x="1279" y="359"/>
                  </a:cubicBezTo>
                  <a:cubicBezTo>
                    <a:pt x="1324" y="397"/>
                    <a:pt x="1320" y="423"/>
                    <a:pt x="1272" y="414"/>
                  </a:cubicBezTo>
                  <a:cubicBezTo>
                    <a:pt x="1250" y="410"/>
                    <a:pt x="1240" y="416"/>
                    <a:pt x="1234" y="436"/>
                  </a:cubicBezTo>
                  <a:cubicBezTo>
                    <a:pt x="1224" y="474"/>
                    <a:pt x="1224" y="890"/>
                    <a:pt x="1234" y="917"/>
                  </a:cubicBezTo>
                  <a:cubicBezTo>
                    <a:pt x="1239" y="929"/>
                    <a:pt x="1258" y="938"/>
                    <a:pt x="1282" y="938"/>
                  </a:cubicBezTo>
                  <a:lnTo>
                    <a:pt x="1321" y="938"/>
                  </a:lnTo>
                  <a:lnTo>
                    <a:pt x="1318" y="1036"/>
                  </a:lnTo>
                  <a:lnTo>
                    <a:pt x="1315" y="1133"/>
                  </a:lnTo>
                  <a:lnTo>
                    <a:pt x="935" y="1142"/>
                  </a:lnTo>
                  <a:cubicBezTo>
                    <a:pt x="726" y="1147"/>
                    <a:pt x="436" y="1151"/>
                    <a:pt x="290" y="1151"/>
                  </a:cubicBezTo>
                  <a:lnTo>
                    <a:pt x="25" y="1151"/>
                  </a:lnTo>
                  <a:lnTo>
                    <a:pt x="29" y="1054"/>
                  </a:lnTo>
                  <a:close/>
                  <a:moveTo>
                    <a:pt x="466" y="1098"/>
                  </a:moveTo>
                  <a:cubicBezTo>
                    <a:pt x="466" y="1083"/>
                    <a:pt x="475" y="1071"/>
                    <a:pt x="486" y="1071"/>
                  </a:cubicBezTo>
                  <a:cubicBezTo>
                    <a:pt x="499" y="1071"/>
                    <a:pt x="506" y="1058"/>
                    <a:pt x="506" y="1038"/>
                  </a:cubicBezTo>
                  <a:cubicBezTo>
                    <a:pt x="506" y="1017"/>
                    <a:pt x="514" y="1004"/>
                    <a:pt x="526" y="1004"/>
                  </a:cubicBezTo>
                  <a:cubicBezTo>
                    <a:pt x="537" y="1004"/>
                    <a:pt x="546" y="998"/>
                    <a:pt x="546" y="991"/>
                  </a:cubicBezTo>
                  <a:cubicBezTo>
                    <a:pt x="546" y="984"/>
                    <a:pt x="536" y="982"/>
                    <a:pt x="524" y="987"/>
                  </a:cubicBezTo>
                  <a:cubicBezTo>
                    <a:pt x="509" y="993"/>
                    <a:pt x="505" y="990"/>
                    <a:pt x="511" y="980"/>
                  </a:cubicBezTo>
                  <a:cubicBezTo>
                    <a:pt x="518" y="970"/>
                    <a:pt x="514" y="967"/>
                    <a:pt x="499" y="973"/>
                  </a:cubicBezTo>
                  <a:cubicBezTo>
                    <a:pt x="482" y="980"/>
                    <a:pt x="481" y="984"/>
                    <a:pt x="495" y="994"/>
                  </a:cubicBezTo>
                  <a:cubicBezTo>
                    <a:pt x="507" y="1002"/>
                    <a:pt x="499" y="1003"/>
                    <a:pt x="473" y="997"/>
                  </a:cubicBezTo>
                  <a:cubicBezTo>
                    <a:pt x="451" y="991"/>
                    <a:pt x="423" y="987"/>
                    <a:pt x="411" y="986"/>
                  </a:cubicBezTo>
                  <a:cubicBezTo>
                    <a:pt x="398" y="986"/>
                    <a:pt x="391" y="981"/>
                    <a:pt x="395" y="975"/>
                  </a:cubicBezTo>
                  <a:cubicBezTo>
                    <a:pt x="398" y="969"/>
                    <a:pt x="368" y="964"/>
                    <a:pt x="327" y="964"/>
                  </a:cubicBezTo>
                  <a:cubicBezTo>
                    <a:pt x="284" y="964"/>
                    <a:pt x="253" y="970"/>
                    <a:pt x="253" y="978"/>
                  </a:cubicBezTo>
                  <a:cubicBezTo>
                    <a:pt x="253" y="986"/>
                    <a:pt x="259" y="989"/>
                    <a:pt x="266" y="984"/>
                  </a:cubicBezTo>
                  <a:cubicBezTo>
                    <a:pt x="274" y="980"/>
                    <a:pt x="280" y="983"/>
                    <a:pt x="280" y="992"/>
                  </a:cubicBezTo>
                  <a:cubicBezTo>
                    <a:pt x="280" y="1000"/>
                    <a:pt x="271" y="1004"/>
                    <a:pt x="261" y="1000"/>
                  </a:cubicBezTo>
                  <a:cubicBezTo>
                    <a:pt x="251" y="996"/>
                    <a:pt x="235" y="1000"/>
                    <a:pt x="226" y="1009"/>
                  </a:cubicBezTo>
                  <a:cubicBezTo>
                    <a:pt x="213" y="1021"/>
                    <a:pt x="212" y="1017"/>
                    <a:pt x="220" y="992"/>
                  </a:cubicBezTo>
                  <a:cubicBezTo>
                    <a:pt x="229" y="961"/>
                    <a:pt x="228" y="960"/>
                    <a:pt x="207" y="982"/>
                  </a:cubicBezTo>
                  <a:cubicBezTo>
                    <a:pt x="183" y="1005"/>
                    <a:pt x="167" y="1012"/>
                    <a:pt x="178" y="993"/>
                  </a:cubicBezTo>
                  <a:cubicBezTo>
                    <a:pt x="182" y="987"/>
                    <a:pt x="156" y="981"/>
                    <a:pt x="119" y="979"/>
                  </a:cubicBezTo>
                  <a:lnTo>
                    <a:pt x="53" y="977"/>
                  </a:lnTo>
                  <a:lnTo>
                    <a:pt x="53" y="1051"/>
                  </a:lnTo>
                  <a:lnTo>
                    <a:pt x="53" y="1124"/>
                  </a:lnTo>
                  <a:lnTo>
                    <a:pt x="260" y="1124"/>
                  </a:lnTo>
                  <a:cubicBezTo>
                    <a:pt x="457" y="1124"/>
                    <a:pt x="466" y="1123"/>
                    <a:pt x="466" y="1098"/>
                  </a:cubicBezTo>
                  <a:close/>
                  <a:moveTo>
                    <a:pt x="699" y="1109"/>
                  </a:moveTo>
                  <a:cubicBezTo>
                    <a:pt x="703" y="1105"/>
                    <a:pt x="659" y="1100"/>
                    <a:pt x="600" y="1099"/>
                  </a:cubicBezTo>
                  <a:cubicBezTo>
                    <a:pt x="531" y="1097"/>
                    <a:pt x="493" y="1101"/>
                    <a:pt x="493" y="1110"/>
                  </a:cubicBezTo>
                  <a:cubicBezTo>
                    <a:pt x="493" y="1125"/>
                    <a:pt x="684" y="1124"/>
                    <a:pt x="699" y="1109"/>
                  </a:cubicBezTo>
                  <a:close/>
                  <a:moveTo>
                    <a:pt x="740" y="1111"/>
                  </a:moveTo>
                  <a:cubicBezTo>
                    <a:pt x="744" y="1104"/>
                    <a:pt x="742" y="1098"/>
                    <a:pt x="734" y="1098"/>
                  </a:cubicBezTo>
                  <a:cubicBezTo>
                    <a:pt x="726" y="1098"/>
                    <a:pt x="720" y="1104"/>
                    <a:pt x="720" y="1111"/>
                  </a:cubicBezTo>
                  <a:cubicBezTo>
                    <a:pt x="720" y="1118"/>
                    <a:pt x="722" y="1124"/>
                    <a:pt x="726" y="1124"/>
                  </a:cubicBezTo>
                  <a:cubicBezTo>
                    <a:pt x="729" y="1124"/>
                    <a:pt x="735" y="1118"/>
                    <a:pt x="740" y="1111"/>
                  </a:cubicBezTo>
                  <a:close/>
                  <a:moveTo>
                    <a:pt x="976" y="1096"/>
                  </a:moveTo>
                  <a:cubicBezTo>
                    <a:pt x="980" y="1084"/>
                    <a:pt x="988" y="1084"/>
                    <a:pt x="1010" y="1096"/>
                  </a:cubicBezTo>
                  <a:cubicBezTo>
                    <a:pt x="1034" y="1109"/>
                    <a:pt x="1038" y="1108"/>
                    <a:pt x="1031" y="1091"/>
                  </a:cubicBezTo>
                  <a:cubicBezTo>
                    <a:pt x="1025" y="1074"/>
                    <a:pt x="1029" y="1073"/>
                    <a:pt x="1059" y="1084"/>
                  </a:cubicBezTo>
                  <a:cubicBezTo>
                    <a:pt x="1101" y="1100"/>
                    <a:pt x="1120" y="1101"/>
                    <a:pt x="1097" y="1087"/>
                  </a:cubicBezTo>
                  <a:cubicBezTo>
                    <a:pt x="1087" y="1081"/>
                    <a:pt x="1103" y="1072"/>
                    <a:pt x="1139" y="1063"/>
                  </a:cubicBezTo>
                  <a:cubicBezTo>
                    <a:pt x="1188" y="1052"/>
                    <a:pt x="1195" y="1053"/>
                    <a:pt x="1189" y="1069"/>
                  </a:cubicBezTo>
                  <a:cubicBezTo>
                    <a:pt x="1184" y="1082"/>
                    <a:pt x="1187" y="1085"/>
                    <a:pt x="1197" y="1079"/>
                  </a:cubicBezTo>
                  <a:cubicBezTo>
                    <a:pt x="1206" y="1074"/>
                    <a:pt x="1213" y="1075"/>
                    <a:pt x="1213" y="1082"/>
                  </a:cubicBezTo>
                  <a:cubicBezTo>
                    <a:pt x="1213" y="1089"/>
                    <a:pt x="1222" y="1098"/>
                    <a:pt x="1232" y="1102"/>
                  </a:cubicBezTo>
                  <a:cubicBezTo>
                    <a:pt x="1246" y="1107"/>
                    <a:pt x="1249" y="1103"/>
                    <a:pt x="1244" y="1089"/>
                  </a:cubicBezTo>
                  <a:cubicBezTo>
                    <a:pt x="1237" y="1072"/>
                    <a:pt x="1242" y="1070"/>
                    <a:pt x="1264" y="1077"/>
                  </a:cubicBezTo>
                  <a:cubicBezTo>
                    <a:pt x="1282" y="1083"/>
                    <a:pt x="1293" y="1080"/>
                    <a:pt x="1293" y="1071"/>
                  </a:cubicBezTo>
                  <a:cubicBezTo>
                    <a:pt x="1293" y="1063"/>
                    <a:pt x="1287" y="1060"/>
                    <a:pt x="1280" y="1064"/>
                  </a:cubicBezTo>
                  <a:cubicBezTo>
                    <a:pt x="1272" y="1069"/>
                    <a:pt x="1266" y="1065"/>
                    <a:pt x="1266" y="1057"/>
                  </a:cubicBezTo>
                  <a:cubicBezTo>
                    <a:pt x="1266" y="1045"/>
                    <a:pt x="1262" y="1045"/>
                    <a:pt x="1248" y="1056"/>
                  </a:cubicBezTo>
                  <a:cubicBezTo>
                    <a:pt x="1223" y="1077"/>
                    <a:pt x="1210" y="1058"/>
                    <a:pt x="1234" y="1035"/>
                  </a:cubicBezTo>
                  <a:cubicBezTo>
                    <a:pt x="1250" y="1019"/>
                    <a:pt x="1258" y="1018"/>
                    <a:pt x="1273" y="1031"/>
                  </a:cubicBezTo>
                  <a:cubicBezTo>
                    <a:pt x="1285" y="1041"/>
                    <a:pt x="1293" y="1042"/>
                    <a:pt x="1293" y="1034"/>
                  </a:cubicBezTo>
                  <a:cubicBezTo>
                    <a:pt x="1293" y="1026"/>
                    <a:pt x="1285" y="1016"/>
                    <a:pt x="1276" y="1012"/>
                  </a:cubicBezTo>
                  <a:cubicBezTo>
                    <a:pt x="1263" y="1006"/>
                    <a:pt x="1263" y="1003"/>
                    <a:pt x="1276" y="996"/>
                  </a:cubicBezTo>
                  <a:cubicBezTo>
                    <a:pt x="1306" y="983"/>
                    <a:pt x="1294" y="969"/>
                    <a:pt x="1253" y="969"/>
                  </a:cubicBezTo>
                  <a:cubicBezTo>
                    <a:pt x="1231" y="969"/>
                    <a:pt x="1213" y="974"/>
                    <a:pt x="1213" y="981"/>
                  </a:cubicBezTo>
                  <a:cubicBezTo>
                    <a:pt x="1213" y="987"/>
                    <a:pt x="1226" y="989"/>
                    <a:pt x="1243" y="983"/>
                  </a:cubicBezTo>
                  <a:cubicBezTo>
                    <a:pt x="1273" y="974"/>
                    <a:pt x="1273" y="974"/>
                    <a:pt x="1247" y="1003"/>
                  </a:cubicBezTo>
                  <a:cubicBezTo>
                    <a:pt x="1233" y="1019"/>
                    <a:pt x="1218" y="1026"/>
                    <a:pt x="1214" y="1019"/>
                  </a:cubicBezTo>
                  <a:cubicBezTo>
                    <a:pt x="1202" y="1000"/>
                    <a:pt x="1131" y="976"/>
                    <a:pt x="1110" y="984"/>
                  </a:cubicBezTo>
                  <a:cubicBezTo>
                    <a:pt x="1100" y="987"/>
                    <a:pt x="1095" y="985"/>
                    <a:pt x="1100" y="977"/>
                  </a:cubicBezTo>
                  <a:cubicBezTo>
                    <a:pt x="1105" y="969"/>
                    <a:pt x="1083" y="964"/>
                    <a:pt x="1046" y="964"/>
                  </a:cubicBezTo>
                  <a:cubicBezTo>
                    <a:pt x="1008" y="964"/>
                    <a:pt x="988" y="969"/>
                    <a:pt x="993" y="978"/>
                  </a:cubicBezTo>
                  <a:cubicBezTo>
                    <a:pt x="998" y="986"/>
                    <a:pt x="986" y="990"/>
                    <a:pt x="961" y="988"/>
                  </a:cubicBezTo>
                  <a:cubicBezTo>
                    <a:pt x="938" y="987"/>
                    <a:pt x="920" y="982"/>
                    <a:pt x="920" y="977"/>
                  </a:cubicBezTo>
                  <a:cubicBezTo>
                    <a:pt x="920" y="973"/>
                    <a:pt x="901" y="969"/>
                    <a:pt x="878" y="969"/>
                  </a:cubicBezTo>
                  <a:cubicBezTo>
                    <a:pt x="844" y="969"/>
                    <a:pt x="840" y="972"/>
                    <a:pt x="858" y="984"/>
                  </a:cubicBezTo>
                  <a:cubicBezTo>
                    <a:pt x="874" y="997"/>
                    <a:pt x="875" y="1003"/>
                    <a:pt x="863" y="1017"/>
                  </a:cubicBezTo>
                  <a:cubicBezTo>
                    <a:pt x="850" y="1031"/>
                    <a:pt x="850" y="1036"/>
                    <a:pt x="863" y="1040"/>
                  </a:cubicBezTo>
                  <a:cubicBezTo>
                    <a:pt x="872" y="1044"/>
                    <a:pt x="877" y="1051"/>
                    <a:pt x="873" y="1058"/>
                  </a:cubicBezTo>
                  <a:cubicBezTo>
                    <a:pt x="869" y="1064"/>
                    <a:pt x="880" y="1065"/>
                    <a:pt x="896" y="1061"/>
                  </a:cubicBezTo>
                  <a:cubicBezTo>
                    <a:pt x="923" y="1054"/>
                    <a:pt x="924" y="1055"/>
                    <a:pt x="908" y="1076"/>
                  </a:cubicBezTo>
                  <a:cubicBezTo>
                    <a:pt x="891" y="1097"/>
                    <a:pt x="892" y="1097"/>
                    <a:pt x="926" y="1084"/>
                  </a:cubicBezTo>
                  <a:cubicBezTo>
                    <a:pt x="959" y="1072"/>
                    <a:pt x="962" y="1073"/>
                    <a:pt x="947" y="1091"/>
                  </a:cubicBezTo>
                  <a:cubicBezTo>
                    <a:pt x="933" y="1107"/>
                    <a:pt x="933" y="1111"/>
                    <a:pt x="950" y="1111"/>
                  </a:cubicBezTo>
                  <a:cubicBezTo>
                    <a:pt x="962" y="1111"/>
                    <a:pt x="973" y="1104"/>
                    <a:pt x="976" y="1096"/>
                  </a:cubicBezTo>
                  <a:close/>
                  <a:moveTo>
                    <a:pt x="873" y="1031"/>
                  </a:moveTo>
                  <a:cubicBezTo>
                    <a:pt x="868" y="1024"/>
                    <a:pt x="874" y="1018"/>
                    <a:pt x="886" y="1018"/>
                  </a:cubicBezTo>
                  <a:cubicBezTo>
                    <a:pt x="898" y="1018"/>
                    <a:pt x="904" y="1024"/>
                    <a:pt x="900" y="1031"/>
                  </a:cubicBezTo>
                  <a:cubicBezTo>
                    <a:pt x="895" y="1038"/>
                    <a:pt x="889" y="1044"/>
                    <a:pt x="886" y="1044"/>
                  </a:cubicBezTo>
                  <a:cubicBezTo>
                    <a:pt x="883" y="1044"/>
                    <a:pt x="877" y="1038"/>
                    <a:pt x="873" y="1031"/>
                  </a:cubicBezTo>
                  <a:close/>
                  <a:moveTo>
                    <a:pt x="676" y="1053"/>
                  </a:moveTo>
                  <a:cubicBezTo>
                    <a:pt x="686" y="1046"/>
                    <a:pt x="693" y="1046"/>
                    <a:pt x="693" y="1053"/>
                  </a:cubicBezTo>
                  <a:cubicBezTo>
                    <a:pt x="693" y="1060"/>
                    <a:pt x="707" y="1066"/>
                    <a:pt x="723" y="1066"/>
                  </a:cubicBezTo>
                  <a:cubicBezTo>
                    <a:pt x="744" y="1066"/>
                    <a:pt x="754" y="1058"/>
                    <a:pt x="754" y="1042"/>
                  </a:cubicBezTo>
                  <a:cubicBezTo>
                    <a:pt x="754" y="1021"/>
                    <a:pt x="742" y="1018"/>
                    <a:pt x="667" y="1018"/>
                  </a:cubicBezTo>
                  <a:cubicBezTo>
                    <a:pt x="562" y="1018"/>
                    <a:pt x="520" y="1028"/>
                    <a:pt x="520" y="1052"/>
                  </a:cubicBezTo>
                  <a:cubicBezTo>
                    <a:pt x="520" y="1074"/>
                    <a:pt x="648" y="1075"/>
                    <a:pt x="676" y="1053"/>
                  </a:cubicBezTo>
                  <a:close/>
                  <a:moveTo>
                    <a:pt x="807" y="1046"/>
                  </a:moveTo>
                  <a:cubicBezTo>
                    <a:pt x="807" y="1031"/>
                    <a:pt x="800" y="1023"/>
                    <a:pt x="790" y="1027"/>
                  </a:cubicBezTo>
                  <a:cubicBezTo>
                    <a:pt x="768" y="1036"/>
                    <a:pt x="768" y="1053"/>
                    <a:pt x="790" y="1062"/>
                  </a:cubicBezTo>
                  <a:cubicBezTo>
                    <a:pt x="799" y="1066"/>
                    <a:pt x="807" y="1069"/>
                    <a:pt x="807" y="1070"/>
                  </a:cubicBezTo>
                  <a:cubicBezTo>
                    <a:pt x="807" y="1070"/>
                    <a:pt x="807" y="1060"/>
                    <a:pt x="807" y="1046"/>
                  </a:cubicBezTo>
                  <a:close/>
                  <a:moveTo>
                    <a:pt x="738" y="974"/>
                  </a:moveTo>
                  <a:cubicBezTo>
                    <a:pt x="729" y="961"/>
                    <a:pt x="573" y="961"/>
                    <a:pt x="573" y="975"/>
                  </a:cubicBezTo>
                  <a:cubicBezTo>
                    <a:pt x="573" y="981"/>
                    <a:pt x="611" y="986"/>
                    <a:pt x="658" y="985"/>
                  </a:cubicBezTo>
                  <a:cubicBezTo>
                    <a:pt x="705" y="985"/>
                    <a:pt x="741" y="980"/>
                    <a:pt x="738" y="974"/>
                  </a:cubicBezTo>
                  <a:close/>
                  <a:moveTo>
                    <a:pt x="357" y="935"/>
                  </a:moveTo>
                  <a:cubicBezTo>
                    <a:pt x="368" y="924"/>
                    <a:pt x="373" y="849"/>
                    <a:pt x="373" y="684"/>
                  </a:cubicBezTo>
                  <a:cubicBezTo>
                    <a:pt x="373" y="520"/>
                    <a:pt x="368" y="445"/>
                    <a:pt x="357" y="434"/>
                  </a:cubicBezTo>
                  <a:cubicBezTo>
                    <a:pt x="332" y="409"/>
                    <a:pt x="282" y="415"/>
                    <a:pt x="267" y="443"/>
                  </a:cubicBezTo>
                  <a:cubicBezTo>
                    <a:pt x="249" y="476"/>
                    <a:pt x="249" y="871"/>
                    <a:pt x="266" y="917"/>
                  </a:cubicBezTo>
                  <a:cubicBezTo>
                    <a:pt x="280" y="954"/>
                    <a:pt x="328" y="964"/>
                    <a:pt x="357" y="935"/>
                  </a:cubicBezTo>
                  <a:close/>
                  <a:moveTo>
                    <a:pt x="426" y="924"/>
                  </a:moveTo>
                  <a:cubicBezTo>
                    <a:pt x="426" y="917"/>
                    <a:pt x="421" y="911"/>
                    <a:pt x="414" y="911"/>
                  </a:cubicBezTo>
                  <a:cubicBezTo>
                    <a:pt x="407" y="911"/>
                    <a:pt x="397" y="917"/>
                    <a:pt x="393" y="924"/>
                  </a:cubicBezTo>
                  <a:cubicBezTo>
                    <a:pt x="388" y="932"/>
                    <a:pt x="394" y="938"/>
                    <a:pt x="406" y="938"/>
                  </a:cubicBezTo>
                  <a:cubicBezTo>
                    <a:pt x="417" y="938"/>
                    <a:pt x="426" y="932"/>
                    <a:pt x="426" y="924"/>
                  </a:cubicBezTo>
                  <a:close/>
                  <a:moveTo>
                    <a:pt x="493" y="932"/>
                  </a:moveTo>
                  <a:cubicBezTo>
                    <a:pt x="493" y="921"/>
                    <a:pt x="453" y="913"/>
                    <a:pt x="448" y="922"/>
                  </a:cubicBezTo>
                  <a:cubicBezTo>
                    <a:pt x="444" y="928"/>
                    <a:pt x="453" y="933"/>
                    <a:pt x="467" y="934"/>
                  </a:cubicBezTo>
                  <a:cubicBezTo>
                    <a:pt x="481" y="935"/>
                    <a:pt x="493" y="934"/>
                    <a:pt x="493" y="932"/>
                  </a:cubicBezTo>
                  <a:close/>
                  <a:moveTo>
                    <a:pt x="810" y="922"/>
                  </a:moveTo>
                  <a:cubicBezTo>
                    <a:pt x="822" y="910"/>
                    <a:pt x="826" y="838"/>
                    <a:pt x="826" y="678"/>
                  </a:cubicBezTo>
                  <a:cubicBezTo>
                    <a:pt x="825" y="391"/>
                    <a:pt x="829" y="397"/>
                    <a:pt x="677" y="409"/>
                  </a:cubicBezTo>
                  <a:cubicBezTo>
                    <a:pt x="610" y="414"/>
                    <a:pt x="560" y="425"/>
                    <a:pt x="548" y="436"/>
                  </a:cubicBezTo>
                  <a:cubicBezTo>
                    <a:pt x="522" y="463"/>
                    <a:pt x="508" y="887"/>
                    <a:pt x="533" y="917"/>
                  </a:cubicBezTo>
                  <a:cubicBezTo>
                    <a:pt x="554" y="943"/>
                    <a:pt x="785" y="947"/>
                    <a:pt x="810" y="922"/>
                  </a:cubicBezTo>
                  <a:close/>
                  <a:moveTo>
                    <a:pt x="1058" y="918"/>
                  </a:moveTo>
                  <a:cubicBezTo>
                    <a:pt x="1069" y="889"/>
                    <a:pt x="1070" y="484"/>
                    <a:pt x="1059" y="441"/>
                  </a:cubicBezTo>
                  <a:cubicBezTo>
                    <a:pt x="1048" y="396"/>
                    <a:pt x="1019" y="394"/>
                    <a:pt x="986" y="434"/>
                  </a:cubicBezTo>
                  <a:cubicBezTo>
                    <a:pt x="963" y="462"/>
                    <a:pt x="961" y="483"/>
                    <a:pt x="968" y="684"/>
                  </a:cubicBezTo>
                  <a:cubicBezTo>
                    <a:pt x="971" y="809"/>
                    <a:pt x="981" y="911"/>
                    <a:pt x="989" y="920"/>
                  </a:cubicBezTo>
                  <a:cubicBezTo>
                    <a:pt x="1008" y="944"/>
                    <a:pt x="1048" y="942"/>
                    <a:pt x="1058" y="918"/>
                  </a:cubicBezTo>
                  <a:close/>
                  <a:moveTo>
                    <a:pt x="190" y="875"/>
                  </a:moveTo>
                  <a:cubicBezTo>
                    <a:pt x="185" y="861"/>
                    <a:pt x="187" y="856"/>
                    <a:pt x="197" y="863"/>
                  </a:cubicBezTo>
                  <a:cubicBezTo>
                    <a:pt x="207" y="869"/>
                    <a:pt x="210" y="865"/>
                    <a:pt x="205" y="852"/>
                  </a:cubicBezTo>
                  <a:cubicBezTo>
                    <a:pt x="200" y="840"/>
                    <a:pt x="191" y="835"/>
                    <a:pt x="184" y="839"/>
                  </a:cubicBezTo>
                  <a:cubicBezTo>
                    <a:pt x="176" y="844"/>
                    <a:pt x="177" y="835"/>
                    <a:pt x="185" y="819"/>
                  </a:cubicBezTo>
                  <a:cubicBezTo>
                    <a:pt x="202" y="788"/>
                    <a:pt x="216" y="781"/>
                    <a:pt x="205" y="809"/>
                  </a:cubicBezTo>
                  <a:cubicBezTo>
                    <a:pt x="201" y="819"/>
                    <a:pt x="207" y="831"/>
                    <a:pt x="218" y="835"/>
                  </a:cubicBezTo>
                  <a:cubicBezTo>
                    <a:pt x="234" y="841"/>
                    <a:pt x="236" y="837"/>
                    <a:pt x="228" y="814"/>
                  </a:cubicBezTo>
                  <a:cubicBezTo>
                    <a:pt x="222" y="797"/>
                    <a:pt x="220" y="775"/>
                    <a:pt x="224" y="765"/>
                  </a:cubicBezTo>
                  <a:cubicBezTo>
                    <a:pt x="229" y="750"/>
                    <a:pt x="225" y="751"/>
                    <a:pt x="207" y="768"/>
                  </a:cubicBezTo>
                  <a:cubicBezTo>
                    <a:pt x="181" y="794"/>
                    <a:pt x="163" y="799"/>
                    <a:pt x="183" y="774"/>
                  </a:cubicBezTo>
                  <a:cubicBezTo>
                    <a:pt x="190" y="765"/>
                    <a:pt x="195" y="743"/>
                    <a:pt x="193" y="724"/>
                  </a:cubicBezTo>
                  <a:cubicBezTo>
                    <a:pt x="191" y="706"/>
                    <a:pt x="198" y="678"/>
                    <a:pt x="208" y="661"/>
                  </a:cubicBezTo>
                  <a:cubicBezTo>
                    <a:pt x="235" y="619"/>
                    <a:pt x="230" y="610"/>
                    <a:pt x="197" y="639"/>
                  </a:cubicBezTo>
                  <a:lnTo>
                    <a:pt x="168" y="664"/>
                  </a:lnTo>
                  <a:lnTo>
                    <a:pt x="196" y="624"/>
                  </a:lnTo>
                  <a:cubicBezTo>
                    <a:pt x="211" y="602"/>
                    <a:pt x="222" y="569"/>
                    <a:pt x="221" y="551"/>
                  </a:cubicBezTo>
                  <a:cubicBezTo>
                    <a:pt x="219" y="533"/>
                    <a:pt x="224" y="509"/>
                    <a:pt x="232" y="498"/>
                  </a:cubicBezTo>
                  <a:cubicBezTo>
                    <a:pt x="244" y="481"/>
                    <a:pt x="243" y="480"/>
                    <a:pt x="225" y="494"/>
                  </a:cubicBezTo>
                  <a:cubicBezTo>
                    <a:pt x="211" y="505"/>
                    <a:pt x="205" y="526"/>
                    <a:pt x="208" y="551"/>
                  </a:cubicBezTo>
                  <a:cubicBezTo>
                    <a:pt x="210" y="573"/>
                    <a:pt x="208" y="591"/>
                    <a:pt x="202" y="591"/>
                  </a:cubicBezTo>
                  <a:cubicBezTo>
                    <a:pt x="197" y="591"/>
                    <a:pt x="193" y="565"/>
                    <a:pt x="193" y="532"/>
                  </a:cubicBezTo>
                  <a:cubicBezTo>
                    <a:pt x="193" y="500"/>
                    <a:pt x="197" y="476"/>
                    <a:pt x="202" y="479"/>
                  </a:cubicBezTo>
                  <a:cubicBezTo>
                    <a:pt x="207" y="482"/>
                    <a:pt x="214" y="480"/>
                    <a:pt x="218" y="474"/>
                  </a:cubicBezTo>
                  <a:cubicBezTo>
                    <a:pt x="221" y="468"/>
                    <a:pt x="207" y="462"/>
                    <a:pt x="185" y="460"/>
                  </a:cubicBezTo>
                  <a:lnTo>
                    <a:pt x="146" y="457"/>
                  </a:lnTo>
                  <a:lnTo>
                    <a:pt x="146" y="677"/>
                  </a:lnTo>
                  <a:cubicBezTo>
                    <a:pt x="146" y="888"/>
                    <a:pt x="147" y="898"/>
                    <a:pt x="173" y="898"/>
                  </a:cubicBezTo>
                  <a:cubicBezTo>
                    <a:pt x="192" y="898"/>
                    <a:pt x="196" y="891"/>
                    <a:pt x="190" y="875"/>
                  </a:cubicBezTo>
                  <a:close/>
                  <a:moveTo>
                    <a:pt x="240" y="884"/>
                  </a:moveTo>
                  <a:cubicBezTo>
                    <a:pt x="240" y="877"/>
                    <a:pt x="237" y="871"/>
                    <a:pt x="234" y="871"/>
                  </a:cubicBezTo>
                  <a:cubicBezTo>
                    <a:pt x="231" y="871"/>
                    <a:pt x="224" y="877"/>
                    <a:pt x="220" y="884"/>
                  </a:cubicBezTo>
                  <a:cubicBezTo>
                    <a:pt x="215" y="892"/>
                    <a:pt x="218" y="898"/>
                    <a:pt x="226" y="898"/>
                  </a:cubicBezTo>
                  <a:cubicBezTo>
                    <a:pt x="233" y="898"/>
                    <a:pt x="240" y="892"/>
                    <a:pt x="240" y="884"/>
                  </a:cubicBezTo>
                  <a:close/>
                  <a:moveTo>
                    <a:pt x="475" y="878"/>
                  </a:moveTo>
                  <a:cubicBezTo>
                    <a:pt x="479" y="867"/>
                    <a:pt x="489" y="862"/>
                    <a:pt x="496" y="866"/>
                  </a:cubicBezTo>
                  <a:cubicBezTo>
                    <a:pt x="505" y="872"/>
                    <a:pt x="506" y="869"/>
                    <a:pt x="501" y="859"/>
                  </a:cubicBezTo>
                  <a:cubicBezTo>
                    <a:pt x="493" y="847"/>
                    <a:pt x="486" y="847"/>
                    <a:pt x="473" y="857"/>
                  </a:cubicBezTo>
                  <a:cubicBezTo>
                    <a:pt x="450" y="876"/>
                    <a:pt x="432" y="833"/>
                    <a:pt x="454" y="812"/>
                  </a:cubicBezTo>
                  <a:cubicBezTo>
                    <a:pt x="466" y="801"/>
                    <a:pt x="468" y="804"/>
                    <a:pt x="461" y="824"/>
                  </a:cubicBezTo>
                  <a:cubicBezTo>
                    <a:pt x="451" y="851"/>
                    <a:pt x="451" y="851"/>
                    <a:pt x="476" y="824"/>
                  </a:cubicBezTo>
                  <a:cubicBezTo>
                    <a:pt x="507" y="792"/>
                    <a:pt x="487" y="756"/>
                    <a:pt x="453" y="782"/>
                  </a:cubicBezTo>
                  <a:cubicBezTo>
                    <a:pt x="442" y="790"/>
                    <a:pt x="446" y="782"/>
                    <a:pt x="461" y="764"/>
                  </a:cubicBezTo>
                  <a:cubicBezTo>
                    <a:pt x="495" y="725"/>
                    <a:pt x="499" y="679"/>
                    <a:pt x="468" y="691"/>
                  </a:cubicBezTo>
                  <a:cubicBezTo>
                    <a:pt x="450" y="698"/>
                    <a:pt x="450" y="696"/>
                    <a:pt x="468" y="675"/>
                  </a:cubicBezTo>
                  <a:cubicBezTo>
                    <a:pt x="508" y="629"/>
                    <a:pt x="510" y="611"/>
                    <a:pt x="472" y="644"/>
                  </a:cubicBezTo>
                  <a:lnTo>
                    <a:pt x="434" y="678"/>
                  </a:lnTo>
                  <a:lnTo>
                    <a:pt x="469" y="631"/>
                  </a:lnTo>
                  <a:cubicBezTo>
                    <a:pt x="494" y="596"/>
                    <a:pt x="502" y="569"/>
                    <a:pt x="501" y="528"/>
                  </a:cubicBezTo>
                  <a:cubicBezTo>
                    <a:pt x="498" y="461"/>
                    <a:pt x="488" y="448"/>
                    <a:pt x="457" y="472"/>
                  </a:cubicBezTo>
                  <a:cubicBezTo>
                    <a:pt x="442" y="485"/>
                    <a:pt x="438" y="485"/>
                    <a:pt x="445" y="474"/>
                  </a:cubicBezTo>
                  <a:cubicBezTo>
                    <a:pt x="451" y="463"/>
                    <a:pt x="446" y="458"/>
                    <a:pt x="427" y="458"/>
                  </a:cubicBezTo>
                  <a:cubicBezTo>
                    <a:pt x="401" y="458"/>
                    <a:pt x="400" y="464"/>
                    <a:pt x="400" y="669"/>
                  </a:cubicBezTo>
                  <a:cubicBezTo>
                    <a:pt x="400" y="785"/>
                    <a:pt x="404" y="884"/>
                    <a:pt x="409" y="889"/>
                  </a:cubicBezTo>
                  <a:cubicBezTo>
                    <a:pt x="425" y="905"/>
                    <a:pt x="467" y="898"/>
                    <a:pt x="475" y="878"/>
                  </a:cubicBezTo>
                  <a:close/>
                  <a:moveTo>
                    <a:pt x="440" y="746"/>
                  </a:moveTo>
                  <a:cubicBezTo>
                    <a:pt x="440" y="743"/>
                    <a:pt x="450" y="733"/>
                    <a:pt x="463" y="723"/>
                  </a:cubicBezTo>
                  <a:cubicBezTo>
                    <a:pt x="484" y="706"/>
                    <a:pt x="485" y="706"/>
                    <a:pt x="468" y="728"/>
                  </a:cubicBezTo>
                  <a:cubicBezTo>
                    <a:pt x="451" y="750"/>
                    <a:pt x="440" y="757"/>
                    <a:pt x="440" y="746"/>
                  </a:cubicBezTo>
                  <a:close/>
                  <a:moveTo>
                    <a:pt x="453" y="599"/>
                  </a:moveTo>
                  <a:cubicBezTo>
                    <a:pt x="453" y="596"/>
                    <a:pt x="463" y="586"/>
                    <a:pt x="476" y="576"/>
                  </a:cubicBezTo>
                  <a:cubicBezTo>
                    <a:pt x="497" y="559"/>
                    <a:pt x="498" y="560"/>
                    <a:pt x="481" y="581"/>
                  </a:cubicBezTo>
                  <a:cubicBezTo>
                    <a:pt x="464" y="603"/>
                    <a:pt x="453" y="610"/>
                    <a:pt x="453" y="599"/>
                  </a:cubicBezTo>
                  <a:close/>
                  <a:moveTo>
                    <a:pt x="453" y="559"/>
                  </a:moveTo>
                  <a:cubicBezTo>
                    <a:pt x="453" y="556"/>
                    <a:pt x="463" y="546"/>
                    <a:pt x="476" y="536"/>
                  </a:cubicBezTo>
                  <a:cubicBezTo>
                    <a:pt x="497" y="519"/>
                    <a:pt x="498" y="520"/>
                    <a:pt x="481" y="541"/>
                  </a:cubicBezTo>
                  <a:cubicBezTo>
                    <a:pt x="464" y="563"/>
                    <a:pt x="453" y="570"/>
                    <a:pt x="453" y="559"/>
                  </a:cubicBezTo>
                  <a:close/>
                  <a:moveTo>
                    <a:pt x="453" y="519"/>
                  </a:moveTo>
                  <a:cubicBezTo>
                    <a:pt x="453" y="516"/>
                    <a:pt x="463" y="506"/>
                    <a:pt x="476" y="496"/>
                  </a:cubicBezTo>
                  <a:cubicBezTo>
                    <a:pt x="497" y="479"/>
                    <a:pt x="498" y="480"/>
                    <a:pt x="481" y="501"/>
                  </a:cubicBezTo>
                  <a:cubicBezTo>
                    <a:pt x="464" y="523"/>
                    <a:pt x="453" y="530"/>
                    <a:pt x="453" y="519"/>
                  </a:cubicBezTo>
                  <a:close/>
                  <a:moveTo>
                    <a:pt x="901" y="861"/>
                  </a:moveTo>
                  <a:cubicBezTo>
                    <a:pt x="900" y="846"/>
                    <a:pt x="908" y="839"/>
                    <a:pt x="923" y="842"/>
                  </a:cubicBezTo>
                  <a:cubicBezTo>
                    <a:pt x="936" y="844"/>
                    <a:pt x="946" y="840"/>
                    <a:pt x="946" y="832"/>
                  </a:cubicBezTo>
                  <a:cubicBezTo>
                    <a:pt x="946" y="825"/>
                    <a:pt x="934" y="822"/>
                    <a:pt x="919" y="824"/>
                  </a:cubicBezTo>
                  <a:cubicBezTo>
                    <a:pt x="901" y="828"/>
                    <a:pt x="893" y="824"/>
                    <a:pt x="896" y="814"/>
                  </a:cubicBezTo>
                  <a:cubicBezTo>
                    <a:pt x="899" y="805"/>
                    <a:pt x="908" y="798"/>
                    <a:pt x="916" y="798"/>
                  </a:cubicBezTo>
                  <a:cubicBezTo>
                    <a:pt x="924" y="798"/>
                    <a:pt x="936" y="792"/>
                    <a:pt x="942" y="785"/>
                  </a:cubicBezTo>
                  <a:cubicBezTo>
                    <a:pt x="948" y="778"/>
                    <a:pt x="946" y="777"/>
                    <a:pt x="936" y="783"/>
                  </a:cubicBezTo>
                  <a:cubicBezTo>
                    <a:pt x="926" y="789"/>
                    <a:pt x="920" y="784"/>
                    <a:pt x="920" y="771"/>
                  </a:cubicBezTo>
                  <a:cubicBezTo>
                    <a:pt x="920" y="759"/>
                    <a:pt x="913" y="753"/>
                    <a:pt x="905" y="758"/>
                  </a:cubicBezTo>
                  <a:cubicBezTo>
                    <a:pt x="897" y="763"/>
                    <a:pt x="900" y="749"/>
                    <a:pt x="912" y="726"/>
                  </a:cubicBezTo>
                  <a:cubicBezTo>
                    <a:pt x="937" y="677"/>
                    <a:pt x="938" y="666"/>
                    <a:pt x="916" y="680"/>
                  </a:cubicBezTo>
                  <a:cubicBezTo>
                    <a:pt x="907" y="685"/>
                    <a:pt x="910" y="674"/>
                    <a:pt x="923" y="654"/>
                  </a:cubicBezTo>
                  <a:cubicBezTo>
                    <a:pt x="952" y="609"/>
                    <a:pt x="953" y="596"/>
                    <a:pt x="924" y="619"/>
                  </a:cubicBezTo>
                  <a:cubicBezTo>
                    <a:pt x="905" y="635"/>
                    <a:pt x="905" y="632"/>
                    <a:pt x="926" y="591"/>
                  </a:cubicBezTo>
                  <a:cubicBezTo>
                    <a:pt x="950" y="545"/>
                    <a:pt x="950" y="545"/>
                    <a:pt x="925" y="564"/>
                  </a:cubicBezTo>
                  <a:cubicBezTo>
                    <a:pt x="901" y="584"/>
                    <a:pt x="901" y="583"/>
                    <a:pt x="923" y="548"/>
                  </a:cubicBezTo>
                  <a:cubicBezTo>
                    <a:pt x="952" y="502"/>
                    <a:pt x="953" y="489"/>
                    <a:pt x="924" y="513"/>
                  </a:cubicBezTo>
                  <a:cubicBezTo>
                    <a:pt x="904" y="529"/>
                    <a:pt x="903" y="528"/>
                    <a:pt x="920" y="498"/>
                  </a:cubicBezTo>
                  <a:cubicBezTo>
                    <a:pt x="936" y="466"/>
                    <a:pt x="936" y="465"/>
                    <a:pt x="913" y="484"/>
                  </a:cubicBezTo>
                  <a:cubicBezTo>
                    <a:pt x="899" y="495"/>
                    <a:pt x="892" y="497"/>
                    <a:pt x="897" y="489"/>
                  </a:cubicBezTo>
                  <a:cubicBezTo>
                    <a:pt x="909" y="470"/>
                    <a:pt x="876" y="456"/>
                    <a:pt x="853" y="471"/>
                  </a:cubicBezTo>
                  <a:cubicBezTo>
                    <a:pt x="837" y="481"/>
                    <a:pt x="837" y="563"/>
                    <a:pt x="853" y="881"/>
                  </a:cubicBezTo>
                  <a:cubicBezTo>
                    <a:pt x="853" y="883"/>
                    <a:pt x="864" y="884"/>
                    <a:pt x="878" y="884"/>
                  </a:cubicBezTo>
                  <a:cubicBezTo>
                    <a:pt x="894" y="884"/>
                    <a:pt x="903" y="876"/>
                    <a:pt x="901" y="861"/>
                  </a:cubicBezTo>
                  <a:close/>
                  <a:moveTo>
                    <a:pt x="1155" y="850"/>
                  </a:moveTo>
                  <a:cubicBezTo>
                    <a:pt x="1186" y="822"/>
                    <a:pt x="1189" y="814"/>
                    <a:pt x="1172" y="804"/>
                  </a:cubicBezTo>
                  <a:cubicBezTo>
                    <a:pt x="1154" y="792"/>
                    <a:pt x="1165" y="785"/>
                    <a:pt x="1193" y="790"/>
                  </a:cubicBezTo>
                  <a:cubicBezTo>
                    <a:pt x="1200" y="792"/>
                    <a:pt x="1195" y="781"/>
                    <a:pt x="1182" y="767"/>
                  </a:cubicBezTo>
                  <a:cubicBezTo>
                    <a:pt x="1161" y="744"/>
                    <a:pt x="1161" y="740"/>
                    <a:pt x="1179" y="725"/>
                  </a:cubicBezTo>
                  <a:cubicBezTo>
                    <a:pt x="1190" y="715"/>
                    <a:pt x="1200" y="701"/>
                    <a:pt x="1199" y="693"/>
                  </a:cubicBezTo>
                  <a:cubicBezTo>
                    <a:pt x="1199" y="684"/>
                    <a:pt x="1193" y="687"/>
                    <a:pt x="1185" y="698"/>
                  </a:cubicBezTo>
                  <a:cubicBezTo>
                    <a:pt x="1173" y="714"/>
                    <a:pt x="1172" y="714"/>
                    <a:pt x="1178" y="694"/>
                  </a:cubicBezTo>
                  <a:cubicBezTo>
                    <a:pt x="1183" y="681"/>
                    <a:pt x="1190" y="661"/>
                    <a:pt x="1195" y="649"/>
                  </a:cubicBezTo>
                  <a:cubicBezTo>
                    <a:pt x="1201" y="634"/>
                    <a:pt x="1199" y="630"/>
                    <a:pt x="1189" y="636"/>
                  </a:cubicBezTo>
                  <a:cubicBezTo>
                    <a:pt x="1180" y="642"/>
                    <a:pt x="1173" y="640"/>
                    <a:pt x="1173" y="633"/>
                  </a:cubicBezTo>
                  <a:cubicBezTo>
                    <a:pt x="1173" y="625"/>
                    <a:pt x="1178" y="616"/>
                    <a:pt x="1184" y="612"/>
                  </a:cubicBezTo>
                  <a:cubicBezTo>
                    <a:pt x="1190" y="608"/>
                    <a:pt x="1195" y="577"/>
                    <a:pt x="1194" y="541"/>
                  </a:cubicBezTo>
                  <a:lnTo>
                    <a:pt x="1193" y="478"/>
                  </a:lnTo>
                  <a:lnTo>
                    <a:pt x="1143" y="473"/>
                  </a:lnTo>
                  <a:lnTo>
                    <a:pt x="1093" y="469"/>
                  </a:lnTo>
                  <a:lnTo>
                    <a:pt x="1093" y="677"/>
                  </a:lnTo>
                  <a:cubicBezTo>
                    <a:pt x="1093" y="799"/>
                    <a:pt x="1098" y="884"/>
                    <a:pt x="1106" y="884"/>
                  </a:cubicBezTo>
                  <a:cubicBezTo>
                    <a:pt x="1113" y="884"/>
                    <a:pt x="1135" y="869"/>
                    <a:pt x="1155" y="850"/>
                  </a:cubicBezTo>
                  <a:close/>
                  <a:moveTo>
                    <a:pt x="1167" y="547"/>
                  </a:moveTo>
                  <a:cubicBezTo>
                    <a:pt x="1172" y="534"/>
                    <a:pt x="1180" y="526"/>
                    <a:pt x="1184" y="531"/>
                  </a:cubicBezTo>
                  <a:cubicBezTo>
                    <a:pt x="1188" y="535"/>
                    <a:pt x="1184" y="545"/>
                    <a:pt x="1175" y="554"/>
                  </a:cubicBezTo>
                  <a:cubicBezTo>
                    <a:pt x="1161" y="568"/>
                    <a:pt x="1160" y="566"/>
                    <a:pt x="1167" y="547"/>
                  </a:cubicBezTo>
                  <a:close/>
                  <a:moveTo>
                    <a:pt x="1166" y="498"/>
                  </a:moveTo>
                  <a:cubicBezTo>
                    <a:pt x="1171" y="490"/>
                    <a:pt x="1177" y="484"/>
                    <a:pt x="1180" y="484"/>
                  </a:cubicBezTo>
                  <a:cubicBezTo>
                    <a:pt x="1184" y="484"/>
                    <a:pt x="1186" y="490"/>
                    <a:pt x="1186" y="498"/>
                  </a:cubicBezTo>
                  <a:cubicBezTo>
                    <a:pt x="1186" y="505"/>
                    <a:pt x="1180" y="511"/>
                    <a:pt x="1172" y="511"/>
                  </a:cubicBezTo>
                  <a:cubicBezTo>
                    <a:pt x="1164" y="511"/>
                    <a:pt x="1162" y="505"/>
                    <a:pt x="1166" y="498"/>
                  </a:cubicBezTo>
                  <a:close/>
                  <a:moveTo>
                    <a:pt x="1180" y="871"/>
                  </a:moveTo>
                  <a:cubicBezTo>
                    <a:pt x="1175" y="864"/>
                    <a:pt x="1165" y="858"/>
                    <a:pt x="1158" y="858"/>
                  </a:cubicBezTo>
                  <a:cubicBezTo>
                    <a:pt x="1151" y="858"/>
                    <a:pt x="1148" y="864"/>
                    <a:pt x="1153" y="871"/>
                  </a:cubicBezTo>
                  <a:cubicBezTo>
                    <a:pt x="1158" y="878"/>
                    <a:pt x="1167" y="884"/>
                    <a:pt x="1175" y="884"/>
                  </a:cubicBezTo>
                  <a:cubicBezTo>
                    <a:pt x="1182" y="884"/>
                    <a:pt x="1184" y="878"/>
                    <a:pt x="1180" y="871"/>
                  </a:cubicBezTo>
                  <a:close/>
                  <a:moveTo>
                    <a:pt x="946" y="738"/>
                  </a:moveTo>
                  <a:cubicBezTo>
                    <a:pt x="946" y="730"/>
                    <a:pt x="940" y="724"/>
                    <a:pt x="933" y="724"/>
                  </a:cubicBezTo>
                  <a:cubicBezTo>
                    <a:pt x="926" y="724"/>
                    <a:pt x="920" y="730"/>
                    <a:pt x="920" y="738"/>
                  </a:cubicBezTo>
                  <a:cubicBezTo>
                    <a:pt x="920" y="745"/>
                    <a:pt x="926" y="751"/>
                    <a:pt x="933" y="751"/>
                  </a:cubicBezTo>
                  <a:cubicBezTo>
                    <a:pt x="940" y="751"/>
                    <a:pt x="946" y="745"/>
                    <a:pt x="946" y="738"/>
                  </a:cubicBezTo>
                  <a:close/>
                  <a:moveTo>
                    <a:pt x="218" y="698"/>
                  </a:moveTo>
                  <a:cubicBezTo>
                    <a:pt x="210" y="689"/>
                    <a:pt x="205" y="694"/>
                    <a:pt x="203" y="713"/>
                  </a:cubicBezTo>
                  <a:cubicBezTo>
                    <a:pt x="202" y="735"/>
                    <a:pt x="205" y="738"/>
                    <a:pt x="216" y="726"/>
                  </a:cubicBezTo>
                  <a:cubicBezTo>
                    <a:pt x="226" y="716"/>
                    <a:pt x="227" y="706"/>
                    <a:pt x="218" y="698"/>
                  </a:cubicBezTo>
                  <a:close/>
                  <a:moveTo>
                    <a:pt x="160" y="431"/>
                  </a:moveTo>
                  <a:cubicBezTo>
                    <a:pt x="160" y="424"/>
                    <a:pt x="157" y="418"/>
                    <a:pt x="154" y="418"/>
                  </a:cubicBezTo>
                  <a:cubicBezTo>
                    <a:pt x="151" y="418"/>
                    <a:pt x="144" y="424"/>
                    <a:pt x="140" y="431"/>
                  </a:cubicBezTo>
                  <a:cubicBezTo>
                    <a:pt x="135" y="438"/>
                    <a:pt x="138" y="444"/>
                    <a:pt x="146" y="444"/>
                  </a:cubicBezTo>
                  <a:cubicBezTo>
                    <a:pt x="153" y="444"/>
                    <a:pt x="160" y="438"/>
                    <a:pt x="160" y="431"/>
                  </a:cubicBezTo>
                  <a:close/>
                  <a:moveTo>
                    <a:pt x="206" y="431"/>
                  </a:moveTo>
                  <a:cubicBezTo>
                    <a:pt x="211" y="424"/>
                    <a:pt x="208" y="418"/>
                    <a:pt x="200" y="418"/>
                  </a:cubicBezTo>
                  <a:cubicBezTo>
                    <a:pt x="193" y="418"/>
                    <a:pt x="186" y="424"/>
                    <a:pt x="186" y="431"/>
                  </a:cubicBezTo>
                  <a:cubicBezTo>
                    <a:pt x="186" y="438"/>
                    <a:pt x="189" y="444"/>
                    <a:pt x="192" y="444"/>
                  </a:cubicBezTo>
                  <a:cubicBezTo>
                    <a:pt x="195" y="444"/>
                    <a:pt x="202" y="438"/>
                    <a:pt x="206" y="431"/>
                  </a:cubicBezTo>
                  <a:close/>
                  <a:moveTo>
                    <a:pt x="433" y="431"/>
                  </a:moveTo>
                  <a:cubicBezTo>
                    <a:pt x="438" y="424"/>
                    <a:pt x="429" y="418"/>
                    <a:pt x="413" y="418"/>
                  </a:cubicBezTo>
                  <a:cubicBezTo>
                    <a:pt x="397" y="418"/>
                    <a:pt x="388" y="424"/>
                    <a:pt x="393" y="431"/>
                  </a:cubicBezTo>
                  <a:cubicBezTo>
                    <a:pt x="398" y="438"/>
                    <a:pt x="407" y="444"/>
                    <a:pt x="413" y="444"/>
                  </a:cubicBezTo>
                  <a:cubicBezTo>
                    <a:pt x="419" y="444"/>
                    <a:pt x="428" y="438"/>
                    <a:pt x="433" y="431"/>
                  </a:cubicBezTo>
                  <a:close/>
                  <a:moveTo>
                    <a:pt x="513" y="431"/>
                  </a:moveTo>
                  <a:cubicBezTo>
                    <a:pt x="518" y="424"/>
                    <a:pt x="515" y="418"/>
                    <a:pt x="507" y="418"/>
                  </a:cubicBezTo>
                  <a:cubicBezTo>
                    <a:pt x="499" y="418"/>
                    <a:pt x="493" y="424"/>
                    <a:pt x="493" y="431"/>
                  </a:cubicBezTo>
                  <a:cubicBezTo>
                    <a:pt x="493" y="438"/>
                    <a:pt x="496" y="444"/>
                    <a:pt x="499" y="444"/>
                  </a:cubicBezTo>
                  <a:cubicBezTo>
                    <a:pt x="502" y="444"/>
                    <a:pt x="508" y="438"/>
                    <a:pt x="513" y="431"/>
                  </a:cubicBezTo>
                  <a:close/>
                  <a:moveTo>
                    <a:pt x="866" y="431"/>
                  </a:moveTo>
                  <a:cubicBezTo>
                    <a:pt x="866" y="424"/>
                    <a:pt x="864" y="418"/>
                    <a:pt x="860" y="418"/>
                  </a:cubicBezTo>
                  <a:cubicBezTo>
                    <a:pt x="857" y="418"/>
                    <a:pt x="851" y="424"/>
                    <a:pt x="846" y="431"/>
                  </a:cubicBezTo>
                  <a:cubicBezTo>
                    <a:pt x="842" y="438"/>
                    <a:pt x="844" y="444"/>
                    <a:pt x="852" y="444"/>
                  </a:cubicBezTo>
                  <a:cubicBezTo>
                    <a:pt x="860" y="444"/>
                    <a:pt x="866" y="438"/>
                    <a:pt x="866" y="431"/>
                  </a:cubicBezTo>
                  <a:close/>
                  <a:moveTo>
                    <a:pt x="916" y="436"/>
                  </a:moveTo>
                  <a:cubicBezTo>
                    <a:pt x="912" y="432"/>
                    <a:pt x="900" y="431"/>
                    <a:pt x="890" y="435"/>
                  </a:cubicBezTo>
                  <a:cubicBezTo>
                    <a:pt x="880" y="439"/>
                    <a:pt x="883" y="443"/>
                    <a:pt x="899" y="443"/>
                  </a:cubicBezTo>
                  <a:cubicBezTo>
                    <a:pt x="913" y="444"/>
                    <a:pt x="920" y="441"/>
                    <a:pt x="916" y="436"/>
                  </a:cubicBezTo>
                  <a:close/>
                  <a:moveTo>
                    <a:pt x="58" y="394"/>
                  </a:moveTo>
                  <a:cubicBezTo>
                    <a:pt x="61" y="389"/>
                    <a:pt x="120" y="385"/>
                    <a:pt x="188" y="386"/>
                  </a:cubicBezTo>
                  <a:cubicBezTo>
                    <a:pt x="260" y="386"/>
                    <a:pt x="321" y="381"/>
                    <a:pt x="332" y="372"/>
                  </a:cubicBezTo>
                  <a:cubicBezTo>
                    <a:pt x="347" y="361"/>
                    <a:pt x="349" y="362"/>
                    <a:pt x="341" y="374"/>
                  </a:cubicBezTo>
                  <a:cubicBezTo>
                    <a:pt x="336" y="383"/>
                    <a:pt x="337" y="391"/>
                    <a:pt x="343" y="391"/>
                  </a:cubicBezTo>
                  <a:cubicBezTo>
                    <a:pt x="349" y="391"/>
                    <a:pt x="362" y="383"/>
                    <a:pt x="372" y="374"/>
                  </a:cubicBezTo>
                  <a:cubicBezTo>
                    <a:pt x="387" y="361"/>
                    <a:pt x="388" y="361"/>
                    <a:pt x="381" y="374"/>
                  </a:cubicBezTo>
                  <a:cubicBezTo>
                    <a:pt x="370" y="394"/>
                    <a:pt x="394" y="397"/>
                    <a:pt x="406" y="377"/>
                  </a:cubicBezTo>
                  <a:cubicBezTo>
                    <a:pt x="411" y="370"/>
                    <a:pt x="420" y="367"/>
                    <a:pt x="426" y="371"/>
                  </a:cubicBezTo>
                  <a:cubicBezTo>
                    <a:pt x="433" y="375"/>
                    <a:pt x="442" y="371"/>
                    <a:pt x="447" y="363"/>
                  </a:cubicBezTo>
                  <a:cubicBezTo>
                    <a:pt x="453" y="353"/>
                    <a:pt x="422" y="350"/>
                    <a:pt x="338" y="353"/>
                  </a:cubicBezTo>
                  <a:cubicBezTo>
                    <a:pt x="182" y="358"/>
                    <a:pt x="182" y="338"/>
                    <a:pt x="340" y="258"/>
                  </a:cubicBezTo>
                  <a:cubicBezTo>
                    <a:pt x="406" y="224"/>
                    <a:pt x="509" y="165"/>
                    <a:pt x="569" y="127"/>
                  </a:cubicBezTo>
                  <a:lnTo>
                    <a:pt x="679" y="58"/>
                  </a:lnTo>
                  <a:lnTo>
                    <a:pt x="796" y="136"/>
                  </a:lnTo>
                  <a:cubicBezTo>
                    <a:pt x="1003" y="273"/>
                    <a:pt x="1007" y="274"/>
                    <a:pt x="1028" y="248"/>
                  </a:cubicBezTo>
                  <a:cubicBezTo>
                    <a:pt x="1044" y="229"/>
                    <a:pt x="1043" y="227"/>
                    <a:pt x="1024" y="234"/>
                  </a:cubicBezTo>
                  <a:cubicBezTo>
                    <a:pt x="1007" y="241"/>
                    <a:pt x="1003" y="237"/>
                    <a:pt x="1008" y="223"/>
                  </a:cubicBezTo>
                  <a:cubicBezTo>
                    <a:pt x="1014" y="210"/>
                    <a:pt x="1010" y="206"/>
                    <a:pt x="995" y="212"/>
                  </a:cubicBezTo>
                  <a:cubicBezTo>
                    <a:pt x="982" y="217"/>
                    <a:pt x="970" y="212"/>
                    <a:pt x="965" y="199"/>
                  </a:cubicBezTo>
                  <a:cubicBezTo>
                    <a:pt x="960" y="187"/>
                    <a:pt x="897" y="144"/>
                    <a:pt x="824" y="102"/>
                  </a:cubicBezTo>
                  <a:lnTo>
                    <a:pt x="691" y="27"/>
                  </a:lnTo>
                  <a:lnTo>
                    <a:pt x="622" y="59"/>
                  </a:lnTo>
                  <a:cubicBezTo>
                    <a:pt x="585" y="77"/>
                    <a:pt x="510" y="120"/>
                    <a:pt x="456" y="155"/>
                  </a:cubicBezTo>
                  <a:cubicBezTo>
                    <a:pt x="402" y="190"/>
                    <a:pt x="294" y="251"/>
                    <a:pt x="215" y="290"/>
                  </a:cubicBezTo>
                  <a:cubicBezTo>
                    <a:pt x="70" y="364"/>
                    <a:pt x="7" y="403"/>
                    <a:pt x="36" y="404"/>
                  </a:cubicBezTo>
                  <a:cubicBezTo>
                    <a:pt x="44" y="404"/>
                    <a:pt x="54" y="400"/>
                    <a:pt x="58" y="394"/>
                  </a:cubicBezTo>
                  <a:close/>
                  <a:moveTo>
                    <a:pt x="586" y="359"/>
                  </a:moveTo>
                  <a:cubicBezTo>
                    <a:pt x="586" y="357"/>
                    <a:pt x="559" y="355"/>
                    <a:pt x="526" y="356"/>
                  </a:cubicBezTo>
                  <a:cubicBezTo>
                    <a:pt x="493" y="356"/>
                    <a:pt x="474" y="361"/>
                    <a:pt x="483" y="367"/>
                  </a:cubicBezTo>
                  <a:cubicBezTo>
                    <a:pt x="492" y="372"/>
                    <a:pt x="511" y="373"/>
                    <a:pt x="525" y="369"/>
                  </a:cubicBezTo>
                  <a:cubicBezTo>
                    <a:pt x="542" y="364"/>
                    <a:pt x="547" y="366"/>
                    <a:pt x="540" y="378"/>
                  </a:cubicBezTo>
                  <a:cubicBezTo>
                    <a:pt x="532" y="390"/>
                    <a:pt x="536" y="390"/>
                    <a:pt x="558" y="378"/>
                  </a:cubicBezTo>
                  <a:cubicBezTo>
                    <a:pt x="574" y="370"/>
                    <a:pt x="586" y="361"/>
                    <a:pt x="586" y="359"/>
                  </a:cubicBezTo>
                  <a:close/>
                  <a:moveTo>
                    <a:pt x="753" y="378"/>
                  </a:moveTo>
                  <a:cubicBezTo>
                    <a:pt x="748" y="370"/>
                    <a:pt x="738" y="364"/>
                    <a:pt x="729" y="364"/>
                  </a:cubicBezTo>
                  <a:cubicBezTo>
                    <a:pt x="719" y="365"/>
                    <a:pt x="721" y="370"/>
                    <a:pt x="733" y="378"/>
                  </a:cubicBezTo>
                  <a:cubicBezTo>
                    <a:pt x="759" y="394"/>
                    <a:pt x="763" y="394"/>
                    <a:pt x="753" y="378"/>
                  </a:cubicBezTo>
                  <a:close/>
                  <a:moveTo>
                    <a:pt x="1229" y="370"/>
                  </a:moveTo>
                  <a:cubicBezTo>
                    <a:pt x="1205" y="359"/>
                    <a:pt x="1189" y="344"/>
                    <a:pt x="1193" y="337"/>
                  </a:cubicBezTo>
                  <a:cubicBezTo>
                    <a:pt x="1198" y="330"/>
                    <a:pt x="1198" y="324"/>
                    <a:pt x="1194" y="324"/>
                  </a:cubicBezTo>
                  <a:cubicBezTo>
                    <a:pt x="1190" y="324"/>
                    <a:pt x="1180" y="337"/>
                    <a:pt x="1172" y="353"/>
                  </a:cubicBezTo>
                  <a:cubicBezTo>
                    <a:pt x="1163" y="369"/>
                    <a:pt x="1163" y="377"/>
                    <a:pt x="1170" y="373"/>
                  </a:cubicBezTo>
                  <a:cubicBezTo>
                    <a:pt x="1178" y="368"/>
                    <a:pt x="1198" y="370"/>
                    <a:pt x="1215" y="377"/>
                  </a:cubicBezTo>
                  <a:cubicBezTo>
                    <a:pt x="1265" y="397"/>
                    <a:pt x="1277" y="391"/>
                    <a:pt x="1229" y="370"/>
                  </a:cubicBezTo>
                  <a:close/>
                  <a:moveTo>
                    <a:pt x="836" y="350"/>
                  </a:moveTo>
                  <a:cubicBezTo>
                    <a:pt x="841" y="333"/>
                    <a:pt x="840" y="333"/>
                    <a:pt x="828" y="350"/>
                  </a:cubicBezTo>
                  <a:cubicBezTo>
                    <a:pt x="818" y="365"/>
                    <a:pt x="811" y="366"/>
                    <a:pt x="795" y="353"/>
                  </a:cubicBezTo>
                  <a:cubicBezTo>
                    <a:pt x="783" y="343"/>
                    <a:pt x="772" y="341"/>
                    <a:pt x="767" y="349"/>
                  </a:cubicBezTo>
                  <a:cubicBezTo>
                    <a:pt x="763" y="356"/>
                    <a:pt x="770" y="365"/>
                    <a:pt x="783" y="368"/>
                  </a:cubicBezTo>
                  <a:cubicBezTo>
                    <a:pt x="816" y="377"/>
                    <a:pt x="831" y="372"/>
                    <a:pt x="836" y="350"/>
                  </a:cubicBezTo>
                  <a:close/>
                  <a:moveTo>
                    <a:pt x="873" y="364"/>
                  </a:moveTo>
                  <a:cubicBezTo>
                    <a:pt x="878" y="357"/>
                    <a:pt x="875" y="351"/>
                    <a:pt x="867" y="351"/>
                  </a:cubicBezTo>
                  <a:cubicBezTo>
                    <a:pt x="859" y="351"/>
                    <a:pt x="853" y="357"/>
                    <a:pt x="853" y="364"/>
                  </a:cubicBezTo>
                  <a:cubicBezTo>
                    <a:pt x="853" y="372"/>
                    <a:pt x="856" y="378"/>
                    <a:pt x="859" y="378"/>
                  </a:cubicBezTo>
                  <a:cubicBezTo>
                    <a:pt x="862" y="378"/>
                    <a:pt x="868" y="372"/>
                    <a:pt x="873" y="364"/>
                  </a:cubicBezTo>
                  <a:close/>
                  <a:moveTo>
                    <a:pt x="927" y="354"/>
                  </a:moveTo>
                  <a:cubicBezTo>
                    <a:pt x="923" y="349"/>
                    <a:pt x="912" y="354"/>
                    <a:pt x="903" y="363"/>
                  </a:cubicBezTo>
                  <a:cubicBezTo>
                    <a:pt x="890" y="376"/>
                    <a:pt x="891" y="377"/>
                    <a:pt x="910" y="370"/>
                  </a:cubicBezTo>
                  <a:cubicBezTo>
                    <a:pt x="923" y="365"/>
                    <a:pt x="931" y="358"/>
                    <a:pt x="927" y="354"/>
                  </a:cubicBezTo>
                  <a:close/>
                  <a:moveTo>
                    <a:pt x="1072" y="363"/>
                  </a:moveTo>
                  <a:cubicBezTo>
                    <a:pt x="1066" y="352"/>
                    <a:pt x="946" y="352"/>
                    <a:pt x="946" y="363"/>
                  </a:cubicBezTo>
                  <a:cubicBezTo>
                    <a:pt x="946" y="367"/>
                    <a:pt x="976" y="371"/>
                    <a:pt x="1012" y="371"/>
                  </a:cubicBezTo>
                  <a:cubicBezTo>
                    <a:pt x="1048" y="372"/>
                    <a:pt x="1075" y="368"/>
                    <a:pt x="1072" y="363"/>
                  </a:cubicBezTo>
                  <a:close/>
                  <a:moveTo>
                    <a:pt x="1158" y="341"/>
                  </a:moveTo>
                  <a:cubicBezTo>
                    <a:pt x="1171" y="309"/>
                    <a:pt x="1171" y="307"/>
                    <a:pt x="1155" y="328"/>
                  </a:cubicBezTo>
                  <a:cubicBezTo>
                    <a:pt x="1145" y="340"/>
                    <a:pt x="1133" y="351"/>
                    <a:pt x="1128" y="351"/>
                  </a:cubicBezTo>
                  <a:cubicBezTo>
                    <a:pt x="1123" y="351"/>
                    <a:pt x="1120" y="340"/>
                    <a:pt x="1122" y="328"/>
                  </a:cubicBezTo>
                  <a:cubicBezTo>
                    <a:pt x="1125" y="315"/>
                    <a:pt x="1119" y="306"/>
                    <a:pt x="1110" y="308"/>
                  </a:cubicBezTo>
                  <a:cubicBezTo>
                    <a:pt x="1100" y="309"/>
                    <a:pt x="1093" y="305"/>
                    <a:pt x="1093" y="299"/>
                  </a:cubicBezTo>
                  <a:cubicBezTo>
                    <a:pt x="1093" y="292"/>
                    <a:pt x="1100" y="283"/>
                    <a:pt x="1110" y="280"/>
                  </a:cubicBezTo>
                  <a:cubicBezTo>
                    <a:pt x="1119" y="276"/>
                    <a:pt x="1120" y="273"/>
                    <a:pt x="1113" y="272"/>
                  </a:cubicBezTo>
                  <a:cubicBezTo>
                    <a:pt x="1106" y="272"/>
                    <a:pt x="1091" y="277"/>
                    <a:pt x="1080" y="284"/>
                  </a:cubicBezTo>
                  <a:cubicBezTo>
                    <a:pt x="1062" y="296"/>
                    <a:pt x="1062" y="299"/>
                    <a:pt x="1080" y="310"/>
                  </a:cubicBezTo>
                  <a:cubicBezTo>
                    <a:pt x="1091" y="318"/>
                    <a:pt x="1100" y="331"/>
                    <a:pt x="1101" y="340"/>
                  </a:cubicBezTo>
                  <a:cubicBezTo>
                    <a:pt x="1105" y="375"/>
                    <a:pt x="1107" y="378"/>
                    <a:pt x="1124" y="378"/>
                  </a:cubicBezTo>
                  <a:cubicBezTo>
                    <a:pt x="1134" y="378"/>
                    <a:pt x="1149" y="361"/>
                    <a:pt x="1158" y="341"/>
                  </a:cubicBezTo>
                  <a:close/>
                  <a:moveTo>
                    <a:pt x="300" y="324"/>
                  </a:moveTo>
                  <a:cubicBezTo>
                    <a:pt x="295" y="317"/>
                    <a:pt x="285" y="311"/>
                    <a:pt x="278" y="311"/>
                  </a:cubicBezTo>
                  <a:cubicBezTo>
                    <a:pt x="271" y="311"/>
                    <a:pt x="268" y="317"/>
                    <a:pt x="273" y="324"/>
                  </a:cubicBezTo>
                  <a:cubicBezTo>
                    <a:pt x="278" y="332"/>
                    <a:pt x="287" y="338"/>
                    <a:pt x="295" y="338"/>
                  </a:cubicBezTo>
                  <a:cubicBezTo>
                    <a:pt x="302" y="338"/>
                    <a:pt x="304" y="332"/>
                    <a:pt x="300" y="324"/>
                  </a:cubicBezTo>
                  <a:close/>
                  <a:moveTo>
                    <a:pt x="1039" y="320"/>
                  </a:moveTo>
                  <a:cubicBezTo>
                    <a:pt x="981" y="273"/>
                    <a:pt x="687" y="101"/>
                    <a:pt x="670" y="104"/>
                  </a:cubicBezTo>
                  <a:cubicBezTo>
                    <a:pt x="657" y="107"/>
                    <a:pt x="643" y="109"/>
                    <a:pt x="640" y="110"/>
                  </a:cubicBezTo>
                  <a:cubicBezTo>
                    <a:pt x="636" y="111"/>
                    <a:pt x="642" y="118"/>
                    <a:pt x="653" y="125"/>
                  </a:cubicBezTo>
                  <a:cubicBezTo>
                    <a:pt x="669" y="136"/>
                    <a:pt x="666" y="138"/>
                    <a:pt x="643" y="131"/>
                  </a:cubicBezTo>
                  <a:cubicBezTo>
                    <a:pt x="625" y="126"/>
                    <a:pt x="613" y="128"/>
                    <a:pt x="613" y="137"/>
                  </a:cubicBezTo>
                  <a:cubicBezTo>
                    <a:pt x="613" y="145"/>
                    <a:pt x="601" y="151"/>
                    <a:pt x="586" y="151"/>
                  </a:cubicBezTo>
                  <a:cubicBezTo>
                    <a:pt x="570" y="151"/>
                    <a:pt x="562" y="157"/>
                    <a:pt x="566" y="164"/>
                  </a:cubicBezTo>
                  <a:cubicBezTo>
                    <a:pt x="571" y="172"/>
                    <a:pt x="565" y="178"/>
                    <a:pt x="553" y="178"/>
                  </a:cubicBezTo>
                  <a:cubicBezTo>
                    <a:pt x="541" y="178"/>
                    <a:pt x="535" y="184"/>
                    <a:pt x="540" y="191"/>
                  </a:cubicBezTo>
                  <a:cubicBezTo>
                    <a:pt x="544" y="199"/>
                    <a:pt x="533" y="204"/>
                    <a:pt x="513" y="204"/>
                  </a:cubicBezTo>
                  <a:cubicBezTo>
                    <a:pt x="492" y="204"/>
                    <a:pt x="481" y="210"/>
                    <a:pt x="487" y="218"/>
                  </a:cubicBezTo>
                  <a:cubicBezTo>
                    <a:pt x="492" y="226"/>
                    <a:pt x="488" y="231"/>
                    <a:pt x="478" y="230"/>
                  </a:cubicBezTo>
                  <a:cubicBezTo>
                    <a:pt x="449" y="225"/>
                    <a:pt x="412" y="246"/>
                    <a:pt x="422" y="261"/>
                  </a:cubicBezTo>
                  <a:cubicBezTo>
                    <a:pt x="427" y="270"/>
                    <a:pt x="422" y="272"/>
                    <a:pt x="408" y="267"/>
                  </a:cubicBezTo>
                  <a:cubicBezTo>
                    <a:pt x="396" y="262"/>
                    <a:pt x="386" y="264"/>
                    <a:pt x="386" y="270"/>
                  </a:cubicBezTo>
                  <a:cubicBezTo>
                    <a:pt x="386" y="276"/>
                    <a:pt x="368" y="285"/>
                    <a:pt x="345" y="289"/>
                  </a:cubicBezTo>
                  <a:cubicBezTo>
                    <a:pt x="323" y="294"/>
                    <a:pt x="308" y="303"/>
                    <a:pt x="313" y="311"/>
                  </a:cubicBezTo>
                  <a:cubicBezTo>
                    <a:pt x="318" y="319"/>
                    <a:pt x="453" y="324"/>
                    <a:pt x="683" y="324"/>
                  </a:cubicBezTo>
                  <a:cubicBezTo>
                    <a:pt x="881" y="324"/>
                    <a:pt x="1042" y="322"/>
                    <a:pt x="1039" y="320"/>
                  </a:cubicBezTo>
                  <a:close/>
                  <a:moveTo>
                    <a:pt x="615" y="234"/>
                  </a:moveTo>
                  <a:cubicBezTo>
                    <a:pt x="599" y="202"/>
                    <a:pt x="610" y="178"/>
                    <a:pt x="648" y="164"/>
                  </a:cubicBezTo>
                  <a:cubicBezTo>
                    <a:pt x="705" y="142"/>
                    <a:pt x="746" y="181"/>
                    <a:pt x="719" y="232"/>
                  </a:cubicBezTo>
                  <a:cubicBezTo>
                    <a:pt x="701" y="265"/>
                    <a:pt x="632" y="267"/>
                    <a:pt x="615" y="234"/>
                  </a:cubicBezTo>
                  <a:close/>
                  <a:moveTo>
                    <a:pt x="675" y="195"/>
                  </a:moveTo>
                  <a:cubicBezTo>
                    <a:pt x="675" y="172"/>
                    <a:pt x="660" y="173"/>
                    <a:pt x="640" y="197"/>
                  </a:cubicBezTo>
                  <a:cubicBezTo>
                    <a:pt x="627" y="213"/>
                    <a:pt x="629" y="216"/>
                    <a:pt x="650" y="214"/>
                  </a:cubicBezTo>
                  <a:cubicBezTo>
                    <a:pt x="664" y="213"/>
                    <a:pt x="675" y="204"/>
                    <a:pt x="675" y="195"/>
                  </a:cubicBezTo>
                  <a:close/>
                  <a:moveTo>
                    <a:pt x="1066" y="272"/>
                  </a:moveTo>
                  <a:cubicBezTo>
                    <a:pt x="1077" y="251"/>
                    <a:pt x="1075" y="248"/>
                    <a:pt x="1053" y="254"/>
                  </a:cubicBezTo>
                  <a:cubicBezTo>
                    <a:pt x="1026" y="261"/>
                    <a:pt x="1020" y="273"/>
                    <a:pt x="1035" y="289"/>
                  </a:cubicBezTo>
                  <a:cubicBezTo>
                    <a:pt x="1048" y="302"/>
                    <a:pt x="1051" y="300"/>
                    <a:pt x="1066" y="272"/>
                  </a:cubicBezTo>
                  <a:close/>
                </a:path>
              </a:pathLst>
            </a:custGeom>
            <a:solidFill>
              <a:srgbClr val="0066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it-IT" sz="1138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1443285" y="2235952"/>
              <a:ext cx="1912404" cy="606083"/>
            </a:xfrm>
            <a:prstGeom prst="rect">
              <a:avLst/>
            </a:prstGeom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it-IT" sz="13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ubblica Amministrazione</a:t>
              </a:r>
              <a:endParaRPr lang="en-US" sz="1300" b="1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59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22470" y="2212620"/>
              <a:ext cx="675228" cy="3360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76" name="Straight Connector 75"/>
          <p:cNvCxnSpPr/>
          <p:nvPr/>
        </p:nvCxnSpPr>
        <p:spPr>
          <a:xfrm flipV="1">
            <a:off x="4920362" y="1872981"/>
            <a:ext cx="1701655" cy="13008"/>
          </a:xfrm>
          <a:prstGeom prst="line">
            <a:avLst/>
          </a:prstGeom>
          <a:ln w="190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>
            <a:off x="4341993" y="2232794"/>
            <a:ext cx="0" cy="324000"/>
          </a:xfrm>
          <a:prstGeom prst="line">
            <a:avLst/>
          </a:prstGeom>
          <a:ln w="19050">
            <a:solidFill>
              <a:srgbClr val="002060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>
            <a:endCxn id="111" idx="3"/>
          </p:cNvCxnSpPr>
          <p:nvPr/>
        </p:nvCxnSpPr>
        <p:spPr>
          <a:xfrm flipH="1">
            <a:off x="2950456" y="1868734"/>
            <a:ext cx="1045165" cy="8674"/>
          </a:xfrm>
          <a:prstGeom prst="line">
            <a:avLst/>
          </a:prstGeom>
          <a:ln w="19050">
            <a:solidFill>
              <a:srgbClr val="14316C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/>
          <p:cNvGrpSpPr/>
          <p:nvPr/>
        </p:nvGrpSpPr>
        <p:grpSpPr>
          <a:xfrm>
            <a:off x="7980238" y="2677773"/>
            <a:ext cx="1410650" cy="934167"/>
            <a:chOff x="9377618" y="1957604"/>
            <a:chExt cx="1736185" cy="1149744"/>
          </a:xfrm>
        </p:grpSpPr>
        <p:sp>
          <p:nvSpPr>
            <p:cNvPr id="89" name="TextBox 88"/>
            <p:cNvSpPr txBox="1"/>
            <p:nvPr/>
          </p:nvSpPr>
          <p:spPr>
            <a:xfrm>
              <a:off x="9377618" y="2501264"/>
              <a:ext cx="1559164" cy="606084"/>
            </a:xfrm>
            <a:prstGeom prst="rect">
              <a:avLst/>
            </a:prstGeom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it-IT" sz="13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peratore Economico</a:t>
              </a:r>
              <a:endParaRPr lang="en-US" sz="1300" b="1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90" name="Group 89"/>
            <p:cNvGrpSpPr>
              <a:grpSpLocks noChangeAspect="1"/>
            </p:cNvGrpSpPr>
            <p:nvPr/>
          </p:nvGrpSpPr>
          <p:grpSpPr>
            <a:xfrm>
              <a:off x="9968768" y="1957604"/>
              <a:ext cx="323249" cy="350944"/>
              <a:chOff x="5697538" y="1457325"/>
              <a:chExt cx="2205038" cy="2393951"/>
            </a:xfrm>
            <a:solidFill>
              <a:srgbClr val="0070C0"/>
            </a:solidFill>
          </p:grpSpPr>
          <p:sp>
            <p:nvSpPr>
              <p:cNvPr id="91" name="Freeform 36"/>
              <p:cNvSpPr>
                <a:spLocks noChangeAspect="1"/>
              </p:cNvSpPr>
              <p:nvPr/>
            </p:nvSpPr>
            <p:spPr bwMode="auto">
              <a:xfrm>
                <a:off x="5697538" y="2693988"/>
                <a:ext cx="2205038" cy="1157288"/>
              </a:xfrm>
              <a:custGeom>
                <a:avLst/>
                <a:gdLst>
                  <a:gd name="T0" fmla="*/ 5860 w 8421"/>
                  <a:gd name="T1" fmla="*/ 7 h 4421"/>
                  <a:gd name="T2" fmla="*/ 5840 w 8421"/>
                  <a:gd name="T3" fmla="*/ 19 h 4421"/>
                  <a:gd name="T4" fmla="*/ 5820 w 8421"/>
                  <a:gd name="T5" fmla="*/ 32 h 4421"/>
                  <a:gd name="T6" fmla="*/ 5794 w 8421"/>
                  <a:gd name="T7" fmla="*/ 45 h 4421"/>
                  <a:gd name="T8" fmla="*/ 5767 w 8421"/>
                  <a:gd name="T9" fmla="*/ 62 h 4421"/>
                  <a:gd name="T10" fmla="*/ 5752 w 8421"/>
                  <a:gd name="T11" fmla="*/ 75 h 4421"/>
                  <a:gd name="T12" fmla="*/ 5736 w 8421"/>
                  <a:gd name="T13" fmla="*/ 85 h 4421"/>
                  <a:gd name="T14" fmla="*/ 5448 w 8421"/>
                  <a:gd name="T15" fmla="*/ 384 h 4421"/>
                  <a:gd name="T16" fmla="*/ 4926 w 8421"/>
                  <a:gd name="T17" fmla="*/ 672 h 4421"/>
                  <a:gd name="T18" fmla="*/ 4010 w 8421"/>
                  <a:gd name="T19" fmla="*/ 870 h 4421"/>
                  <a:gd name="T20" fmla="*/ 3192 w 8421"/>
                  <a:gd name="T21" fmla="*/ 644 h 4421"/>
                  <a:gd name="T22" fmla="*/ 3164 w 8421"/>
                  <a:gd name="T23" fmla="*/ 634 h 4421"/>
                  <a:gd name="T24" fmla="*/ 3146 w 8421"/>
                  <a:gd name="T25" fmla="*/ 609 h 4421"/>
                  <a:gd name="T26" fmla="*/ 3119 w 8421"/>
                  <a:gd name="T27" fmla="*/ 599 h 4421"/>
                  <a:gd name="T28" fmla="*/ 3090 w 8421"/>
                  <a:gd name="T29" fmla="*/ 589 h 4421"/>
                  <a:gd name="T30" fmla="*/ 3068 w 8421"/>
                  <a:gd name="T31" fmla="*/ 577 h 4421"/>
                  <a:gd name="T32" fmla="*/ 3040 w 8421"/>
                  <a:gd name="T33" fmla="*/ 562 h 4421"/>
                  <a:gd name="T34" fmla="*/ 3018 w 8421"/>
                  <a:gd name="T35" fmla="*/ 544 h 4421"/>
                  <a:gd name="T36" fmla="*/ 2998 w 8421"/>
                  <a:gd name="T37" fmla="*/ 533 h 4421"/>
                  <a:gd name="T38" fmla="*/ 2985 w 8421"/>
                  <a:gd name="T39" fmla="*/ 524 h 4421"/>
                  <a:gd name="T40" fmla="*/ 2965 w 8421"/>
                  <a:gd name="T41" fmla="*/ 509 h 4421"/>
                  <a:gd name="T42" fmla="*/ 2952 w 8421"/>
                  <a:gd name="T43" fmla="*/ 495 h 4421"/>
                  <a:gd name="T44" fmla="*/ 2934 w 8421"/>
                  <a:gd name="T45" fmla="*/ 483 h 4421"/>
                  <a:gd name="T46" fmla="*/ 2917 w 8421"/>
                  <a:gd name="T47" fmla="*/ 471 h 4421"/>
                  <a:gd name="T48" fmla="*/ 2892 w 8421"/>
                  <a:gd name="T49" fmla="*/ 453 h 4421"/>
                  <a:gd name="T50" fmla="*/ 2866 w 8421"/>
                  <a:gd name="T51" fmla="*/ 430 h 4421"/>
                  <a:gd name="T52" fmla="*/ 2846 w 8421"/>
                  <a:gd name="T53" fmla="*/ 415 h 4421"/>
                  <a:gd name="T54" fmla="*/ 2826 w 8421"/>
                  <a:gd name="T55" fmla="*/ 405 h 4421"/>
                  <a:gd name="T56" fmla="*/ 2807 w 8421"/>
                  <a:gd name="T57" fmla="*/ 392 h 4421"/>
                  <a:gd name="T58" fmla="*/ 2781 w 8421"/>
                  <a:gd name="T59" fmla="*/ 375 h 4421"/>
                  <a:gd name="T60" fmla="*/ 2751 w 8421"/>
                  <a:gd name="T61" fmla="*/ 357 h 4421"/>
                  <a:gd name="T62" fmla="*/ 2723 w 8421"/>
                  <a:gd name="T63" fmla="*/ 337 h 4421"/>
                  <a:gd name="T64" fmla="*/ 2693 w 8421"/>
                  <a:gd name="T65" fmla="*/ 322 h 4421"/>
                  <a:gd name="T66" fmla="*/ 2657 w 8421"/>
                  <a:gd name="T67" fmla="*/ 301 h 4421"/>
                  <a:gd name="T68" fmla="*/ 2637 w 8421"/>
                  <a:gd name="T69" fmla="*/ 284 h 4421"/>
                  <a:gd name="T70" fmla="*/ 2620 w 8421"/>
                  <a:gd name="T71" fmla="*/ 269 h 4421"/>
                  <a:gd name="T72" fmla="*/ 2592 w 8421"/>
                  <a:gd name="T73" fmla="*/ 251 h 4421"/>
                  <a:gd name="T74" fmla="*/ 2577 w 8421"/>
                  <a:gd name="T75" fmla="*/ 236 h 4421"/>
                  <a:gd name="T76" fmla="*/ 2543 w 8421"/>
                  <a:gd name="T77" fmla="*/ 209 h 4421"/>
                  <a:gd name="T78" fmla="*/ 1779 w 8421"/>
                  <a:gd name="T79" fmla="*/ 929 h 4421"/>
                  <a:gd name="T80" fmla="*/ 1171 w 8421"/>
                  <a:gd name="T81" fmla="*/ 1394 h 4421"/>
                  <a:gd name="T82" fmla="*/ 317 w 8421"/>
                  <a:gd name="T83" fmla="*/ 2072 h 4421"/>
                  <a:gd name="T84" fmla="*/ 618 w 8421"/>
                  <a:gd name="T85" fmla="*/ 3999 h 4421"/>
                  <a:gd name="T86" fmla="*/ 1449 w 8421"/>
                  <a:gd name="T87" fmla="*/ 4093 h 4421"/>
                  <a:gd name="T88" fmla="*/ 3192 w 8421"/>
                  <a:gd name="T89" fmla="*/ 4277 h 4421"/>
                  <a:gd name="T90" fmla="*/ 4137 w 8421"/>
                  <a:gd name="T91" fmla="*/ 4357 h 4421"/>
                  <a:gd name="T92" fmla="*/ 5249 w 8421"/>
                  <a:gd name="T93" fmla="*/ 4328 h 4421"/>
                  <a:gd name="T94" fmla="*/ 6550 w 8421"/>
                  <a:gd name="T95" fmla="*/ 4290 h 4421"/>
                  <a:gd name="T96" fmla="*/ 7761 w 8421"/>
                  <a:gd name="T97" fmla="*/ 4075 h 4421"/>
                  <a:gd name="T98" fmla="*/ 8223 w 8421"/>
                  <a:gd name="T99" fmla="*/ 3991 h 4421"/>
                  <a:gd name="T100" fmla="*/ 8272 w 8421"/>
                  <a:gd name="T101" fmla="*/ 1682 h 4421"/>
                  <a:gd name="T102" fmla="*/ 7222 w 8421"/>
                  <a:gd name="T103" fmla="*/ 766 h 4421"/>
                  <a:gd name="T104" fmla="*/ 6139 w 8421"/>
                  <a:gd name="T105" fmla="*/ 59 h 44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421" h="4421">
                    <a:moveTo>
                      <a:pt x="5869" y="0"/>
                    </a:moveTo>
                    <a:cubicBezTo>
                      <a:pt x="5869" y="0"/>
                      <a:pt x="5868" y="1"/>
                      <a:pt x="5868" y="2"/>
                    </a:cubicBezTo>
                    <a:cubicBezTo>
                      <a:pt x="5867" y="2"/>
                      <a:pt x="5866" y="1"/>
                      <a:pt x="5865" y="2"/>
                    </a:cubicBezTo>
                    <a:cubicBezTo>
                      <a:pt x="5864" y="2"/>
                      <a:pt x="5866" y="4"/>
                      <a:pt x="5865" y="4"/>
                    </a:cubicBezTo>
                    <a:cubicBezTo>
                      <a:pt x="5864" y="5"/>
                      <a:pt x="5861" y="3"/>
                      <a:pt x="5860" y="4"/>
                    </a:cubicBezTo>
                    <a:cubicBezTo>
                      <a:pt x="5859" y="5"/>
                      <a:pt x="5860" y="6"/>
                      <a:pt x="5860" y="7"/>
                    </a:cubicBezTo>
                    <a:cubicBezTo>
                      <a:pt x="5859" y="8"/>
                      <a:pt x="5859" y="9"/>
                      <a:pt x="5858" y="9"/>
                    </a:cubicBezTo>
                    <a:cubicBezTo>
                      <a:pt x="5857" y="10"/>
                      <a:pt x="5856" y="12"/>
                      <a:pt x="5855" y="12"/>
                    </a:cubicBezTo>
                    <a:cubicBezTo>
                      <a:pt x="5855" y="12"/>
                      <a:pt x="5853" y="12"/>
                      <a:pt x="5853" y="12"/>
                    </a:cubicBezTo>
                    <a:cubicBezTo>
                      <a:pt x="5851" y="13"/>
                      <a:pt x="5850" y="15"/>
                      <a:pt x="5847" y="16"/>
                    </a:cubicBezTo>
                    <a:cubicBezTo>
                      <a:pt x="5846" y="17"/>
                      <a:pt x="5844" y="16"/>
                      <a:pt x="5842" y="16"/>
                    </a:cubicBezTo>
                    <a:cubicBezTo>
                      <a:pt x="5841" y="17"/>
                      <a:pt x="5841" y="19"/>
                      <a:pt x="5840" y="19"/>
                    </a:cubicBezTo>
                    <a:cubicBezTo>
                      <a:pt x="5834" y="22"/>
                      <a:pt x="5842" y="12"/>
                      <a:pt x="5832" y="22"/>
                    </a:cubicBezTo>
                    <a:cubicBezTo>
                      <a:pt x="5832" y="22"/>
                      <a:pt x="5833" y="24"/>
                      <a:pt x="5832" y="24"/>
                    </a:cubicBezTo>
                    <a:cubicBezTo>
                      <a:pt x="5832" y="25"/>
                      <a:pt x="5831" y="24"/>
                      <a:pt x="5830" y="24"/>
                    </a:cubicBezTo>
                    <a:cubicBezTo>
                      <a:pt x="5829" y="25"/>
                      <a:pt x="5828" y="26"/>
                      <a:pt x="5827" y="27"/>
                    </a:cubicBezTo>
                    <a:cubicBezTo>
                      <a:pt x="5826" y="28"/>
                      <a:pt x="5824" y="29"/>
                      <a:pt x="5823" y="30"/>
                    </a:cubicBezTo>
                    <a:cubicBezTo>
                      <a:pt x="5822" y="30"/>
                      <a:pt x="5821" y="32"/>
                      <a:pt x="5820" y="32"/>
                    </a:cubicBezTo>
                    <a:cubicBezTo>
                      <a:pt x="5819" y="33"/>
                      <a:pt x="5818" y="32"/>
                      <a:pt x="5817" y="32"/>
                    </a:cubicBezTo>
                    <a:cubicBezTo>
                      <a:pt x="5815" y="34"/>
                      <a:pt x="5812" y="35"/>
                      <a:pt x="5809" y="37"/>
                    </a:cubicBezTo>
                    <a:cubicBezTo>
                      <a:pt x="5809" y="37"/>
                      <a:pt x="5810" y="39"/>
                      <a:pt x="5809" y="39"/>
                    </a:cubicBezTo>
                    <a:cubicBezTo>
                      <a:pt x="5808" y="40"/>
                      <a:pt x="5807" y="39"/>
                      <a:pt x="5805" y="39"/>
                    </a:cubicBezTo>
                    <a:cubicBezTo>
                      <a:pt x="5801" y="41"/>
                      <a:pt x="5804" y="43"/>
                      <a:pt x="5800" y="45"/>
                    </a:cubicBezTo>
                    <a:cubicBezTo>
                      <a:pt x="5798" y="45"/>
                      <a:pt x="5796" y="44"/>
                      <a:pt x="5794" y="45"/>
                    </a:cubicBezTo>
                    <a:cubicBezTo>
                      <a:pt x="5791" y="46"/>
                      <a:pt x="5791" y="52"/>
                      <a:pt x="5787" y="54"/>
                    </a:cubicBezTo>
                    <a:cubicBezTo>
                      <a:pt x="5786" y="55"/>
                      <a:pt x="5784" y="54"/>
                      <a:pt x="5782" y="54"/>
                    </a:cubicBezTo>
                    <a:cubicBezTo>
                      <a:pt x="5781" y="55"/>
                      <a:pt x="5781" y="57"/>
                      <a:pt x="5779" y="57"/>
                    </a:cubicBezTo>
                    <a:cubicBezTo>
                      <a:pt x="5778" y="58"/>
                      <a:pt x="5776" y="56"/>
                      <a:pt x="5774" y="57"/>
                    </a:cubicBezTo>
                    <a:cubicBezTo>
                      <a:pt x="5773" y="58"/>
                      <a:pt x="5773" y="59"/>
                      <a:pt x="5772" y="60"/>
                    </a:cubicBezTo>
                    <a:cubicBezTo>
                      <a:pt x="5770" y="61"/>
                      <a:pt x="5769" y="61"/>
                      <a:pt x="5767" y="62"/>
                    </a:cubicBezTo>
                    <a:cubicBezTo>
                      <a:pt x="5766" y="63"/>
                      <a:pt x="5766" y="64"/>
                      <a:pt x="5764" y="65"/>
                    </a:cubicBezTo>
                    <a:cubicBezTo>
                      <a:pt x="5764" y="65"/>
                      <a:pt x="5762" y="64"/>
                      <a:pt x="5762" y="65"/>
                    </a:cubicBezTo>
                    <a:cubicBezTo>
                      <a:pt x="5761" y="66"/>
                      <a:pt x="5762" y="67"/>
                      <a:pt x="5762" y="68"/>
                    </a:cubicBezTo>
                    <a:cubicBezTo>
                      <a:pt x="5761" y="69"/>
                      <a:pt x="5758" y="68"/>
                      <a:pt x="5757" y="69"/>
                    </a:cubicBezTo>
                    <a:cubicBezTo>
                      <a:pt x="5756" y="70"/>
                      <a:pt x="5757" y="71"/>
                      <a:pt x="5757" y="72"/>
                    </a:cubicBezTo>
                    <a:cubicBezTo>
                      <a:pt x="5755" y="73"/>
                      <a:pt x="5753" y="73"/>
                      <a:pt x="5752" y="75"/>
                    </a:cubicBezTo>
                    <a:cubicBezTo>
                      <a:pt x="5752" y="75"/>
                      <a:pt x="5753" y="77"/>
                      <a:pt x="5752" y="77"/>
                    </a:cubicBezTo>
                    <a:cubicBezTo>
                      <a:pt x="5752" y="78"/>
                      <a:pt x="5750" y="77"/>
                      <a:pt x="5750" y="77"/>
                    </a:cubicBezTo>
                    <a:cubicBezTo>
                      <a:pt x="5746" y="80"/>
                      <a:pt x="5747" y="79"/>
                      <a:pt x="5747" y="79"/>
                    </a:cubicBezTo>
                    <a:cubicBezTo>
                      <a:pt x="5747" y="79"/>
                      <a:pt x="5746" y="79"/>
                      <a:pt x="5744" y="80"/>
                    </a:cubicBezTo>
                    <a:cubicBezTo>
                      <a:pt x="5742" y="81"/>
                      <a:pt x="5741" y="84"/>
                      <a:pt x="5739" y="85"/>
                    </a:cubicBezTo>
                    <a:cubicBezTo>
                      <a:pt x="5738" y="86"/>
                      <a:pt x="5737" y="85"/>
                      <a:pt x="5736" y="85"/>
                    </a:cubicBezTo>
                    <a:cubicBezTo>
                      <a:pt x="5735" y="86"/>
                      <a:pt x="5735" y="86"/>
                      <a:pt x="5735" y="87"/>
                    </a:cubicBezTo>
                    <a:cubicBezTo>
                      <a:pt x="5732" y="89"/>
                      <a:pt x="5730" y="90"/>
                      <a:pt x="5727" y="91"/>
                    </a:cubicBezTo>
                    <a:cubicBezTo>
                      <a:pt x="5727" y="92"/>
                      <a:pt x="5727" y="92"/>
                      <a:pt x="5727" y="92"/>
                    </a:cubicBezTo>
                    <a:cubicBezTo>
                      <a:pt x="5725" y="95"/>
                      <a:pt x="5725" y="97"/>
                      <a:pt x="5723" y="100"/>
                    </a:cubicBezTo>
                    <a:cubicBezTo>
                      <a:pt x="5679" y="180"/>
                      <a:pt x="5478" y="391"/>
                      <a:pt x="5477" y="359"/>
                    </a:cubicBezTo>
                    <a:cubicBezTo>
                      <a:pt x="5477" y="346"/>
                      <a:pt x="5463" y="358"/>
                      <a:pt x="5448" y="384"/>
                    </a:cubicBezTo>
                    <a:cubicBezTo>
                      <a:pt x="5432" y="411"/>
                      <a:pt x="5403" y="426"/>
                      <a:pt x="5383" y="418"/>
                    </a:cubicBezTo>
                    <a:cubicBezTo>
                      <a:pt x="5362" y="410"/>
                      <a:pt x="5304" y="443"/>
                      <a:pt x="5253" y="490"/>
                    </a:cubicBezTo>
                    <a:cubicBezTo>
                      <a:pt x="5202" y="537"/>
                      <a:pt x="5145" y="576"/>
                      <a:pt x="5125" y="576"/>
                    </a:cubicBezTo>
                    <a:cubicBezTo>
                      <a:pt x="5105" y="576"/>
                      <a:pt x="5081" y="595"/>
                      <a:pt x="5072" y="618"/>
                    </a:cubicBezTo>
                    <a:cubicBezTo>
                      <a:pt x="5063" y="641"/>
                      <a:pt x="5038" y="653"/>
                      <a:pt x="5014" y="644"/>
                    </a:cubicBezTo>
                    <a:cubicBezTo>
                      <a:pt x="4991" y="635"/>
                      <a:pt x="4951" y="647"/>
                      <a:pt x="4926" y="672"/>
                    </a:cubicBezTo>
                    <a:cubicBezTo>
                      <a:pt x="4901" y="697"/>
                      <a:pt x="4858" y="717"/>
                      <a:pt x="4831" y="717"/>
                    </a:cubicBezTo>
                    <a:cubicBezTo>
                      <a:pt x="4803" y="717"/>
                      <a:pt x="4752" y="742"/>
                      <a:pt x="4718" y="771"/>
                    </a:cubicBezTo>
                    <a:cubicBezTo>
                      <a:pt x="4672" y="811"/>
                      <a:pt x="4625" y="823"/>
                      <a:pt x="4543" y="815"/>
                    </a:cubicBezTo>
                    <a:cubicBezTo>
                      <a:pt x="4475" y="808"/>
                      <a:pt x="4438" y="814"/>
                      <a:pt x="4448" y="831"/>
                    </a:cubicBezTo>
                    <a:cubicBezTo>
                      <a:pt x="4458" y="847"/>
                      <a:pt x="4399" y="859"/>
                      <a:pt x="4301" y="860"/>
                    </a:cubicBezTo>
                    <a:cubicBezTo>
                      <a:pt x="4211" y="862"/>
                      <a:pt x="4080" y="866"/>
                      <a:pt x="4010" y="870"/>
                    </a:cubicBezTo>
                    <a:cubicBezTo>
                      <a:pt x="3940" y="874"/>
                      <a:pt x="3820" y="861"/>
                      <a:pt x="3742" y="840"/>
                    </a:cubicBezTo>
                    <a:cubicBezTo>
                      <a:pt x="3665" y="819"/>
                      <a:pt x="3566" y="794"/>
                      <a:pt x="3523" y="784"/>
                    </a:cubicBezTo>
                    <a:cubicBezTo>
                      <a:pt x="3481" y="774"/>
                      <a:pt x="3446" y="756"/>
                      <a:pt x="3446" y="744"/>
                    </a:cubicBezTo>
                    <a:cubicBezTo>
                      <a:pt x="3446" y="732"/>
                      <a:pt x="3394" y="713"/>
                      <a:pt x="3331" y="703"/>
                    </a:cubicBezTo>
                    <a:cubicBezTo>
                      <a:pt x="3265" y="691"/>
                      <a:pt x="3229" y="674"/>
                      <a:pt x="3207" y="644"/>
                    </a:cubicBezTo>
                    <a:cubicBezTo>
                      <a:pt x="3204" y="644"/>
                      <a:pt x="3193" y="645"/>
                      <a:pt x="3192" y="644"/>
                    </a:cubicBezTo>
                    <a:cubicBezTo>
                      <a:pt x="3191" y="644"/>
                      <a:pt x="3190" y="642"/>
                      <a:pt x="3189" y="642"/>
                    </a:cubicBezTo>
                    <a:cubicBezTo>
                      <a:pt x="3188" y="641"/>
                      <a:pt x="3178" y="642"/>
                      <a:pt x="3177" y="642"/>
                    </a:cubicBezTo>
                    <a:cubicBezTo>
                      <a:pt x="3176" y="641"/>
                      <a:pt x="3175" y="640"/>
                      <a:pt x="3174" y="639"/>
                    </a:cubicBezTo>
                    <a:cubicBezTo>
                      <a:pt x="3173" y="638"/>
                      <a:pt x="3171" y="638"/>
                      <a:pt x="3169" y="636"/>
                    </a:cubicBezTo>
                    <a:cubicBezTo>
                      <a:pt x="3168" y="636"/>
                      <a:pt x="3167" y="634"/>
                      <a:pt x="3166" y="634"/>
                    </a:cubicBezTo>
                    <a:cubicBezTo>
                      <a:pt x="3166" y="633"/>
                      <a:pt x="3164" y="634"/>
                      <a:pt x="3164" y="634"/>
                    </a:cubicBezTo>
                    <a:cubicBezTo>
                      <a:pt x="3162" y="633"/>
                      <a:pt x="3162" y="631"/>
                      <a:pt x="3161" y="629"/>
                    </a:cubicBezTo>
                    <a:cubicBezTo>
                      <a:pt x="3160" y="627"/>
                      <a:pt x="3158" y="626"/>
                      <a:pt x="3157" y="624"/>
                    </a:cubicBezTo>
                    <a:cubicBezTo>
                      <a:pt x="3156" y="623"/>
                      <a:pt x="3157" y="622"/>
                      <a:pt x="3157" y="621"/>
                    </a:cubicBezTo>
                    <a:cubicBezTo>
                      <a:pt x="3155" y="620"/>
                      <a:pt x="3153" y="618"/>
                      <a:pt x="3151" y="616"/>
                    </a:cubicBezTo>
                    <a:cubicBezTo>
                      <a:pt x="3150" y="615"/>
                      <a:pt x="3153" y="613"/>
                      <a:pt x="3151" y="612"/>
                    </a:cubicBezTo>
                    <a:cubicBezTo>
                      <a:pt x="3150" y="610"/>
                      <a:pt x="3147" y="610"/>
                      <a:pt x="3146" y="609"/>
                    </a:cubicBezTo>
                    <a:cubicBezTo>
                      <a:pt x="3145" y="609"/>
                      <a:pt x="3147" y="607"/>
                      <a:pt x="3146" y="606"/>
                    </a:cubicBezTo>
                    <a:cubicBezTo>
                      <a:pt x="3136" y="597"/>
                      <a:pt x="3145" y="607"/>
                      <a:pt x="3139" y="604"/>
                    </a:cubicBezTo>
                    <a:cubicBezTo>
                      <a:pt x="3138" y="603"/>
                      <a:pt x="3137" y="602"/>
                      <a:pt x="3136" y="601"/>
                    </a:cubicBezTo>
                    <a:cubicBezTo>
                      <a:pt x="3131" y="601"/>
                      <a:pt x="3131" y="601"/>
                      <a:pt x="3131" y="601"/>
                    </a:cubicBezTo>
                    <a:cubicBezTo>
                      <a:pt x="3131" y="601"/>
                      <a:pt x="3130" y="599"/>
                      <a:pt x="3128" y="599"/>
                    </a:cubicBezTo>
                    <a:cubicBezTo>
                      <a:pt x="3127" y="598"/>
                      <a:pt x="3120" y="599"/>
                      <a:pt x="3119" y="599"/>
                    </a:cubicBezTo>
                    <a:cubicBezTo>
                      <a:pt x="3118" y="598"/>
                      <a:pt x="3117" y="597"/>
                      <a:pt x="3116" y="597"/>
                    </a:cubicBezTo>
                    <a:cubicBezTo>
                      <a:pt x="3114" y="596"/>
                      <a:pt x="3112" y="597"/>
                      <a:pt x="3111" y="597"/>
                    </a:cubicBezTo>
                    <a:cubicBezTo>
                      <a:pt x="3109" y="596"/>
                      <a:pt x="3108" y="595"/>
                      <a:pt x="3106" y="594"/>
                    </a:cubicBezTo>
                    <a:cubicBezTo>
                      <a:pt x="3105" y="594"/>
                      <a:pt x="3103" y="595"/>
                      <a:pt x="3101" y="594"/>
                    </a:cubicBezTo>
                    <a:cubicBezTo>
                      <a:pt x="3100" y="594"/>
                      <a:pt x="3099" y="592"/>
                      <a:pt x="3098" y="592"/>
                    </a:cubicBezTo>
                    <a:cubicBezTo>
                      <a:pt x="3100" y="588"/>
                      <a:pt x="3091" y="589"/>
                      <a:pt x="3090" y="589"/>
                    </a:cubicBezTo>
                    <a:cubicBezTo>
                      <a:pt x="3088" y="588"/>
                      <a:pt x="3088" y="585"/>
                      <a:pt x="3086" y="584"/>
                    </a:cubicBezTo>
                    <a:cubicBezTo>
                      <a:pt x="3085" y="583"/>
                      <a:pt x="3084" y="584"/>
                      <a:pt x="3083" y="584"/>
                    </a:cubicBezTo>
                    <a:cubicBezTo>
                      <a:pt x="3083" y="583"/>
                      <a:pt x="3082" y="581"/>
                      <a:pt x="3081" y="581"/>
                    </a:cubicBezTo>
                    <a:cubicBezTo>
                      <a:pt x="3080" y="581"/>
                      <a:pt x="3079" y="582"/>
                      <a:pt x="3078" y="581"/>
                    </a:cubicBezTo>
                    <a:cubicBezTo>
                      <a:pt x="3078" y="580"/>
                      <a:pt x="3079" y="580"/>
                      <a:pt x="3078" y="579"/>
                    </a:cubicBezTo>
                    <a:cubicBezTo>
                      <a:pt x="3073" y="574"/>
                      <a:pt x="3074" y="578"/>
                      <a:pt x="3068" y="577"/>
                    </a:cubicBezTo>
                    <a:cubicBezTo>
                      <a:pt x="3058" y="581"/>
                      <a:pt x="3065" y="572"/>
                      <a:pt x="3063" y="571"/>
                    </a:cubicBezTo>
                    <a:cubicBezTo>
                      <a:pt x="3062" y="570"/>
                      <a:pt x="3059" y="572"/>
                      <a:pt x="3058" y="571"/>
                    </a:cubicBezTo>
                    <a:cubicBezTo>
                      <a:pt x="3056" y="571"/>
                      <a:pt x="3053" y="564"/>
                      <a:pt x="3051" y="563"/>
                    </a:cubicBezTo>
                    <a:cubicBezTo>
                      <a:pt x="3050" y="563"/>
                      <a:pt x="3049" y="563"/>
                      <a:pt x="3048" y="563"/>
                    </a:cubicBezTo>
                    <a:cubicBezTo>
                      <a:pt x="3047" y="562"/>
                      <a:pt x="3047" y="562"/>
                      <a:pt x="3045" y="562"/>
                    </a:cubicBezTo>
                    <a:cubicBezTo>
                      <a:pt x="3044" y="561"/>
                      <a:pt x="3042" y="563"/>
                      <a:pt x="3040" y="562"/>
                    </a:cubicBezTo>
                    <a:cubicBezTo>
                      <a:pt x="3037" y="559"/>
                      <a:pt x="3036" y="556"/>
                      <a:pt x="3033" y="554"/>
                    </a:cubicBezTo>
                    <a:cubicBezTo>
                      <a:pt x="3032" y="553"/>
                      <a:pt x="3031" y="554"/>
                      <a:pt x="3031" y="554"/>
                    </a:cubicBezTo>
                    <a:cubicBezTo>
                      <a:pt x="3029" y="553"/>
                      <a:pt x="3027" y="552"/>
                      <a:pt x="3025" y="551"/>
                    </a:cubicBezTo>
                    <a:cubicBezTo>
                      <a:pt x="3024" y="550"/>
                      <a:pt x="3021" y="550"/>
                      <a:pt x="3020" y="548"/>
                    </a:cubicBezTo>
                    <a:cubicBezTo>
                      <a:pt x="3017" y="546"/>
                      <a:pt x="3019" y="546"/>
                      <a:pt x="3021" y="546"/>
                    </a:cubicBezTo>
                    <a:cubicBezTo>
                      <a:pt x="3020" y="545"/>
                      <a:pt x="3020" y="545"/>
                      <a:pt x="3018" y="544"/>
                    </a:cubicBezTo>
                    <a:cubicBezTo>
                      <a:pt x="3017" y="544"/>
                      <a:pt x="3016" y="544"/>
                      <a:pt x="3016" y="544"/>
                    </a:cubicBezTo>
                    <a:cubicBezTo>
                      <a:pt x="3014" y="543"/>
                      <a:pt x="3014" y="542"/>
                      <a:pt x="3013" y="541"/>
                    </a:cubicBezTo>
                    <a:cubicBezTo>
                      <a:pt x="3012" y="541"/>
                      <a:pt x="3011" y="542"/>
                      <a:pt x="3010" y="541"/>
                    </a:cubicBezTo>
                    <a:cubicBezTo>
                      <a:pt x="3008" y="540"/>
                      <a:pt x="3007" y="537"/>
                      <a:pt x="3005" y="536"/>
                    </a:cubicBezTo>
                    <a:cubicBezTo>
                      <a:pt x="3003" y="535"/>
                      <a:pt x="3002" y="534"/>
                      <a:pt x="3001" y="533"/>
                    </a:cubicBezTo>
                    <a:cubicBezTo>
                      <a:pt x="3000" y="533"/>
                      <a:pt x="2998" y="534"/>
                      <a:pt x="2998" y="533"/>
                    </a:cubicBezTo>
                    <a:cubicBezTo>
                      <a:pt x="2995" y="531"/>
                      <a:pt x="2997" y="531"/>
                      <a:pt x="2999" y="531"/>
                    </a:cubicBezTo>
                    <a:cubicBezTo>
                      <a:pt x="2998" y="530"/>
                      <a:pt x="2998" y="529"/>
                      <a:pt x="2995" y="528"/>
                    </a:cubicBezTo>
                    <a:cubicBezTo>
                      <a:pt x="2994" y="527"/>
                      <a:pt x="2991" y="529"/>
                      <a:pt x="2990" y="528"/>
                    </a:cubicBezTo>
                    <a:cubicBezTo>
                      <a:pt x="2989" y="527"/>
                      <a:pt x="2991" y="527"/>
                      <a:pt x="2990" y="526"/>
                    </a:cubicBezTo>
                    <a:cubicBezTo>
                      <a:pt x="2988" y="526"/>
                      <a:pt x="2986" y="527"/>
                      <a:pt x="2985" y="526"/>
                    </a:cubicBezTo>
                    <a:cubicBezTo>
                      <a:pt x="2984" y="526"/>
                      <a:pt x="2985" y="524"/>
                      <a:pt x="2985" y="524"/>
                    </a:cubicBezTo>
                    <a:cubicBezTo>
                      <a:pt x="2984" y="523"/>
                      <a:pt x="2983" y="524"/>
                      <a:pt x="2983" y="524"/>
                    </a:cubicBezTo>
                    <a:cubicBezTo>
                      <a:pt x="2982" y="523"/>
                      <a:pt x="2983" y="522"/>
                      <a:pt x="2983" y="521"/>
                    </a:cubicBezTo>
                    <a:cubicBezTo>
                      <a:pt x="2982" y="520"/>
                      <a:pt x="2979" y="519"/>
                      <a:pt x="2978" y="518"/>
                    </a:cubicBezTo>
                    <a:cubicBezTo>
                      <a:pt x="2975" y="517"/>
                      <a:pt x="2972" y="512"/>
                      <a:pt x="2970" y="510"/>
                    </a:cubicBezTo>
                    <a:cubicBezTo>
                      <a:pt x="2969" y="510"/>
                      <a:pt x="2968" y="509"/>
                      <a:pt x="2967" y="509"/>
                    </a:cubicBezTo>
                    <a:cubicBezTo>
                      <a:pt x="2966" y="508"/>
                      <a:pt x="2966" y="509"/>
                      <a:pt x="2965" y="509"/>
                    </a:cubicBezTo>
                    <a:cubicBezTo>
                      <a:pt x="2965" y="508"/>
                      <a:pt x="2966" y="507"/>
                      <a:pt x="2965" y="506"/>
                    </a:cubicBezTo>
                    <a:cubicBezTo>
                      <a:pt x="2965" y="505"/>
                      <a:pt x="2963" y="504"/>
                      <a:pt x="2963" y="503"/>
                    </a:cubicBezTo>
                    <a:cubicBezTo>
                      <a:pt x="2962" y="502"/>
                      <a:pt x="2961" y="501"/>
                      <a:pt x="2960" y="501"/>
                    </a:cubicBezTo>
                    <a:cubicBezTo>
                      <a:pt x="2959" y="500"/>
                      <a:pt x="2958" y="501"/>
                      <a:pt x="2957" y="501"/>
                    </a:cubicBezTo>
                    <a:cubicBezTo>
                      <a:pt x="2957" y="500"/>
                      <a:pt x="2958" y="499"/>
                      <a:pt x="2957" y="498"/>
                    </a:cubicBezTo>
                    <a:cubicBezTo>
                      <a:pt x="2956" y="497"/>
                      <a:pt x="2954" y="496"/>
                      <a:pt x="2952" y="495"/>
                    </a:cubicBezTo>
                    <a:cubicBezTo>
                      <a:pt x="2951" y="495"/>
                      <a:pt x="2950" y="496"/>
                      <a:pt x="2949" y="495"/>
                    </a:cubicBezTo>
                    <a:cubicBezTo>
                      <a:pt x="2949" y="495"/>
                      <a:pt x="2950" y="493"/>
                      <a:pt x="2949" y="493"/>
                    </a:cubicBezTo>
                    <a:cubicBezTo>
                      <a:pt x="2948" y="492"/>
                      <a:pt x="2946" y="494"/>
                      <a:pt x="2945" y="493"/>
                    </a:cubicBezTo>
                    <a:cubicBezTo>
                      <a:pt x="2936" y="487"/>
                      <a:pt x="2947" y="490"/>
                      <a:pt x="2940" y="486"/>
                    </a:cubicBezTo>
                    <a:cubicBezTo>
                      <a:pt x="2938" y="485"/>
                      <a:pt x="2936" y="487"/>
                      <a:pt x="2934" y="486"/>
                    </a:cubicBezTo>
                    <a:cubicBezTo>
                      <a:pt x="2934" y="485"/>
                      <a:pt x="2935" y="483"/>
                      <a:pt x="2934" y="483"/>
                    </a:cubicBezTo>
                    <a:cubicBezTo>
                      <a:pt x="2933" y="482"/>
                      <a:pt x="2931" y="484"/>
                      <a:pt x="2930" y="483"/>
                    </a:cubicBezTo>
                    <a:cubicBezTo>
                      <a:pt x="2928" y="482"/>
                      <a:pt x="2929" y="479"/>
                      <a:pt x="2927" y="478"/>
                    </a:cubicBezTo>
                    <a:cubicBezTo>
                      <a:pt x="2927" y="477"/>
                      <a:pt x="2925" y="478"/>
                      <a:pt x="2925" y="478"/>
                    </a:cubicBezTo>
                    <a:cubicBezTo>
                      <a:pt x="2924" y="477"/>
                      <a:pt x="2923" y="476"/>
                      <a:pt x="2922" y="475"/>
                    </a:cubicBezTo>
                    <a:cubicBezTo>
                      <a:pt x="2920" y="474"/>
                      <a:pt x="2918" y="475"/>
                      <a:pt x="2917" y="473"/>
                    </a:cubicBezTo>
                    <a:cubicBezTo>
                      <a:pt x="2916" y="473"/>
                      <a:pt x="2917" y="471"/>
                      <a:pt x="2917" y="471"/>
                    </a:cubicBezTo>
                    <a:cubicBezTo>
                      <a:pt x="2916" y="470"/>
                      <a:pt x="2915" y="471"/>
                      <a:pt x="2914" y="471"/>
                    </a:cubicBezTo>
                    <a:cubicBezTo>
                      <a:pt x="2913" y="470"/>
                      <a:pt x="2913" y="469"/>
                      <a:pt x="2912" y="468"/>
                    </a:cubicBezTo>
                    <a:cubicBezTo>
                      <a:pt x="2910" y="466"/>
                      <a:pt x="2907" y="462"/>
                      <a:pt x="2904" y="460"/>
                    </a:cubicBezTo>
                    <a:cubicBezTo>
                      <a:pt x="2903" y="459"/>
                      <a:pt x="2900" y="459"/>
                      <a:pt x="2899" y="457"/>
                    </a:cubicBezTo>
                    <a:cubicBezTo>
                      <a:pt x="2898" y="456"/>
                      <a:pt x="2898" y="454"/>
                      <a:pt x="2896" y="453"/>
                    </a:cubicBezTo>
                    <a:cubicBezTo>
                      <a:pt x="2895" y="452"/>
                      <a:pt x="2893" y="454"/>
                      <a:pt x="2892" y="453"/>
                    </a:cubicBezTo>
                    <a:cubicBezTo>
                      <a:pt x="2890" y="452"/>
                      <a:pt x="2891" y="449"/>
                      <a:pt x="2889" y="448"/>
                    </a:cubicBezTo>
                    <a:cubicBezTo>
                      <a:pt x="2889" y="447"/>
                      <a:pt x="2888" y="448"/>
                      <a:pt x="2887" y="448"/>
                    </a:cubicBezTo>
                    <a:cubicBezTo>
                      <a:pt x="2885" y="447"/>
                      <a:pt x="2883" y="446"/>
                      <a:pt x="2881" y="445"/>
                    </a:cubicBezTo>
                    <a:cubicBezTo>
                      <a:pt x="2881" y="445"/>
                      <a:pt x="2882" y="443"/>
                      <a:pt x="2881" y="442"/>
                    </a:cubicBezTo>
                    <a:cubicBezTo>
                      <a:pt x="2881" y="441"/>
                      <a:pt x="2872" y="433"/>
                      <a:pt x="2872" y="433"/>
                    </a:cubicBezTo>
                    <a:cubicBezTo>
                      <a:pt x="2870" y="432"/>
                      <a:pt x="2868" y="431"/>
                      <a:pt x="2866" y="430"/>
                    </a:cubicBezTo>
                    <a:cubicBezTo>
                      <a:pt x="2865" y="429"/>
                      <a:pt x="2865" y="428"/>
                      <a:pt x="2864" y="428"/>
                    </a:cubicBezTo>
                    <a:cubicBezTo>
                      <a:pt x="2862" y="426"/>
                      <a:pt x="2861" y="426"/>
                      <a:pt x="2859" y="425"/>
                    </a:cubicBezTo>
                    <a:cubicBezTo>
                      <a:pt x="2858" y="424"/>
                      <a:pt x="2858" y="423"/>
                      <a:pt x="2857" y="422"/>
                    </a:cubicBezTo>
                    <a:cubicBezTo>
                      <a:pt x="2856" y="422"/>
                      <a:pt x="2855" y="423"/>
                      <a:pt x="2854" y="422"/>
                    </a:cubicBezTo>
                    <a:cubicBezTo>
                      <a:pt x="2852" y="421"/>
                      <a:pt x="2851" y="419"/>
                      <a:pt x="2849" y="418"/>
                    </a:cubicBezTo>
                    <a:cubicBezTo>
                      <a:pt x="2848" y="417"/>
                      <a:pt x="2847" y="416"/>
                      <a:pt x="2846" y="415"/>
                    </a:cubicBezTo>
                    <a:cubicBezTo>
                      <a:pt x="2845" y="415"/>
                      <a:pt x="2844" y="416"/>
                      <a:pt x="2844" y="415"/>
                    </a:cubicBezTo>
                    <a:cubicBezTo>
                      <a:pt x="2842" y="415"/>
                      <a:pt x="2843" y="413"/>
                      <a:pt x="2842" y="413"/>
                    </a:cubicBezTo>
                    <a:cubicBezTo>
                      <a:pt x="2840" y="412"/>
                      <a:pt x="2838" y="413"/>
                      <a:pt x="2837" y="413"/>
                    </a:cubicBezTo>
                    <a:cubicBezTo>
                      <a:pt x="2836" y="412"/>
                      <a:pt x="2837" y="410"/>
                      <a:pt x="2837" y="410"/>
                    </a:cubicBezTo>
                    <a:cubicBezTo>
                      <a:pt x="2836" y="409"/>
                      <a:pt x="2835" y="410"/>
                      <a:pt x="2834" y="410"/>
                    </a:cubicBezTo>
                    <a:cubicBezTo>
                      <a:pt x="2816" y="404"/>
                      <a:pt x="2837" y="410"/>
                      <a:pt x="2826" y="405"/>
                    </a:cubicBezTo>
                    <a:cubicBezTo>
                      <a:pt x="2824" y="404"/>
                      <a:pt x="2823" y="406"/>
                      <a:pt x="2822" y="405"/>
                    </a:cubicBezTo>
                    <a:cubicBezTo>
                      <a:pt x="2820" y="403"/>
                      <a:pt x="2820" y="402"/>
                      <a:pt x="2819" y="400"/>
                    </a:cubicBezTo>
                    <a:cubicBezTo>
                      <a:pt x="2818" y="400"/>
                      <a:pt x="2817" y="400"/>
                      <a:pt x="2816" y="400"/>
                    </a:cubicBezTo>
                    <a:cubicBezTo>
                      <a:pt x="2814" y="400"/>
                      <a:pt x="2809" y="397"/>
                      <a:pt x="2808" y="395"/>
                    </a:cubicBezTo>
                    <a:cubicBezTo>
                      <a:pt x="2808" y="394"/>
                      <a:pt x="2809" y="393"/>
                      <a:pt x="2808" y="392"/>
                    </a:cubicBezTo>
                    <a:cubicBezTo>
                      <a:pt x="2808" y="392"/>
                      <a:pt x="2807" y="392"/>
                      <a:pt x="2807" y="392"/>
                    </a:cubicBezTo>
                    <a:cubicBezTo>
                      <a:pt x="2805" y="392"/>
                      <a:pt x="2803" y="391"/>
                      <a:pt x="2801" y="390"/>
                    </a:cubicBezTo>
                    <a:cubicBezTo>
                      <a:pt x="2799" y="388"/>
                      <a:pt x="2798" y="386"/>
                      <a:pt x="2796" y="385"/>
                    </a:cubicBezTo>
                    <a:cubicBezTo>
                      <a:pt x="2795" y="385"/>
                      <a:pt x="2794" y="386"/>
                      <a:pt x="2793" y="385"/>
                    </a:cubicBezTo>
                    <a:cubicBezTo>
                      <a:pt x="2793" y="385"/>
                      <a:pt x="2794" y="383"/>
                      <a:pt x="2793" y="383"/>
                    </a:cubicBezTo>
                    <a:cubicBezTo>
                      <a:pt x="2792" y="382"/>
                      <a:pt x="2790" y="383"/>
                      <a:pt x="2789" y="383"/>
                    </a:cubicBezTo>
                    <a:cubicBezTo>
                      <a:pt x="2786" y="381"/>
                      <a:pt x="2783" y="376"/>
                      <a:pt x="2781" y="375"/>
                    </a:cubicBezTo>
                    <a:cubicBezTo>
                      <a:pt x="2778" y="373"/>
                      <a:pt x="2776" y="371"/>
                      <a:pt x="2773" y="369"/>
                    </a:cubicBezTo>
                    <a:cubicBezTo>
                      <a:pt x="2772" y="369"/>
                      <a:pt x="2772" y="370"/>
                      <a:pt x="2771" y="369"/>
                    </a:cubicBezTo>
                    <a:cubicBezTo>
                      <a:pt x="2770" y="369"/>
                      <a:pt x="2770" y="368"/>
                      <a:pt x="2769" y="368"/>
                    </a:cubicBezTo>
                    <a:cubicBezTo>
                      <a:pt x="2767" y="367"/>
                      <a:pt x="2765" y="366"/>
                      <a:pt x="2763" y="365"/>
                    </a:cubicBezTo>
                    <a:cubicBezTo>
                      <a:pt x="2760" y="362"/>
                      <a:pt x="2760" y="359"/>
                      <a:pt x="2755" y="357"/>
                    </a:cubicBezTo>
                    <a:cubicBezTo>
                      <a:pt x="2754" y="356"/>
                      <a:pt x="2753" y="357"/>
                      <a:pt x="2751" y="357"/>
                    </a:cubicBezTo>
                    <a:cubicBezTo>
                      <a:pt x="2747" y="356"/>
                      <a:pt x="2750" y="353"/>
                      <a:pt x="2746" y="352"/>
                    </a:cubicBezTo>
                    <a:cubicBezTo>
                      <a:pt x="2744" y="351"/>
                      <a:pt x="2742" y="353"/>
                      <a:pt x="2740" y="352"/>
                    </a:cubicBezTo>
                    <a:cubicBezTo>
                      <a:pt x="2736" y="342"/>
                      <a:pt x="2742" y="350"/>
                      <a:pt x="2733" y="347"/>
                    </a:cubicBezTo>
                    <a:cubicBezTo>
                      <a:pt x="2731" y="347"/>
                      <a:pt x="2730" y="343"/>
                      <a:pt x="2728" y="342"/>
                    </a:cubicBezTo>
                    <a:cubicBezTo>
                      <a:pt x="2726" y="341"/>
                      <a:pt x="2724" y="341"/>
                      <a:pt x="2723" y="339"/>
                    </a:cubicBezTo>
                    <a:cubicBezTo>
                      <a:pt x="2722" y="339"/>
                      <a:pt x="2723" y="337"/>
                      <a:pt x="2723" y="337"/>
                    </a:cubicBezTo>
                    <a:cubicBezTo>
                      <a:pt x="2721" y="336"/>
                      <a:pt x="2720" y="337"/>
                      <a:pt x="2718" y="337"/>
                    </a:cubicBezTo>
                    <a:cubicBezTo>
                      <a:pt x="2717" y="336"/>
                      <a:pt x="2717" y="335"/>
                      <a:pt x="2716" y="334"/>
                    </a:cubicBezTo>
                    <a:cubicBezTo>
                      <a:pt x="2707" y="329"/>
                      <a:pt x="2708" y="331"/>
                      <a:pt x="2710" y="331"/>
                    </a:cubicBezTo>
                    <a:cubicBezTo>
                      <a:pt x="2709" y="331"/>
                      <a:pt x="2709" y="331"/>
                      <a:pt x="2708" y="330"/>
                    </a:cubicBezTo>
                    <a:cubicBezTo>
                      <a:pt x="2706" y="329"/>
                      <a:pt x="2704" y="328"/>
                      <a:pt x="2702" y="327"/>
                    </a:cubicBezTo>
                    <a:cubicBezTo>
                      <a:pt x="2699" y="325"/>
                      <a:pt x="2696" y="323"/>
                      <a:pt x="2693" y="322"/>
                    </a:cubicBezTo>
                    <a:cubicBezTo>
                      <a:pt x="2690" y="321"/>
                      <a:pt x="2687" y="320"/>
                      <a:pt x="2685" y="319"/>
                    </a:cubicBezTo>
                    <a:cubicBezTo>
                      <a:pt x="2684" y="319"/>
                      <a:pt x="2684" y="317"/>
                      <a:pt x="2683" y="316"/>
                    </a:cubicBezTo>
                    <a:cubicBezTo>
                      <a:pt x="2681" y="315"/>
                      <a:pt x="2678" y="313"/>
                      <a:pt x="2675" y="312"/>
                    </a:cubicBezTo>
                    <a:cubicBezTo>
                      <a:pt x="2673" y="311"/>
                      <a:pt x="2669" y="311"/>
                      <a:pt x="2667" y="309"/>
                    </a:cubicBezTo>
                    <a:cubicBezTo>
                      <a:pt x="2665" y="308"/>
                      <a:pt x="2665" y="305"/>
                      <a:pt x="2663" y="304"/>
                    </a:cubicBezTo>
                    <a:cubicBezTo>
                      <a:pt x="2661" y="303"/>
                      <a:pt x="2659" y="302"/>
                      <a:pt x="2657" y="301"/>
                    </a:cubicBezTo>
                    <a:cubicBezTo>
                      <a:pt x="2656" y="301"/>
                      <a:pt x="2656" y="299"/>
                      <a:pt x="2655" y="299"/>
                    </a:cubicBezTo>
                    <a:cubicBezTo>
                      <a:pt x="2653" y="298"/>
                      <a:pt x="2651" y="298"/>
                      <a:pt x="2650" y="297"/>
                    </a:cubicBezTo>
                    <a:cubicBezTo>
                      <a:pt x="2648" y="296"/>
                      <a:pt x="2649" y="293"/>
                      <a:pt x="2648" y="292"/>
                    </a:cubicBezTo>
                    <a:cubicBezTo>
                      <a:pt x="2646" y="290"/>
                      <a:pt x="2644" y="290"/>
                      <a:pt x="2642" y="289"/>
                    </a:cubicBezTo>
                    <a:cubicBezTo>
                      <a:pt x="2642" y="288"/>
                      <a:pt x="2643" y="287"/>
                      <a:pt x="2642" y="286"/>
                    </a:cubicBezTo>
                    <a:cubicBezTo>
                      <a:pt x="2641" y="285"/>
                      <a:pt x="2639" y="285"/>
                      <a:pt x="2637" y="284"/>
                    </a:cubicBezTo>
                    <a:cubicBezTo>
                      <a:pt x="2637" y="283"/>
                      <a:pt x="2638" y="282"/>
                      <a:pt x="2637" y="281"/>
                    </a:cubicBezTo>
                    <a:cubicBezTo>
                      <a:pt x="2636" y="280"/>
                      <a:pt x="2634" y="280"/>
                      <a:pt x="2632" y="279"/>
                    </a:cubicBezTo>
                    <a:cubicBezTo>
                      <a:pt x="2631" y="279"/>
                      <a:pt x="2631" y="280"/>
                      <a:pt x="2630" y="279"/>
                    </a:cubicBezTo>
                    <a:cubicBezTo>
                      <a:pt x="2630" y="279"/>
                      <a:pt x="2631" y="277"/>
                      <a:pt x="2630" y="277"/>
                    </a:cubicBezTo>
                    <a:cubicBezTo>
                      <a:pt x="2629" y="275"/>
                      <a:pt x="2626" y="275"/>
                      <a:pt x="2625" y="274"/>
                    </a:cubicBezTo>
                    <a:cubicBezTo>
                      <a:pt x="2623" y="273"/>
                      <a:pt x="2622" y="270"/>
                      <a:pt x="2620" y="269"/>
                    </a:cubicBezTo>
                    <a:cubicBezTo>
                      <a:pt x="2619" y="268"/>
                      <a:pt x="2618" y="269"/>
                      <a:pt x="2617" y="269"/>
                    </a:cubicBezTo>
                    <a:cubicBezTo>
                      <a:pt x="2615" y="268"/>
                      <a:pt x="2608" y="260"/>
                      <a:pt x="2607" y="259"/>
                    </a:cubicBezTo>
                    <a:cubicBezTo>
                      <a:pt x="2606" y="258"/>
                      <a:pt x="2603" y="257"/>
                      <a:pt x="2602" y="256"/>
                    </a:cubicBezTo>
                    <a:cubicBezTo>
                      <a:pt x="2601" y="256"/>
                      <a:pt x="2600" y="254"/>
                      <a:pt x="2599" y="254"/>
                    </a:cubicBezTo>
                    <a:cubicBezTo>
                      <a:pt x="2598" y="253"/>
                      <a:pt x="2597" y="252"/>
                      <a:pt x="2595" y="251"/>
                    </a:cubicBezTo>
                    <a:cubicBezTo>
                      <a:pt x="2594" y="251"/>
                      <a:pt x="2593" y="252"/>
                      <a:pt x="2592" y="251"/>
                    </a:cubicBezTo>
                    <a:cubicBezTo>
                      <a:pt x="2592" y="251"/>
                      <a:pt x="2593" y="249"/>
                      <a:pt x="2592" y="249"/>
                    </a:cubicBezTo>
                    <a:cubicBezTo>
                      <a:pt x="2592" y="248"/>
                      <a:pt x="2590" y="249"/>
                      <a:pt x="2590" y="249"/>
                    </a:cubicBezTo>
                    <a:cubicBezTo>
                      <a:pt x="2588" y="247"/>
                      <a:pt x="2588" y="245"/>
                      <a:pt x="2587" y="244"/>
                    </a:cubicBezTo>
                    <a:cubicBezTo>
                      <a:pt x="2586" y="243"/>
                      <a:pt x="2583" y="243"/>
                      <a:pt x="2582" y="241"/>
                    </a:cubicBezTo>
                    <a:cubicBezTo>
                      <a:pt x="2581" y="241"/>
                      <a:pt x="2582" y="239"/>
                      <a:pt x="2582" y="239"/>
                    </a:cubicBezTo>
                    <a:cubicBezTo>
                      <a:pt x="2580" y="237"/>
                      <a:pt x="2579" y="237"/>
                      <a:pt x="2577" y="236"/>
                    </a:cubicBezTo>
                    <a:cubicBezTo>
                      <a:pt x="2575" y="235"/>
                      <a:pt x="2571" y="230"/>
                      <a:pt x="2569" y="228"/>
                    </a:cubicBezTo>
                    <a:lnTo>
                      <a:pt x="2564" y="224"/>
                    </a:lnTo>
                    <a:cubicBezTo>
                      <a:pt x="2563" y="223"/>
                      <a:pt x="2562" y="222"/>
                      <a:pt x="2561" y="221"/>
                    </a:cubicBezTo>
                    <a:cubicBezTo>
                      <a:pt x="2561" y="221"/>
                      <a:pt x="2561" y="221"/>
                      <a:pt x="2561" y="220"/>
                    </a:cubicBezTo>
                    <a:cubicBezTo>
                      <a:pt x="2559" y="220"/>
                      <a:pt x="2559" y="219"/>
                      <a:pt x="2557" y="219"/>
                    </a:cubicBezTo>
                    <a:cubicBezTo>
                      <a:pt x="2549" y="216"/>
                      <a:pt x="2543" y="213"/>
                      <a:pt x="2543" y="209"/>
                    </a:cubicBezTo>
                    <a:cubicBezTo>
                      <a:pt x="2543" y="178"/>
                      <a:pt x="2438" y="196"/>
                      <a:pt x="2392" y="234"/>
                    </a:cubicBezTo>
                    <a:cubicBezTo>
                      <a:pt x="2363" y="257"/>
                      <a:pt x="2345" y="258"/>
                      <a:pt x="2332" y="238"/>
                    </a:cubicBezTo>
                    <a:cubicBezTo>
                      <a:pt x="2312" y="206"/>
                      <a:pt x="2232" y="268"/>
                      <a:pt x="2232" y="315"/>
                    </a:cubicBezTo>
                    <a:cubicBezTo>
                      <a:pt x="2232" y="329"/>
                      <a:pt x="2201" y="370"/>
                      <a:pt x="2162" y="406"/>
                    </a:cubicBezTo>
                    <a:cubicBezTo>
                      <a:pt x="2120" y="446"/>
                      <a:pt x="2091" y="504"/>
                      <a:pt x="2091" y="549"/>
                    </a:cubicBezTo>
                    <a:cubicBezTo>
                      <a:pt x="2091" y="635"/>
                      <a:pt x="1874" y="899"/>
                      <a:pt x="1779" y="929"/>
                    </a:cubicBezTo>
                    <a:cubicBezTo>
                      <a:pt x="1749" y="939"/>
                      <a:pt x="1724" y="964"/>
                      <a:pt x="1724" y="987"/>
                    </a:cubicBezTo>
                    <a:cubicBezTo>
                      <a:pt x="1724" y="1009"/>
                      <a:pt x="1699" y="1027"/>
                      <a:pt x="1667" y="1027"/>
                    </a:cubicBezTo>
                    <a:cubicBezTo>
                      <a:pt x="1633" y="1027"/>
                      <a:pt x="1600" y="1053"/>
                      <a:pt x="1586" y="1091"/>
                    </a:cubicBezTo>
                    <a:cubicBezTo>
                      <a:pt x="1573" y="1126"/>
                      <a:pt x="1551" y="1153"/>
                      <a:pt x="1537" y="1152"/>
                    </a:cubicBezTo>
                    <a:cubicBezTo>
                      <a:pt x="1505" y="1148"/>
                      <a:pt x="1332" y="1259"/>
                      <a:pt x="1253" y="1335"/>
                    </a:cubicBezTo>
                    <a:cubicBezTo>
                      <a:pt x="1218" y="1368"/>
                      <a:pt x="1182" y="1394"/>
                      <a:pt x="1171" y="1394"/>
                    </a:cubicBezTo>
                    <a:cubicBezTo>
                      <a:pt x="1142" y="1394"/>
                      <a:pt x="991" y="1559"/>
                      <a:pt x="991" y="1592"/>
                    </a:cubicBezTo>
                    <a:cubicBezTo>
                      <a:pt x="991" y="1607"/>
                      <a:pt x="973" y="1620"/>
                      <a:pt x="951" y="1620"/>
                    </a:cubicBezTo>
                    <a:cubicBezTo>
                      <a:pt x="929" y="1620"/>
                      <a:pt x="851" y="1690"/>
                      <a:pt x="777" y="1775"/>
                    </a:cubicBezTo>
                    <a:cubicBezTo>
                      <a:pt x="703" y="1861"/>
                      <a:pt x="631" y="1930"/>
                      <a:pt x="615" y="1930"/>
                    </a:cubicBezTo>
                    <a:cubicBezTo>
                      <a:pt x="599" y="1930"/>
                      <a:pt x="545" y="1962"/>
                      <a:pt x="494" y="2001"/>
                    </a:cubicBezTo>
                    <a:cubicBezTo>
                      <a:pt x="443" y="2040"/>
                      <a:pt x="364" y="2072"/>
                      <a:pt x="317" y="2072"/>
                    </a:cubicBezTo>
                    <a:cubicBezTo>
                      <a:pt x="194" y="2072"/>
                      <a:pt x="161" y="2156"/>
                      <a:pt x="177" y="2424"/>
                    </a:cubicBezTo>
                    <a:cubicBezTo>
                      <a:pt x="182" y="2502"/>
                      <a:pt x="186" y="2733"/>
                      <a:pt x="186" y="2938"/>
                    </a:cubicBezTo>
                    <a:cubicBezTo>
                      <a:pt x="186" y="3277"/>
                      <a:pt x="181" y="3315"/>
                      <a:pt x="126" y="3375"/>
                    </a:cubicBezTo>
                    <a:cubicBezTo>
                      <a:pt x="0" y="3514"/>
                      <a:pt x="18" y="3672"/>
                      <a:pt x="180" y="3842"/>
                    </a:cubicBezTo>
                    <a:cubicBezTo>
                      <a:pt x="285" y="3952"/>
                      <a:pt x="433" y="4039"/>
                      <a:pt x="446" y="3999"/>
                    </a:cubicBezTo>
                    <a:cubicBezTo>
                      <a:pt x="452" y="3981"/>
                      <a:pt x="513" y="3981"/>
                      <a:pt x="618" y="3999"/>
                    </a:cubicBezTo>
                    <a:cubicBezTo>
                      <a:pt x="706" y="4015"/>
                      <a:pt x="808" y="4027"/>
                      <a:pt x="842" y="4026"/>
                    </a:cubicBezTo>
                    <a:cubicBezTo>
                      <a:pt x="877" y="4025"/>
                      <a:pt x="906" y="4037"/>
                      <a:pt x="906" y="4051"/>
                    </a:cubicBezTo>
                    <a:cubicBezTo>
                      <a:pt x="906" y="4087"/>
                      <a:pt x="1096" y="4081"/>
                      <a:pt x="1118" y="4044"/>
                    </a:cubicBezTo>
                    <a:cubicBezTo>
                      <a:pt x="1132" y="4022"/>
                      <a:pt x="1147" y="4022"/>
                      <a:pt x="1169" y="4044"/>
                    </a:cubicBezTo>
                    <a:cubicBezTo>
                      <a:pt x="1186" y="4061"/>
                      <a:pt x="1252" y="4075"/>
                      <a:pt x="1316" y="4075"/>
                    </a:cubicBezTo>
                    <a:cubicBezTo>
                      <a:pt x="1380" y="4075"/>
                      <a:pt x="1440" y="4084"/>
                      <a:pt x="1449" y="4093"/>
                    </a:cubicBezTo>
                    <a:cubicBezTo>
                      <a:pt x="1459" y="4102"/>
                      <a:pt x="1617" y="4115"/>
                      <a:pt x="1800" y="4122"/>
                    </a:cubicBezTo>
                    <a:cubicBezTo>
                      <a:pt x="2146" y="4135"/>
                      <a:pt x="2241" y="4145"/>
                      <a:pt x="2285" y="4172"/>
                    </a:cubicBezTo>
                    <a:cubicBezTo>
                      <a:pt x="2300" y="4181"/>
                      <a:pt x="2429" y="4195"/>
                      <a:pt x="2573" y="4203"/>
                    </a:cubicBezTo>
                    <a:cubicBezTo>
                      <a:pt x="2716" y="4211"/>
                      <a:pt x="2848" y="4228"/>
                      <a:pt x="2865" y="4241"/>
                    </a:cubicBezTo>
                    <a:cubicBezTo>
                      <a:pt x="2882" y="4254"/>
                      <a:pt x="2953" y="4263"/>
                      <a:pt x="3023" y="4260"/>
                    </a:cubicBezTo>
                    <a:cubicBezTo>
                      <a:pt x="3092" y="4258"/>
                      <a:pt x="3169" y="4266"/>
                      <a:pt x="3192" y="4277"/>
                    </a:cubicBezTo>
                    <a:cubicBezTo>
                      <a:pt x="3256" y="4309"/>
                      <a:pt x="3663" y="4359"/>
                      <a:pt x="3710" y="4342"/>
                    </a:cubicBezTo>
                    <a:cubicBezTo>
                      <a:pt x="3732" y="4333"/>
                      <a:pt x="3759" y="4339"/>
                      <a:pt x="3770" y="4357"/>
                    </a:cubicBezTo>
                    <a:cubicBezTo>
                      <a:pt x="3780" y="4374"/>
                      <a:pt x="3813" y="4380"/>
                      <a:pt x="3843" y="4371"/>
                    </a:cubicBezTo>
                    <a:cubicBezTo>
                      <a:pt x="3873" y="4361"/>
                      <a:pt x="3897" y="4367"/>
                      <a:pt x="3897" y="4384"/>
                    </a:cubicBezTo>
                    <a:cubicBezTo>
                      <a:pt x="3897" y="4418"/>
                      <a:pt x="3938" y="4421"/>
                      <a:pt x="4062" y="4396"/>
                    </a:cubicBezTo>
                    <a:cubicBezTo>
                      <a:pt x="4111" y="4387"/>
                      <a:pt x="4145" y="4369"/>
                      <a:pt x="4137" y="4357"/>
                    </a:cubicBezTo>
                    <a:cubicBezTo>
                      <a:pt x="4130" y="4346"/>
                      <a:pt x="4244" y="4338"/>
                      <a:pt x="4391" y="4340"/>
                    </a:cubicBezTo>
                    <a:cubicBezTo>
                      <a:pt x="4539" y="4342"/>
                      <a:pt x="4659" y="4354"/>
                      <a:pt x="4659" y="4367"/>
                    </a:cubicBezTo>
                    <a:cubicBezTo>
                      <a:pt x="4660" y="4380"/>
                      <a:pt x="4701" y="4381"/>
                      <a:pt x="4751" y="4369"/>
                    </a:cubicBezTo>
                    <a:cubicBezTo>
                      <a:pt x="4802" y="4357"/>
                      <a:pt x="4922" y="4350"/>
                      <a:pt x="5019" y="4353"/>
                    </a:cubicBezTo>
                    <a:cubicBezTo>
                      <a:pt x="5128" y="4356"/>
                      <a:pt x="5196" y="4348"/>
                      <a:pt x="5196" y="4329"/>
                    </a:cubicBezTo>
                    <a:cubicBezTo>
                      <a:pt x="5196" y="4309"/>
                      <a:pt x="5213" y="4308"/>
                      <a:pt x="5249" y="4328"/>
                    </a:cubicBezTo>
                    <a:cubicBezTo>
                      <a:pt x="5278" y="4343"/>
                      <a:pt x="5332" y="4349"/>
                      <a:pt x="5369" y="4340"/>
                    </a:cubicBezTo>
                    <a:cubicBezTo>
                      <a:pt x="5405" y="4331"/>
                      <a:pt x="5525" y="4324"/>
                      <a:pt x="5633" y="4324"/>
                    </a:cubicBezTo>
                    <a:cubicBezTo>
                      <a:pt x="5745" y="4324"/>
                      <a:pt x="5839" y="4311"/>
                      <a:pt x="5850" y="4293"/>
                    </a:cubicBezTo>
                    <a:cubicBezTo>
                      <a:pt x="5864" y="4271"/>
                      <a:pt x="5919" y="4271"/>
                      <a:pt x="6048" y="4295"/>
                    </a:cubicBezTo>
                    <a:cubicBezTo>
                      <a:pt x="6146" y="4313"/>
                      <a:pt x="6270" y="4321"/>
                      <a:pt x="6325" y="4313"/>
                    </a:cubicBezTo>
                    <a:cubicBezTo>
                      <a:pt x="6379" y="4304"/>
                      <a:pt x="6481" y="4294"/>
                      <a:pt x="6550" y="4290"/>
                    </a:cubicBezTo>
                    <a:cubicBezTo>
                      <a:pt x="6688" y="4283"/>
                      <a:pt x="6877" y="4251"/>
                      <a:pt x="6945" y="4223"/>
                    </a:cubicBezTo>
                    <a:cubicBezTo>
                      <a:pt x="6969" y="4214"/>
                      <a:pt x="7032" y="4203"/>
                      <a:pt x="7087" y="4200"/>
                    </a:cubicBezTo>
                    <a:cubicBezTo>
                      <a:pt x="7337" y="4184"/>
                      <a:pt x="7555" y="4152"/>
                      <a:pt x="7586" y="4126"/>
                    </a:cubicBezTo>
                    <a:cubicBezTo>
                      <a:pt x="7605" y="4111"/>
                      <a:pt x="7633" y="4107"/>
                      <a:pt x="7649" y="4117"/>
                    </a:cubicBezTo>
                    <a:cubicBezTo>
                      <a:pt x="7665" y="4127"/>
                      <a:pt x="7679" y="4122"/>
                      <a:pt x="7679" y="4105"/>
                    </a:cubicBezTo>
                    <a:cubicBezTo>
                      <a:pt x="7679" y="4089"/>
                      <a:pt x="7716" y="4075"/>
                      <a:pt x="7761" y="4075"/>
                    </a:cubicBezTo>
                    <a:cubicBezTo>
                      <a:pt x="7807" y="4075"/>
                      <a:pt x="7851" y="4059"/>
                      <a:pt x="7860" y="4040"/>
                    </a:cubicBezTo>
                    <a:cubicBezTo>
                      <a:pt x="7873" y="4013"/>
                      <a:pt x="7880" y="4013"/>
                      <a:pt x="7893" y="4039"/>
                    </a:cubicBezTo>
                    <a:cubicBezTo>
                      <a:pt x="7905" y="4065"/>
                      <a:pt x="7921" y="4066"/>
                      <a:pt x="7961" y="4041"/>
                    </a:cubicBezTo>
                    <a:cubicBezTo>
                      <a:pt x="8000" y="4016"/>
                      <a:pt x="8023" y="4016"/>
                      <a:pt x="8055" y="4043"/>
                    </a:cubicBezTo>
                    <a:cubicBezTo>
                      <a:pt x="8088" y="4070"/>
                      <a:pt x="8105" y="4068"/>
                      <a:pt x="8140" y="4034"/>
                    </a:cubicBezTo>
                    <a:cubicBezTo>
                      <a:pt x="8163" y="4010"/>
                      <a:pt x="8201" y="3991"/>
                      <a:pt x="8223" y="3991"/>
                    </a:cubicBezTo>
                    <a:cubicBezTo>
                      <a:pt x="8324" y="3991"/>
                      <a:pt x="8356" y="3896"/>
                      <a:pt x="8361" y="3580"/>
                    </a:cubicBezTo>
                    <a:cubicBezTo>
                      <a:pt x="8364" y="3410"/>
                      <a:pt x="8379" y="3226"/>
                      <a:pt x="8395" y="3172"/>
                    </a:cubicBezTo>
                    <a:cubicBezTo>
                      <a:pt x="8410" y="3118"/>
                      <a:pt x="8421" y="3066"/>
                      <a:pt x="8419" y="3056"/>
                    </a:cubicBezTo>
                    <a:cubicBezTo>
                      <a:pt x="8417" y="3046"/>
                      <a:pt x="8408" y="2799"/>
                      <a:pt x="8400" y="2507"/>
                    </a:cubicBezTo>
                    <a:cubicBezTo>
                      <a:pt x="8385" y="1993"/>
                      <a:pt x="8357" y="1782"/>
                      <a:pt x="8299" y="1747"/>
                    </a:cubicBezTo>
                    <a:cubicBezTo>
                      <a:pt x="8284" y="1738"/>
                      <a:pt x="8272" y="1708"/>
                      <a:pt x="8272" y="1682"/>
                    </a:cubicBezTo>
                    <a:cubicBezTo>
                      <a:pt x="8272" y="1655"/>
                      <a:pt x="8237" y="1600"/>
                      <a:pt x="8194" y="1558"/>
                    </a:cubicBezTo>
                    <a:cubicBezTo>
                      <a:pt x="8152" y="1516"/>
                      <a:pt x="8050" y="1418"/>
                      <a:pt x="7969" y="1339"/>
                    </a:cubicBezTo>
                    <a:cubicBezTo>
                      <a:pt x="7887" y="1261"/>
                      <a:pt x="7820" y="1190"/>
                      <a:pt x="7820" y="1183"/>
                    </a:cubicBezTo>
                    <a:cubicBezTo>
                      <a:pt x="7820" y="1149"/>
                      <a:pt x="7691" y="1045"/>
                      <a:pt x="7571" y="982"/>
                    </a:cubicBezTo>
                    <a:cubicBezTo>
                      <a:pt x="7407" y="897"/>
                      <a:pt x="7331" y="850"/>
                      <a:pt x="7312" y="824"/>
                    </a:cubicBezTo>
                    <a:cubicBezTo>
                      <a:pt x="7303" y="814"/>
                      <a:pt x="7263" y="788"/>
                      <a:pt x="7222" y="766"/>
                    </a:cubicBezTo>
                    <a:cubicBezTo>
                      <a:pt x="7134" y="721"/>
                      <a:pt x="6917" y="530"/>
                      <a:pt x="6917" y="498"/>
                    </a:cubicBezTo>
                    <a:cubicBezTo>
                      <a:pt x="6917" y="486"/>
                      <a:pt x="6879" y="460"/>
                      <a:pt x="6833" y="439"/>
                    </a:cubicBezTo>
                    <a:cubicBezTo>
                      <a:pt x="6786" y="418"/>
                      <a:pt x="6754" y="390"/>
                      <a:pt x="6763" y="376"/>
                    </a:cubicBezTo>
                    <a:cubicBezTo>
                      <a:pt x="6772" y="361"/>
                      <a:pt x="6750" y="338"/>
                      <a:pt x="6714" y="324"/>
                    </a:cubicBezTo>
                    <a:cubicBezTo>
                      <a:pt x="6679" y="310"/>
                      <a:pt x="6622" y="273"/>
                      <a:pt x="6589" y="242"/>
                    </a:cubicBezTo>
                    <a:cubicBezTo>
                      <a:pt x="6481" y="139"/>
                      <a:pt x="6297" y="64"/>
                      <a:pt x="6139" y="59"/>
                    </a:cubicBezTo>
                    <a:cubicBezTo>
                      <a:pt x="6054" y="56"/>
                      <a:pt x="5986" y="43"/>
                      <a:pt x="5986" y="30"/>
                    </a:cubicBezTo>
                    <a:cubicBezTo>
                      <a:pt x="5986" y="16"/>
                      <a:pt x="5967" y="12"/>
                      <a:pt x="5944" y="21"/>
                    </a:cubicBezTo>
                    <a:cubicBezTo>
                      <a:pt x="5922" y="30"/>
                      <a:pt x="5896" y="25"/>
                      <a:pt x="5887" y="11"/>
                    </a:cubicBezTo>
                    <a:cubicBezTo>
                      <a:pt x="5884" y="6"/>
                      <a:pt x="5877" y="2"/>
                      <a:pt x="5870" y="0"/>
                    </a:cubicBezTo>
                    <a:lnTo>
                      <a:pt x="58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813"/>
              </a:p>
            </p:txBody>
          </p:sp>
          <p:sp>
            <p:nvSpPr>
              <p:cNvPr id="92" name="Freeform 37"/>
              <p:cNvSpPr>
                <a:spLocks noChangeAspect="1"/>
              </p:cNvSpPr>
              <p:nvPr/>
            </p:nvSpPr>
            <p:spPr bwMode="auto">
              <a:xfrm>
                <a:off x="6230938" y="1457325"/>
                <a:ext cx="1182688" cy="1271588"/>
              </a:xfrm>
              <a:custGeom>
                <a:avLst/>
                <a:gdLst>
                  <a:gd name="T0" fmla="*/ 1414 w 4519"/>
                  <a:gd name="T1" fmla="*/ 190 h 4864"/>
                  <a:gd name="T2" fmla="*/ 1031 w 4519"/>
                  <a:gd name="T3" fmla="*/ 402 h 4864"/>
                  <a:gd name="T4" fmla="*/ 460 w 4519"/>
                  <a:gd name="T5" fmla="*/ 1015 h 4864"/>
                  <a:gd name="T6" fmla="*/ 19 w 4519"/>
                  <a:gd name="T7" fmla="*/ 2328 h 4864"/>
                  <a:gd name="T8" fmla="*/ 613 w 4519"/>
                  <a:gd name="T9" fmla="*/ 4236 h 4864"/>
                  <a:gd name="T10" fmla="*/ 643 w 4519"/>
                  <a:gd name="T11" fmla="*/ 4271 h 4864"/>
                  <a:gd name="T12" fmla="*/ 668 w 4519"/>
                  <a:gd name="T13" fmla="*/ 4301 h 4864"/>
                  <a:gd name="T14" fmla="*/ 688 w 4519"/>
                  <a:gd name="T15" fmla="*/ 4319 h 4864"/>
                  <a:gd name="T16" fmla="*/ 703 w 4519"/>
                  <a:gd name="T17" fmla="*/ 4334 h 4864"/>
                  <a:gd name="T18" fmla="*/ 719 w 4519"/>
                  <a:gd name="T19" fmla="*/ 4344 h 4864"/>
                  <a:gd name="T20" fmla="*/ 731 w 4519"/>
                  <a:gd name="T21" fmla="*/ 4357 h 4864"/>
                  <a:gd name="T22" fmla="*/ 743 w 4519"/>
                  <a:gd name="T23" fmla="*/ 4367 h 4864"/>
                  <a:gd name="T24" fmla="*/ 758 w 4519"/>
                  <a:gd name="T25" fmla="*/ 4374 h 4864"/>
                  <a:gd name="T26" fmla="*/ 779 w 4519"/>
                  <a:gd name="T27" fmla="*/ 4385 h 4864"/>
                  <a:gd name="T28" fmla="*/ 791 w 4519"/>
                  <a:gd name="T29" fmla="*/ 4392 h 4864"/>
                  <a:gd name="T30" fmla="*/ 817 w 4519"/>
                  <a:gd name="T31" fmla="*/ 4404 h 4864"/>
                  <a:gd name="T32" fmla="*/ 842 w 4519"/>
                  <a:gd name="T33" fmla="*/ 4422 h 4864"/>
                  <a:gd name="T34" fmla="*/ 854 w 4519"/>
                  <a:gd name="T35" fmla="*/ 4427 h 4864"/>
                  <a:gd name="T36" fmla="*/ 882 w 4519"/>
                  <a:gd name="T37" fmla="*/ 4450 h 4864"/>
                  <a:gd name="T38" fmla="*/ 892 w 4519"/>
                  <a:gd name="T39" fmla="*/ 4455 h 4864"/>
                  <a:gd name="T40" fmla="*/ 913 w 4519"/>
                  <a:gd name="T41" fmla="*/ 4468 h 4864"/>
                  <a:gd name="T42" fmla="*/ 935 w 4519"/>
                  <a:gd name="T43" fmla="*/ 4483 h 4864"/>
                  <a:gd name="T44" fmla="*/ 950 w 4519"/>
                  <a:gd name="T45" fmla="*/ 4493 h 4864"/>
                  <a:gd name="T46" fmla="*/ 970 w 4519"/>
                  <a:gd name="T47" fmla="*/ 4503 h 4864"/>
                  <a:gd name="T48" fmla="*/ 993 w 4519"/>
                  <a:gd name="T49" fmla="*/ 4513 h 4864"/>
                  <a:gd name="T50" fmla="*/ 1001 w 4519"/>
                  <a:gd name="T51" fmla="*/ 4523 h 4864"/>
                  <a:gd name="T52" fmla="*/ 1026 w 4519"/>
                  <a:gd name="T53" fmla="*/ 4536 h 4864"/>
                  <a:gd name="T54" fmla="*/ 1046 w 4519"/>
                  <a:gd name="T55" fmla="*/ 4553 h 4864"/>
                  <a:gd name="T56" fmla="*/ 1066 w 4519"/>
                  <a:gd name="T57" fmla="*/ 4566 h 4864"/>
                  <a:gd name="T58" fmla="*/ 1086 w 4519"/>
                  <a:gd name="T59" fmla="*/ 4581 h 4864"/>
                  <a:gd name="T60" fmla="*/ 1101 w 4519"/>
                  <a:gd name="T61" fmla="*/ 4591 h 4864"/>
                  <a:gd name="T62" fmla="*/ 1119 w 4519"/>
                  <a:gd name="T63" fmla="*/ 4609 h 4864"/>
                  <a:gd name="T64" fmla="*/ 2212 w 4519"/>
                  <a:gd name="T65" fmla="*/ 4851 h 4864"/>
                  <a:gd name="T66" fmla="*/ 2495 w 4519"/>
                  <a:gd name="T67" fmla="*/ 4761 h 4864"/>
                  <a:gd name="T68" fmla="*/ 2959 w 4519"/>
                  <a:gd name="T69" fmla="*/ 4559 h 4864"/>
                  <a:gd name="T70" fmla="*/ 3277 w 4519"/>
                  <a:gd name="T71" fmla="*/ 4340 h 4864"/>
                  <a:gd name="T72" fmla="*/ 3598 w 4519"/>
                  <a:gd name="T73" fmla="*/ 4133 h 4864"/>
                  <a:gd name="T74" fmla="*/ 3621 w 4519"/>
                  <a:gd name="T75" fmla="*/ 4112 h 4864"/>
                  <a:gd name="T76" fmla="*/ 3679 w 4519"/>
                  <a:gd name="T77" fmla="*/ 4085 h 4864"/>
                  <a:gd name="T78" fmla="*/ 3717 w 4519"/>
                  <a:gd name="T79" fmla="*/ 4065 h 4864"/>
                  <a:gd name="T80" fmla="*/ 3742 w 4519"/>
                  <a:gd name="T81" fmla="*/ 4052 h 4864"/>
                  <a:gd name="T82" fmla="*/ 3763 w 4519"/>
                  <a:gd name="T83" fmla="*/ 4042 h 4864"/>
                  <a:gd name="T84" fmla="*/ 3797 w 4519"/>
                  <a:gd name="T85" fmla="*/ 4032 h 4864"/>
                  <a:gd name="T86" fmla="*/ 3812 w 4519"/>
                  <a:gd name="T87" fmla="*/ 4016 h 4864"/>
                  <a:gd name="T88" fmla="*/ 3827 w 4519"/>
                  <a:gd name="T89" fmla="*/ 4004 h 4864"/>
                  <a:gd name="T90" fmla="*/ 3842 w 4519"/>
                  <a:gd name="T91" fmla="*/ 3994 h 4864"/>
                  <a:gd name="T92" fmla="*/ 3858 w 4519"/>
                  <a:gd name="T93" fmla="*/ 3984 h 4864"/>
                  <a:gd name="T94" fmla="*/ 4091 w 4519"/>
                  <a:gd name="T95" fmla="*/ 3704 h 4864"/>
                  <a:gd name="T96" fmla="*/ 4409 w 4519"/>
                  <a:gd name="T97" fmla="*/ 3365 h 4864"/>
                  <a:gd name="T98" fmla="*/ 4320 w 4519"/>
                  <a:gd name="T99" fmla="*/ 1580 h 4864"/>
                  <a:gd name="T100" fmla="*/ 4011 w 4519"/>
                  <a:gd name="T101" fmla="*/ 1101 h 4864"/>
                  <a:gd name="T102" fmla="*/ 2881 w 4519"/>
                  <a:gd name="T103" fmla="*/ 57 h 4864"/>
                  <a:gd name="T104" fmla="*/ 2125 w 4519"/>
                  <a:gd name="T105" fmla="*/ 1 h 4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519" h="4864">
                    <a:moveTo>
                      <a:pt x="2125" y="1"/>
                    </a:moveTo>
                    <a:cubicBezTo>
                      <a:pt x="2100" y="0"/>
                      <a:pt x="2062" y="9"/>
                      <a:pt x="2012" y="26"/>
                    </a:cubicBezTo>
                    <a:cubicBezTo>
                      <a:pt x="1943" y="49"/>
                      <a:pt x="1843" y="74"/>
                      <a:pt x="1788" y="81"/>
                    </a:cubicBezTo>
                    <a:cubicBezTo>
                      <a:pt x="1662" y="98"/>
                      <a:pt x="1556" y="129"/>
                      <a:pt x="1517" y="160"/>
                    </a:cubicBezTo>
                    <a:cubicBezTo>
                      <a:pt x="1500" y="173"/>
                      <a:pt x="1454" y="186"/>
                      <a:pt x="1414" y="190"/>
                    </a:cubicBezTo>
                    <a:cubicBezTo>
                      <a:pt x="1374" y="193"/>
                      <a:pt x="1346" y="205"/>
                      <a:pt x="1353" y="216"/>
                    </a:cubicBezTo>
                    <a:cubicBezTo>
                      <a:pt x="1369" y="243"/>
                      <a:pt x="1260" y="277"/>
                      <a:pt x="1226" y="256"/>
                    </a:cubicBezTo>
                    <a:cubicBezTo>
                      <a:pt x="1211" y="247"/>
                      <a:pt x="1189" y="257"/>
                      <a:pt x="1176" y="279"/>
                    </a:cubicBezTo>
                    <a:cubicBezTo>
                      <a:pt x="1164" y="301"/>
                      <a:pt x="1128" y="323"/>
                      <a:pt x="1097" y="329"/>
                    </a:cubicBezTo>
                    <a:cubicBezTo>
                      <a:pt x="1064" y="335"/>
                      <a:pt x="1036" y="365"/>
                      <a:pt x="1031" y="402"/>
                    </a:cubicBezTo>
                    <a:cubicBezTo>
                      <a:pt x="1025" y="442"/>
                      <a:pt x="1003" y="466"/>
                      <a:pt x="970" y="466"/>
                    </a:cubicBezTo>
                    <a:cubicBezTo>
                      <a:pt x="913" y="466"/>
                      <a:pt x="642" y="751"/>
                      <a:pt x="601" y="854"/>
                    </a:cubicBezTo>
                    <a:cubicBezTo>
                      <a:pt x="588" y="889"/>
                      <a:pt x="564" y="917"/>
                      <a:pt x="549" y="917"/>
                    </a:cubicBezTo>
                    <a:cubicBezTo>
                      <a:pt x="534" y="917"/>
                      <a:pt x="514" y="943"/>
                      <a:pt x="504" y="974"/>
                    </a:cubicBezTo>
                    <a:cubicBezTo>
                      <a:pt x="494" y="1006"/>
                      <a:pt x="475" y="1024"/>
                      <a:pt x="460" y="1015"/>
                    </a:cubicBezTo>
                    <a:cubicBezTo>
                      <a:pt x="446" y="1006"/>
                      <a:pt x="442" y="1019"/>
                      <a:pt x="451" y="1043"/>
                    </a:cubicBezTo>
                    <a:cubicBezTo>
                      <a:pt x="461" y="1069"/>
                      <a:pt x="419" y="1170"/>
                      <a:pt x="354" y="1281"/>
                    </a:cubicBezTo>
                    <a:cubicBezTo>
                      <a:pt x="262" y="1435"/>
                      <a:pt x="81" y="1892"/>
                      <a:pt x="56" y="2032"/>
                    </a:cubicBezTo>
                    <a:cubicBezTo>
                      <a:pt x="54" y="2047"/>
                      <a:pt x="43" y="2073"/>
                      <a:pt x="33" y="2088"/>
                    </a:cubicBezTo>
                    <a:cubicBezTo>
                      <a:pt x="7" y="2132"/>
                      <a:pt x="0" y="2250"/>
                      <a:pt x="19" y="2328"/>
                    </a:cubicBezTo>
                    <a:cubicBezTo>
                      <a:pt x="37" y="2397"/>
                      <a:pt x="53" y="2617"/>
                      <a:pt x="78" y="3124"/>
                    </a:cubicBezTo>
                    <a:cubicBezTo>
                      <a:pt x="92" y="3384"/>
                      <a:pt x="137" y="3584"/>
                      <a:pt x="198" y="3657"/>
                    </a:cubicBezTo>
                    <a:cubicBezTo>
                      <a:pt x="219" y="3682"/>
                      <a:pt x="236" y="3710"/>
                      <a:pt x="236" y="3721"/>
                    </a:cubicBezTo>
                    <a:cubicBezTo>
                      <a:pt x="236" y="3765"/>
                      <a:pt x="454" y="4068"/>
                      <a:pt x="541" y="4145"/>
                    </a:cubicBezTo>
                    <a:cubicBezTo>
                      <a:pt x="575" y="4176"/>
                      <a:pt x="599" y="4208"/>
                      <a:pt x="613" y="4236"/>
                    </a:cubicBezTo>
                    <a:cubicBezTo>
                      <a:pt x="614" y="4237"/>
                      <a:pt x="615" y="4239"/>
                      <a:pt x="615" y="4240"/>
                    </a:cubicBezTo>
                    <a:cubicBezTo>
                      <a:pt x="616" y="4242"/>
                      <a:pt x="617" y="4243"/>
                      <a:pt x="617" y="4244"/>
                    </a:cubicBezTo>
                    <a:cubicBezTo>
                      <a:pt x="620" y="4248"/>
                      <a:pt x="625" y="4250"/>
                      <a:pt x="628" y="4254"/>
                    </a:cubicBezTo>
                    <a:cubicBezTo>
                      <a:pt x="630" y="4256"/>
                      <a:pt x="630" y="4259"/>
                      <a:pt x="632" y="4262"/>
                    </a:cubicBezTo>
                    <a:cubicBezTo>
                      <a:pt x="635" y="4265"/>
                      <a:pt x="640" y="4267"/>
                      <a:pt x="643" y="4271"/>
                    </a:cubicBezTo>
                    <a:cubicBezTo>
                      <a:pt x="644" y="4273"/>
                      <a:pt x="644" y="4277"/>
                      <a:pt x="645" y="4279"/>
                    </a:cubicBezTo>
                    <a:cubicBezTo>
                      <a:pt x="647" y="4282"/>
                      <a:pt x="650" y="4281"/>
                      <a:pt x="653" y="4284"/>
                    </a:cubicBezTo>
                    <a:cubicBezTo>
                      <a:pt x="655" y="4286"/>
                      <a:pt x="655" y="4290"/>
                      <a:pt x="658" y="4291"/>
                    </a:cubicBezTo>
                    <a:cubicBezTo>
                      <a:pt x="659" y="4292"/>
                      <a:pt x="662" y="4291"/>
                      <a:pt x="663" y="4291"/>
                    </a:cubicBezTo>
                    <a:cubicBezTo>
                      <a:pt x="664" y="4292"/>
                      <a:pt x="667" y="4300"/>
                      <a:pt x="668" y="4301"/>
                    </a:cubicBezTo>
                    <a:cubicBezTo>
                      <a:pt x="669" y="4303"/>
                      <a:pt x="671" y="4305"/>
                      <a:pt x="673" y="4306"/>
                    </a:cubicBezTo>
                    <a:cubicBezTo>
                      <a:pt x="674" y="4307"/>
                      <a:pt x="674" y="4309"/>
                      <a:pt x="675" y="4309"/>
                    </a:cubicBezTo>
                    <a:cubicBezTo>
                      <a:pt x="677" y="4310"/>
                      <a:pt x="680" y="4308"/>
                      <a:pt x="681" y="4309"/>
                    </a:cubicBezTo>
                    <a:cubicBezTo>
                      <a:pt x="684" y="4312"/>
                      <a:pt x="682" y="4315"/>
                      <a:pt x="685" y="4319"/>
                    </a:cubicBezTo>
                    <a:cubicBezTo>
                      <a:pt x="686" y="4319"/>
                      <a:pt x="687" y="4318"/>
                      <a:pt x="688" y="4319"/>
                    </a:cubicBezTo>
                    <a:cubicBezTo>
                      <a:pt x="690" y="4320"/>
                      <a:pt x="691" y="4323"/>
                      <a:pt x="693" y="4324"/>
                    </a:cubicBezTo>
                    <a:cubicBezTo>
                      <a:pt x="695" y="4325"/>
                      <a:pt x="697" y="4326"/>
                      <a:pt x="698" y="4327"/>
                    </a:cubicBezTo>
                    <a:cubicBezTo>
                      <a:pt x="699" y="4327"/>
                      <a:pt x="700" y="4329"/>
                      <a:pt x="701" y="4329"/>
                    </a:cubicBezTo>
                    <a:cubicBezTo>
                      <a:pt x="702" y="4330"/>
                      <a:pt x="702" y="4331"/>
                      <a:pt x="703" y="4332"/>
                    </a:cubicBezTo>
                    <a:cubicBezTo>
                      <a:pt x="703" y="4333"/>
                      <a:pt x="702" y="4333"/>
                      <a:pt x="703" y="4334"/>
                    </a:cubicBezTo>
                    <a:cubicBezTo>
                      <a:pt x="703" y="4334"/>
                      <a:pt x="705" y="4333"/>
                      <a:pt x="705" y="4334"/>
                    </a:cubicBezTo>
                    <a:cubicBezTo>
                      <a:pt x="706" y="4334"/>
                      <a:pt x="705" y="4336"/>
                      <a:pt x="705" y="4336"/>
                    </a:cubicBezTo>
                    <a:cubicBezTo>
                      <a:pt x="706" y="4337"/>
                      <a:pt x="707" y="4336"/>
                      <a:pt x="708" y="4336"/>
                    </a:cubicBezTo>
                    <a:cubicBezTo>
                      <a:pt x="711" y="4338"/>
                      <a:pt x="713" y="4343"/>
                      <a:pt x="716" y="4344"/>
                    </a:cubicBezTo>
                    <a:cubicBezTo>
                      <a:pt x="717" y="4345"/>
                      <a:pt x="718" y="4344"/>
                      <a:pt x="719" y="4344"/>
                    </a:cubicBezTo>
                    <a:cubicBezTo>
                      <a:pt x="720" y="4346"/>
                      <a:pt x="721" y="4348"/>
                      <a:pt x="723" y="4350"/>
                    </a:cubicBezTo>
                    <a:cubicBezTo>
                      <a:pt x="724" y="4350"/>
                      <a:pt x="725" y="4349"/>
                      <a:pt x="726" y="4350"/>
                    </a:cubicBezTo>
                    <a:cubicBezTo>
                      <a:pt x="731" y="4355"/>
                      <a:pt x="718" y="4349"/>
                      <a:pt x="728" y="4354"/>
                    </a:cubicBezTo>
                    <a:cubicBezTo>
                      <a:pt x="729" y="4354"/>
                      <a:pt x="730" y="4354"/>
                      <a:pt x="731" y="4354"/>
                    </a:cubicBezTo>
                    <a:cubicBezTo>
                      <a:pt x="732" y="4355"/>
                      <a:pt x="730" y="4356"/>
                      <a:pt x="731" y="4357"/>
                    </a:cubicBezTo>
                    <a:cubicBezTo>
                      <a:pt x="745" y="4357"/>
                      <a:pt x="732" y="4355"/>
                      <a:pt x="736" y="4359"/>
                    </a:cubicBezTo>
                    <a:cubicBezTo>
                      <a:pt x="737" y="4360"/>
                      <a:pt x="737" y="4359"/>
                      <a:pt x="738" y="4359"/>
                    </a:cubicBezTo>
                    <a:lnTo>
                      <a:pt x="741" y="4365"/>
                    </a:lnTo>
                    <a:cubicBezTo>
                      <a:pt x="742" y="4365"/>
                      <a:pt x="743" y="4364"/>
                      <a:pt x="743" y="4365"/>
                    </a:cubicBezTo>
                    <a:cubicBezTo>
                      <a:pt x="744" y="4365"/>
                      <a:pt x="743" y="4367"/>
                      <a:pt x="743" y="4367"/>
                    </a:cubicBezTo>
                    <a:cubicBezTo>
                      <a:pt x="745" y="4368"/>
                      <a:pt x="747" y="4367"/>
                      <a:pt x="749" y="4367"/>
                    </a:cubicBezTo>
                    <a:cubicBezTo>
                      <a:pt x="749" y="4368"/>
                      <a:pt x="748" y="4369"/>
                      <a:pt x="749" y="4369"/>
                    </a:cubicBezTo>
                    <a:cubicBezTo>
                      <a:pt x="751" y="4370"/>
                      <a:pt x="753" y="4371"/>
                      <a:pt x="756" y="4372"/>
                    </a:cubicBezTo>
                    <a:cubicBezTo>
                      <a:pt x="756" y="4373"/>
                      <a:pt x="755" y="4374"/>
                      <a:pt x="756" y="4374"/>
                    </a:cubicBezTo>
                    <a:cubicBezTo>
                      <a:pt x="756" y="4375"/>
                      <a:pt x="758" y="4374"/>
                      <a:pt x="758" y="4374"/>
                    </a:cubicBezTo>
                    <a:cubicBezTo>
                      <a:pt x="760" y="4375"/>
                      <a:pt x="762" y="4376"/>
                      <a:pt x="764" y="4377"/>
                    </a:cubicBezTo>
                    <a:cubicBezTo>
                      <a:pt x="766" y="4378"/>
                      <a:pt x="769" y="4378"/>
                      <a:pt x="772" y="4380"/>
                    </a:cubicBezTo>
                    <a:cubicBezTo>
                      <a:pt x="773" y="4380"/>
                      <a:pt x="772" y="4382"/>
                      <a:pt x="773" y="4382"/>
                    </a:cubicBezTo>
                    <a:cubicBezTo>
                      <a:pt x="774" y="4383"/>
                      <a:pt x="775" y="4382"/>
                      <a:pt x="776" y="4382"/>
                    </a:cubicBezTo>
                    <a:cubicBezTo>
                      <a:pt x="777" y="4383"/>
                      <a:pt x="778" y="4384"/>
                      <a:pt x="779" y="4385"/>
                    </a:cubicBezTo>
                    <a:cubicBezTo>
                      <a:pt x="779" y="4385"/>
                      <a:pt x="780" y="4385"/>
                      <a:pt x="781" y="4385"/>
                    </a:cubicBezTo>
                    <a:cubicBezTo>
                      <a:pt x="783" y="4386"/>
                      <a:pt x="785" y="4386"/>
                      <a:pt x="787" y="4387"/>
                    </a:cubicBezTo>
                    <a:cubicBezTo>
                      <a:pt x="788" y="4387"/>
                      <a:pt x="788" y="4389"/>
                      <a:pt x="789" y="4389"/>
                    </a:cubicBezTo>
                    <a:cubicBezTo>
                      <a:pt x="790" y="4390"/>
                      <a:pt x="790" y="4389"/>
                      <a:pt x="791" y="4389"/>
                    </a:cubicBezTo>
                    <a:cubicBezTo>
                      <a:pt x="792" y="4390"/>
                      <a:pt x="790" y="4391"/>
                      <a:pt x="791" y="4392"/>
                    </a:cubicBezTo>
                    <a:cubicBezTo>
                      <a:pt x="792" y="4393"/>
                      <a:pt x="793" y="4392"/>
                      <a:pt x="794" y="4392"/>
                    </a:cubicBezTo>
                    <a:cubicBezTo>
                      <a:pt x="796" y="4393"/>
                      <a:pt x="797" y="4397"/>
                      <a:pt x="799" y="4397"/>
                    </a:cubicBezTo>
                    <a:cubicBezTo>
                      <a:pt x="810" y="4401"/>
                      <a:pt x="798" y="4393"/>
                      <a:pt x="809" y="4400"/>
                    </a:cubicBezTo>
                    <a:cubicBezTo>
                      <a:pt x="810" y="4401"/>
                      <a:pt x="810" y="4402"/>
                      <a:pt x="811" y="4403"/>
                    </a:cubicBezTo>
                    <a:cubicBezTo>
                      <a:pt x="813" y="4403"/>
                      <a:pt x="815" y="4403"/>
                      <a:pt x="817" y="4404"/>
                    </a:cubicBezTo>
                    <a:cubicBezTo>
                      <a:pt x="819" y="4406"/>
                      <a:pt x="820" y="4409"/>
                      <a:pt x="822" y="4410"/>
                    </a:cubicBezTo>
                    <a:cubicBezTo>
                      <a:pt x="823" y="4410"/>
                      <a:pt x="825" y="4409"/>
                      <a:pt x="826" y="4410"/>
                    </a:cubicBezTo>
                    <a:cubicBezTo>
                      <a:pt x="828" y="4411"/>
                      <a:pt x="827" y="4414"/>
                      <a:pt x="829" y="4415"/>
                    </a:cubicBezTo>
                    <a:cubicBezTo>
                      <a:pt x="831" y="4417"/>
                      <a:pt x="834" y="4416"/>
                      <a:pt x="837" y="4418"/>
                    </a:cubicBezTo>
                    <a:cubicBezTo>
                      <a:pt x="839" y="4419"/>
                      <a:pt x="840" y="4421"/>
                      <a:pt x="842" y="4422"/>
                    </a:cubicBezTo>
                    <a:cubicBezTo>
                      <a:pt x="843" y="4422"/>
                      <a:pt x="843" y="4422"/>
                      <a:pt x="844" y="4422"/>
                    </a:cubicBezTo>
                    <a:cubicBezTo>
                      <a:pt x="845" y="4423"/>
                      <a:pt x="845" y="4424"/>
                      <a:pt x="847" y="4425"/>
                    </a:cubicBezTo>
                    <a:cubicBezTo>
                      <a:pt x="847" y="4425"/>
                      <a:pt x="848" y="4425"/>
                      <a:pt x="849" y="4425"/>
                    </a:cubicBezTo>
                    <a:cubicBezTo>
                      <a:pt x="850" y="4425"/>
                      <a:pt x="851" y="4427"/>
                      <a:pt x="852" y="4427"/>
                    </a:cubicBezTo>
                    <a:cubicBezTo>
                      <a:pt x="853" y="4428"/>
                      <a:pt x="854" y="4427"/>
                      <a:pt x="854" y="4427"/>
                    </a:cubicBezTo>
                    <a:cubicBezTo>
                      <a:pt x="862" y="4431"/>
                      <a:pt x="851" y="4429"/>
                      <a:pt x="860" y="4435"/>
                    </a:cubicBezTo>
                    <a:cubicBezTo>
                      <a:pt x="861" y="4436"/>
                      <a:pt x="863" y="4434"/>
                      <a:pt x="864" y="4435"/>
                    </a:cubicBezTo>
                    <a:cubicBezTo>
                      <a:pt x="867" y="4437"/>
                      <a:pt x="866" y="4441"/>
                      <a:pt x="869" y="4442"/>
                    </a:cubicBezTo>
                    <a:cubicBezTo>
                      <a:pt x="871" y="4443"/>
                      <a:pt x="873" y="4441"/>
                      <a:pt x="875" y="4442"/>
                    </a:cubicBezTo>
                    <a:cubicBezTo>
                      <a:pt x="885" y="4449"/>
                      <a:pt x="868" y="4447"/>
                      <a:pt x="882" y="4450"/>
                    </a:cubicBezTo>
                    <a:cubicBezTo>
                      <a:pt x="883" y="4451"/>
                      <a:pt x="886" y="4449"/>
                      <a:pt x="887" y="4450"/>
                    </a:cubicBezTo>
                    <a:cubicBezTo>
                      <a:pt x="888" y="4451"/>
                      <a:pt x="887" y="4452"/>
                      <a:pt x="887" y="4453"/>
                    </a:cubicBezTo>
                    <a:cubicBezTo>
                      <a:pt x="888" y="4453"/>
                      <a:pt x="889" y="4452"/>
                      <a:pt x="890" y="4453"/>
                    </a:cubicBezTo>
                    <a:cubicBezTo>
                      <a:pt x="890" y="4453"/>
                      <a:pt x="889" y="4455"/>
                      <a:pt x="890" y="4455"/>
                    </a:cubicBezTo>
                    <a:cubicBezTo>
                      <a:pt x="892" y="4458"/>
                      <a:pt x="892" y="4456"/>
                      <a:pt x="892" y="4455"/>
                    </a:cubicBezTo>
                    <a:cubicBezTo>
                      <a:pt x="893" y="4455"/>
                      <a:pt x="894" y="4455"/>
                      <a:pt x="895" y="4457"/>
                    </a:cubicBezTo>
                    <a:cubicBezTo>
                      <a:pt x="895" y="4458"/>
                      <a:pt x="894" y="4459"/>
                      <a:pt x="895" y="4460"/>
                    </a:cubicBezTo>
                    <a:cubicBezTo>
                      <a:pt x="896" y="4460"/>
                      <a:pt x="896" y="4460"/>
                      <a:pt x="897" y="4460"/>
                    </a:cubicBezTo>
                    <a:cubicBezTo>
                      <a:pt x="899" y="4461"/>
                      <a:pt x="903" y="4467"/>
                      <a:pt x="905" y="4468"/>
                    </a:cubicBezTo>
                    <a:cubicBezTo>
                      <a:pt x="907" y="4468"/>
                      <a:pt x="910" y="4467"/>
                      <a:pt x="913" y="4468"/>
                    </a:cubicBezTo>
                    <a:cubicBezTo>
                      <a:pt x="914" y="4469"/>
                      <a:pt x="913" y="4472"/>
                      <a:pt x="914" y="4473"/>
                    </a:cubicBezTo>
                    <a:cubicBezTo>
                      <a:pt x="916" y="4474"/>
                      <a:pt x="918" y="4473"/>
                      <a:pt x="920" y="4473"/>
                    </a:cubicBezTo>
                    <a:cubicBezTo>
                      <a:pt x="932" y="4476"/>
                      <a:pt x="920" y="4474"/>
                      <a:pt x="928" y="4478"/>
                    </a:cubicBezTo>
                    <a:cubicBezTo>
                      <a:pt x="928" y="4478"/>
                      <a:pt x="929" y="4478"/>
                      <a:pt x="930" y="4478"/>
                    </a:cubicBezTo>
                    <a:cubicBezTo>
                      <a:pt x="932" y="4479"/>
                      <a:pt x="933" y="4482"/>
                      <a:pt x="935" y="4483"/>
                    </a:cubicBezTo>
                    <a:cubicBezTo>
                      <a:pt x="935" y="4483"/>
                      <a:pt x="937" y="4482"/>
                      <a:pt x="937" y="4483"/>
                    </a:cubicBezTo>
                    <a:cubicBezTo>
                      <a:pt x="940" y="4485"/>
                      <a:pt x="938" y="4486"/>
                      <a:pt x="936" y="4485"/>
                    </a:cubicBezTo>
                    <a:cubicBezTo>
                      <a:pt x="937" y="4486"/>
                      <a:pt x="938" y="4487"/>
                      <a:pt x="940" y="4488"/>
                    </a:cubicBezTo>
                    <a:cubicBezTo>
                      <a:pt x="941" y="4488"/>
                      <a:pt x="942" y="4488"/>
                      <a:pt x="943" y="4488"/>
                    </a:cubicBezTo>
                    <a:cubicBezTo>
                      <a:pt x="961" y="4494"/>
                      <a:pt x="938" y="4487"/>
                      <a:pt x="950" y="4493"/>
                    </a:cubicBezTo>
                    <a:cubicBezTo>
                      <a:pt x="950" y="4493"/>
                      <a:pt x="952" y="4493"/>
                      <a:pt x="952" y="4493"/>
                    </a:cubicBezTo>
                    <a:cubicBezTo>
                      <a:pt x="954" y="4493"/>
                      <a:pt x="956" y="4494"/>
                      <a:pt x="958" y="4495"/>
                    </a:cubicBezTo>
                    <a:cubicBezTo>
                      <a:pt x="959" y="4496"/>
                      <a:pt x="959" y="4497"/>
                      <a:pt x="960" y="4498"/>
                    </a:cubicBezTo>
                    <a:cubicBezTo>
                      <a:pt x="962" y="4499"/>
                      <a:pt x="964" y="4497"/>
                      <a:pt x="966" y="4498"/>
                    </a:cubicBezTo>
                    <a:cubicBezTo>
                      <a:pt x="968" y="4499"/>
                      <a:pt x="968" y="4502"/>
                      <a:pt x="970" y="4503"/>
                    </a:cubicBezTo>
                    <a:cubicBezTo>
                      <a:pt x="971" y="4503"/>
                      <a:pt x="972" y="4503"/>
                      <a:pt x="973" y="4503"/>
                    </a:cubicBezTo>
                    <a:cubicBezTo>
                      <a:pt x="974" y="4504"/>
                      <a:pt x="974" y="4505"/>
                      <a:pt x="975" y="4506"/>
                    </a:cubicBezTo>
                    <a:cubicBezTo>
                      <a:pt x="981" y="4509"/>
                      <a:pt x="973" y="4499"/>
                      <a:pt x="983" y="4508"/>
                    </a:cubicBezTo>
                    <a:cubicBezTo>
                      <a:pt x="984" y="4509"/>
                      <a:pt x="982" y="4510"/>
                      <a:pt x="983" y="4510"/>
                    </a:cubicBezTo>
                    <a:cubicBezTo>
                      <a:pt x="991" y="4514"/>
                      <a:pt x="985" y="4505"/>
                      <a:pt x="993" y="4513"/>
                    </a:cubicBezTo>
                    <a:cubicBezTo>
                      <a:pt x="994" y="4513"/>
                      <a:pt x="992" y="4515"/>
                      <a:pt x="993" y="4515"/>
                    </a:cubicBezTo>
                    <a:cubicBezTo>
                      <a:pt x="994" y="4516"/>
                      <a:pt x="995" y="4515"/>
                      <a:pt x="996" y="4515"/>
                    </a:cubicBezTo>
                    <a:cubicBezTo>
                      <a:pt x="996" y="4516"/>
                      <a:pt x="995" y="4518"/>
                      <a:pt x="996" y="4518"/>
                    </a:cubicBezTo>
                    <a:cubicBezTo>
                      <a:pt x="996" y="4519"/>
                      <a:pt x="998" y="4518"/>
                      <a:pt x="998" y="4518"/>
                    </a:cubicBezTo>
                    <a:cubicBezTo>
                      <a:pt x="1002" y="4521"/>
                      <a:pt x="993" y="4521"/>
                      <a:pt x="1001" y="4523"/>
                    </a:cubicBezTo>
                    <a:cubicBezTo>
                      <a:pt x="1002" y="4524"/>
                      <a:pt x="1004" y="4523"/>
                      <a:pt x="1005" y="4523"/>
                    </a:cubicBezTo>
                    <a:cubicBezTo>
                      <a:pt x="1006" y="4524"/>
                      <a:pt x="1007" y="4525"/>
                      <a:pt x="1008" y="4526"/>
                    </a:cubicBezTo>
                    <a:cubicBezTo>
                      <a:pt x="1011" y="4528"/>
                      <a:pt x="1015" y="4528"/>
                      <a:pt x="1018" y="4530"/>
                    </a:cubicBezTo>
                    <a:cubicBezTo>
                      <a:pt x="1020" y="4532"/>
                      <a:pt x="1021" y="4534"/>
                      <a:pt x="1023" y="4536"/>
                    </a:cubicBezTo>
                    <a:cubicBezTo>
                      <a:pt x="1024" y="4536"/>
                      <a:pt x="1025" y="4535"/>
                      <a:pt x="1026" y="4536"/>
                    </a:cubicBezTo>
                    <a:cubicBezTo>
                      <a:pt x="1028" y="4537"/>
                      <a:pt x="1029" y="4540"/>
                      <a:pt x="1031" y="4541"/>
                    </a:cubicBezTo>
                    <a:cubicBezTo>
                      <a:pt x="1032" y="4542"/>
                      <a:pt x="1035" y="4543"/>
                      <a:pt x="1036" y="4544"/>
                    </a:cubicBezTo>
                    <a:cubicBezTo>
                      <a:pt x="1037" y="4544"/>
                      <a:pt x="1037" y="4545"/>
                      <a:pt x="1038" y="4545"/>
                    </a:cubicBezTo>
                    <a:cubicBezTo>
                      <a:pt x="1039" y="4546"/>
                      <a:pt x="1040" y="4545"/>
                      <a:pt x="1041" y="4545"/>
                    </a:cubicBezTo>
                    <a:cubicBezTo>
                      <a:pt x="1042" y="4547"/>
                      <a:pt x="1043" y="4552"/>
                      <a:pt x="1046" y="4553"/>
                    </a:cubicBezTo>
                    <a:cubicBezTo>
                      <a:pt x="1057" y="4553"/>
                      <a:pt x="1046" y="4552"/>
                      <a:pt x="1054" y="4556"/>
                    </a:cubicBezTo>
                    <a:cubicBezTo>
                      <a:pt x="1055" y="4556"/>
                      <a:pt x="1055" y="4555"/>
                      <a:pt x="1056" y="4556"/>
                    </a:cubicBezTo>
                    <a:cubicBezTo>
                      <a:pt x="1057" y="4557"/>
                      <a:pt x="1057" y="4560"/>
                      <a:pt x="1058" y="4561"/>
                    </a:cubicBezTo>
                    <a:cubicBezTo>
                      <a:pt x="1059" y="4562"/>
                      <a:pt x="1060" y="4561"/>
                      <a:pt x="1061" y="4561"/>
                    </a:cubicBezTo>
                    <a:cubicBezTo>
                      <a:pt x="1063" y="4562"/>
                      <a:pt x="1064" y="4565"/>
                      <a:pt x="1066" y="4566"/>
                    </a:cubicBezTo>
                    <a:cubicBezTo>
                      <a:pt x="1068" y="4566"/>
                      <a:pt x="1070" y="4565"/>
                      <a:pt x="1071" y="4566"/>
                    </a:cubicBezTo>
                    <a:cubicBezTo>
                      <a:pt x="1072" y="4566"/>
                      <a:pt x="1071" y="4568"/>
                      <a:pt x="1071" y="4568"/>
                    </a:cubicBezTo>
                    <a:cubicBezTo>
                      <a:pt x="1072" y="4569"/>
                      <a:pt x="1073" y="4568"/>
                      <a:pt x="1073" y="4568"/>
                    </a:cubicBezTo>
                    <a:cubicBezTo>
                      <a:pt x="1074" y="4570"/>
                      <a:pt x="1074" y="4573"/>
                      <a:pt x="1076" y="4574"/>
                    </a:cubicBezTo>
                    <a:cubicBezTo>
                      <a:pt x="1093" y="4579"/>
                      <a:pt x="1077" y="4571"/>
                      <a:pt x="1086" y="4581"/>
                    </a:cubicBezTo>
                    <a:cubicBezTo>
                      <a:pt x="1088" y="4582"/>
                      <a:pt x="1090" y="4580"/>
                      <a:pt x="1091" y="4581"/>
                    </a:cubicBezTo>
                    <a:cubicBezTo>
                      <a:pt x="1091" y="4581"/>
                      <a:pt x="1090" y="4583"/>
                      <a:pt x="1091" y="4583"/>
                    </a:cubicBezTo>
                    <a:cubicBezTo>
                      <a:pt x="1092" y="4585"/>
                      <a:pt x="1095" y="4585"/>
                      <a:pt x="1096" y="4586"/>
                    </a:cubicBezTo>
                    <a:cubicBezTo>
                      <a:pt x="1097" y="4587"/>
                      <a:pt x="1097" y="4590"/>
                      <a:pt x="1099" y="4591"/>
                    </a:cubicBezTo>
                    <a:cubicBezTo>
                      <a:pt x="1099" y="4592"/>
                      <a:pt x="1101" y="4591"/>
                      <a:pt x="1101" y="4591"/>
                    </a:cubicBezTo>
                    <a:cubicBezTo>
                      <a:pt x="1102" y="4592"/>
                      <a:pt x="1108" y="4598"/>
                      <a:pt x="1108" y="4598"/>
                    </a:cubicBezTo>
                    <a:cubicBezTo>
                      <a:pt x="1109" y="4599"/>
                      <a:pt x="1108" y="4600"/>
                      <a:pt x="1108" y="4601"/>
                    </a:cubicBezTo>
                    <a:cubicBezTo>
                      <a:pt x="1109" y="4602"/>
                      <a:pt x="1111" y="4600"/>
                      <a:pt x="1111" y="4601"/>
                    </a:cubicBezTo>
                    <a:cubicBezTo>
                      <a:pt x="1112" y="4602"/>
                      <a:pt x="1110" y="4605"/>
                      <a:pt x="1111" y="4606"/>
                    </a:cubicBezTo>
                    <a:cubicBezTo>
                      <a:pt x="1113" y="4608"/>
                      <a:pt x="1117" y="4607"/>
                      <a:pt x="1119" y="4609"/>
                    </a:cubicBezTo>
                    <a:cubicBezTo>
                      <a:pt x="1120" y="4610"/>
                      <a:pt x="1120" y="4611"/>
                      <a:pt x="1121" y="4612"/>
                    </a:cubicBezTo>
                    <a:cubicBezTo>
                      <a:pt x="1150" y="4620"/>
                      <a:pt x="1189" y="4627"/>
                      <a:pt x="1230" y="4632"/>
                    </a:cubicBezTo>
                    <a:cubicBezTo>
                      <a:pt x="1296" y="4640"/>
                      <a:pt x="1413" y="4678"/>
                      <a:pt x="1491" y="4717"/>
                    </a:cubicBezTo>
                    <a:cubicBezTo>
                      <a:pt x="1653" y="4799"/>
                      <a:pt x="1785" y="4825"/>
                      <a:pt x="2035" y="4826"/>
                    </a:cubicBezTo>
                    <a:cubicBezTo>
                      <a:pt x="2132" y="4826"/>
                      <a:pt x="2212" y="4837"/>
                      <a:pt x="2212" y="4851"/>
                    </a:cubicBezTo>
                    <a:cubicBezTo>
                      <a:pt x="2212" y="4864"/>
                      <a:pt x="2228" y="4862"/>
                      <a:pt x="2247" y="4846"/>
                    </a:cubicBezTo>
                    <a:cubicBezTo>
                      <a:pt x="2266" y="4830"/>
                      <a:pt x="2324" y="4820"/>
                      <a:pt x="2375" y="4823"/>
                    </a:cubicBezTo>
                    <a:cubicBezTo>
                      <a:pt x="2440" y="4828"/>
                      <a:pt x="2463" y="4819"/>
                      <a:pt x="2453" y="4793"/>
                    </a:cubicBezTo>
                    <a:cubicBezTo>
                      <a:pt x="2446" y="4773"/>
                      <a:pt x="2452" y="4750"/>
                      <a:pt x="2467" y="4740"/>
                    </a:cubicBezTo>
                    <a:cubicBezTo>
                      <a:pt x="2481" y="4731"/>
                      <a:pt x="2494" y="4740"/>
                      <a:pt x="2495" y="4761"/>
                    </a:cubicBezTo>
                    <a:cubicBezTo>
                      <a:pt x="2495" y="4783"/>
                      <a:pt x="2506" y="4779"/>
                      <a:pt x="2524" y="4748"/>
                    </a:cubicBezTo>
                    <a:cubicBezTo>
                      <a:pt x="2540" y="4721"/>
                      <a:pt x="2587" y="4698"/>
                      <a:pt x="2629" y="4698"/>
                    </a:cubicBezTo>
                    <a:cubicBezTo>
                      <a:pt x="2671" y="4698"/>
                      <a:pt x="2737" y="4673"/>
                      <a:pt x="2776" y="4642"/>
                    </a:cubicBezTo>
                    <a:cubicBezTo>
                      <a:pt x="2815" y="4612"/>
                      <a:pt x="2868" y="4587"/>
                      <a:pt x="2894" y="4587"/>
                    </a:cubicBezTo>
                    <a:cubicBezTo>
                      <a:pt x="2921" y="4587"/>
                      <a:pt x="2949" y="4574"/>
                      <a:pt x="2959" y="4559"/>
                    </a:cubicBezTo>
                    <a:cubicBezTo>
                      <a:pt x="2968" y="4544"/>
                      <a:pt x="3020" y="4510"/>
                      <a:pt x="3073" y="4485"/>
                    </a:cubicBezTo>
                    <a:cubicBezTo>
                      <a:pt x="3127" y="4459"/>
                      <a:pt x="3171" y="4418"/>
                      <a:pt x="3171" y="4394"/>
                    </a:cubicBezTo>
                    <a:cubicBezTo>
                      <a:pt x="3171" y="4358"/>
                      <a:pt x="3180" y="4360"/>
                      <a:pt x="3215" y="4404"/>
                    </a:cubicBezTo>
                    <a:cubicBezTo>
                      <a:pt x="3256" y="4457"/>
                      <a:pt x="3257" y="4457"/>
                      <a:pt x="3250" y="4405"/>
                    </a:cubicBezTo>
                    <a:cubicBezTo>
                      <a:pt x="3245" y="4376"/>
                      <a:pt x="3258" y="4347"/>
                      <a:pt x="3277" y="4340"/>
                    </a:cubicBezTo>
                    <a:cubicBezTo>
                      <a:pt x="3297" y="4333"/>
                      <a:pt x="3312" y="4340"/>
                      <a:pt x="3312" y="4355"/>
                    </a:cubicBezTo>
                    <a:cubicBezTo>
                      <a:pt x="3312" y="4370"/>
                      <a:pt x="3373" y="4327"/>
                      <a:pt x="3446" y="4259"/>
                    </a:cubicBezTo>
                    <a:cubicBezTo>
                      <a:pt x="3516" y="4195"/>
                      <a:pt x="3560" y="4158"/>
                      <a:pt x="3587" y="4144"/>
                    </a:cubicBezTo>
                    <a:cubicBezTo>
                      <a:pt x="3587" y="4144"/>
                      <a:pt x="3588" y="4143"/>
                      <a:pt x="3588" y="4142"/>
                    </a:cubicBezTo>
                    <a:cubicBezTo>
                      <a:pt x="3592" y="4139"/>
                      <a:pt x="3595" y="4136"/>
                      <a:pt x="3598" y="4133"/>
                    </a:cubicBezTo>
                    <a:cubicBezTo>
                      <a:pt x="3600" y="4131"/>
                      <a:pt x="3604" y="4129"/>
                      <a:pt x="3606" y="4127"/>
                    </a:cubicBezTo>
                    <a:cubicBezTo>
                      <a:pt x="3610" y="4124"/>
                      <a:pt x="3609" y="4125"/>
                      <a:pt x="3608" y="4125"/>
                    </a:cubicBezTo>
                    <a:cubicBezTo>
                      <a:pt x="3608" y="4124"/>
                      <a:pt x="3609" y="4123"/>
                      <a:pt x="3611" y="4120"/>
                    </a:cubicBezTo>
                    <a:cubicBezTo>
                      <a:pt x="3613" y="4119"/>
                      <a:pt x="3614" y="4119"/>
                      <a:pt x="3616" y="4118"/>
                    </a:cubicBezTo>
                    <a:cubicBezTo>
                      <a:pt x="3618" y="4116"/>
                      <a:pt x="3619" y="4114"/>
                      <a:pt x="3621" y="4112"/>
                    </a:cubicBezTo>
                    <a:cubicBezTo>
                      <a:pt x="3630" y="4107"/>
                      <a:pt x="3627" y="4112"/>
                      <a:pt x="3633" y="4107"/>
                    </a:cubicBezTo>
                    <a:cubicBezTo>
                      <a:pt x="3635" y="4106"/>
                      <a:pt x="3637" y="4104"/>
                      <a:pt x="3639" y="4103"/>
                    </a:cubicBezTo>
                    <a:cubicBezTo>
                      <a:pt x="3641" y="4101"/>
                      <a:pt x="3644" y="4101"/>
                      <a:pt x="3647" y="4100"/>
                    </a:cubicBezTo>
                    <a:cubicBezTo>
                      <a:pt x="3651" y="4098"/>
                      <a:pt x="3659" y="4092"/>
                      <a:pt x="3664" y="4089"/>
                    </a:cubicBezTo>
                    <a:cubicBezTo>
                      <a:pt x="3669" y="4088"/>
                      <a:pt x="3674" y="4087"/>
                      <a:pt x="3679" y="4085"/>
                    </a:cubicBezTo>
                    <a:cubicBezTo>
                      <a:pt x="3681" y="4084"/>
                      <a:pt x="3682" y="4083"/>
                      <a:pt x="3684" y="4082"/>
                    </a:cubicBezTo>
                    <a:cubicBezTo>
                      <a:pt x="3686" y="4081"/>
                      <a:pt x="3689" y="4081"/>
                      <a:pt x="3692" y="4080"/>
                    </a:cubicBezTo>
                    <a:cubicBezTo>
                      <a:pt x="3694" y="4079"/>
                      <a:pt x="3695" y="4076"/>
                      <a:pt x="3697" y="4074"/>
                    </a:cubicBezTo>
                    <a:cubicBezTo>
                      <a:pt x="3698" y="4068"/>
                      <a:pt x="3702" y="4073"/>
                      <a:pt x="3704" y="4072"/>
                    </a:cubicBezTo>
                    <a:cubicBezTo>
                      <a:pt x="3713" y="4066"/>
                      <a:pt x="3705" y="4067"/>
                      <a:pt x="3717" y="4065"/>
                    </a:cubicBezTo>
                    <a:cubicBezTo>
                      <a:pt x="3721" y="4064"/>
                      <a:pt x="3721" y="4064"/>
                      <a:pt x="3722" y="4064"/>
                    </a:cubicBezTo>
                    <a:cubicBezTo>
                      <a:pt x="3723" y="4063"/>
                      <a:pt x="3725" y="4060"/>
                      <a:pt x="3730" y="4057"/>
                    </a:cubicBezTo>
                    <a:cubicBezTo>
                      <a:pt x="3731" y="4056"/>
                      <a:pt x="3733" y="4057"/>
                      <a:pt x="3735" y="4057"/>
                    </a:cubicBezTo>
                    <a:cubicBezTo>
                      <a:pt x="3739" y="4055"/>
                      <a:pt x="3740" y="4055"/>
                      <a:pt x="3741" y="4054"/>
                    </a:cubicBezTo>
                    <a:cubicBezTo>
                      <a:pt x="3739" y="4054"/>
                      <a:pt x="3736" y="4054"/>
                      <a:pt x="3742" y="4052"/>
                    </a:cubicBezTo>
                    <a:cubicBezTo>
                      <a:pt x="3743" y="4051"/>
                      <a:pt x="3744" y="4052"/>
                      <a:pt x="3745" y="4052"/>
                    </a:cubicBezTo>
                    <a:cubicBezTo>
                      <a:pt x="3746" y="4051"/>
                      <a:pt x="3746" y="4051"/>
                      <a:pt x="3747" y="4050"/>
                    </a:cubicBezTo>
                    <a:cubicBezTo>
                      <a:pt x="3750" y="4047"/>
                      <a:pt x="3750" y="4046"/>
                      <a:pt x="3754" y="4044"/>
                    </a:cubicBezTo>
                    <a:cubicBezTo>
                      <a:pt x="3755" y="4044"/>
                      <a:pt x="3756" y="4045"/>
                      <a:pt x="3757" y="4044"/>
                    </a:cubicBezTo>
                    <a:cubicBezTo>
                      <a:pt x="3761" y="4043"/>
                      <a:pt x="3763" y="4042"/>
                      <a:pt x="3763" y="4042"/>
                    </a:cubicBezTo>
                    <a:cubicBezTo>
                      <a:pt x="3762" y="4042"/>
                      <a:pt x="3762" y="4041"/>
                      <a:pt x="3770" y="4039"/>
                    </a:cubicBezTo>
                    <a:cubicBezTo>
                      <a:pt x="3771" y="4039"/>
                      <a:pt x="3771" y="4040"/>
                      <a:pt x="3772" y="4039"/>
                    </a:cubicBezTo>
                    <a:cubicBezTo>
                      <a:pt x="3773" y="4038"/>
                      <a:pt x="3773" y="4035"/>
                      <a:pt x="3775" y="4034"/>
                    </a:cubicBezTo>
                    <a:cubicBezTo>
                      <a:pt x="3776" y="4033"/>
                      <a:pt x="3778" y="4034"/>
                      <a:pt x="3780" y="4034"/>
                    </a:cubicBezTo>
                    <a:cubicBezTo>
                      <a:pt x="3784" y="4034"/>
                      <a:pt x="3794" y="4036"/>
                      <a:pt x="3797" y="4032"/>
                    </a:cubicBezTo>
                    <a:cubicBezTo>
                      <a:pt x="3799" y="4031"/>
                      <a:pt x="3800" y="4025"/>
                      <a:pt x="3803" y="4024"/>
                    </a:cubicBezTo>
                    <a:cubicBezTo>
                      <a:pt x="3804" y="4024"/>
                      <a:pt x="3806" y="4025"/>
                      <a:pt x="3807" y="4024"/>
                    </a:cubicBezTo>
                    <a:cubicBezTo>
                      <a:pt x="3808" y="4024"/>
                      <a:pt x="3807" y="4022"/>
                      <a:pt x="3807" y="4022"/>
                    </a:cubicBezTo>
                    <a:cubicBezTo>
                      <a:pt x="3808" y="4021"/>
                      <a:pt x="3809" y="4022"/>
                      <a:pt x="3810" y="4022"/>
                    </a:cubicBezTo>
                    <a:cubicBezTo>
                      <a:pt x="3813" y="4016"/>
                      <a:pt x="3813" y="4016"/>
                      <a:pt x="3812" y="4016"/>
                    </a:cubicBezTo>
                    <a:cubicBezTo>
                      <a:pt x="3813" y="4017"/>
                      <a:pt x="3814" y="4017"/>
                      <a:pt x="3815" y="4016"/>
                    </a:cubicBezTo>
                    <a:cubicBezTo>
                      <a:pt x="3816" y="4016"/>
                      <a:pt x="3817" y="4015"/>
                      <a:pt x="3818" y="4015"/>
                    </a:cubicBezTo>
                    <a:cubicBezTo>
                      <a:pt x="3819" y="4014"/>
                      <a:pt x="3820" y="4013"/>
                      <a:pt x="3820" y="4012"/>
                    </a:cubicBezTo>
                    <a:cubicBezTo>
                      <a:pt x="3821" y="4011"/>
                      <a:pt x="3820" y="4010"/>
                      <a:pt x="3820" y="4009"/>
                    </a:cubicBezTo>
                    <a:cubicBezTo>
                      <a:pt x="3822" y="4006"/>
                      <a:pt x="3825" y="4005"/>
                      <a:pt x="3827" y="4004"/>
                    </a:cubicBezTo>
                    <a:cubicBezTo>
                      <a:pt x="3828" y="4003"/>
                      <a:pt x="3829" y="4002"/>
                      <a:pt x="3830" y="4001"/>
                    </a:cubicBezTo>
                    <a:cubicBezTo>
                      <a:pt x="3831" y="4001"/>
                      <a:pt x="3832" y="4002"/>
                      <a:pt x="3833" y="4001"/>
                    </a:cubicBezTo>
                    <a:cubicBezTo>
                      <a:pt x="3835" y="4000"/>
                      <a:pt x="3836" y="3998"/>
                      <a:pt x="3838" y="3997"/>
                    </a:cubicBezTo>
                    <a:cubicBezTo>
                      <a:pt x="3840" y="3996"/>
                      <a:pt x="3841" y="3998"/>
                      <a:pt x="3842" y="3997"/>
                    </a:cubicBezTo>
                    <a:cubicBezTo>
                      <a:pt x="3843" y="3997"/>
                      <a:pt x="3842" y="3995"/>
                      <a:pt x="3842" y="3994"/>
                    </a:cubicBezTo>
                    <a:cubicBezTo>
                      <a:pt x="3843" y="3993"/>
                      <a:pt x="3844" y="3992"/>
                      <a:pt x="3845" y="3992"/>
                    </a:cubicBezTo>
                    <a:cubicBezTo>
                      <a:pt x="3846" y="3991"/>
                      <a:pt x="3847" y="3992"/>
                      <a:pt x="3848" y="3992"/>
                    </a:cubicBezTo>
                    <a:cubicBezTo>
                      <a:pt x="3849" y="3991"/>
                      <a:pt x="3849" y="3989"/>
                      <a:pt x="3850" y="3989"/>
                    </a:cubicBezTo>
                    <a:cubicBezTo>
                      <a:pt x="3851" y="3989"/>
                      <a:pt x="3852" y="3989"/>
                      <a:pt x="3853" y="3989"/>
                    </a:cubicBezTo>
                    <a:cubicBezTo>
                      <a:pt x="3855" y="3988"/>
                      <a:pt x="3856" y="3985"/>
                      <a:pt x="3858" y="3984"/>
                    </a:cubicBezTo>
                    <a:cubicBezTo>
                      <a:pt x="3860" y="3983"/>
                      <a:pt x="3864" y="3984"/>
                      <a:pt x="3865" y="3984"/>
                    </a:cubicBezTo>
                    <a:cubicBezTo>
                      <a:pt x="3867" y="3983"/>
                      <a:pt x="3869" y="3982"/>
                      <a:pt x="3871" y="3981"/>
                    </a:cubicBezTo>
                    <a:cubicBezTo>
                      <a:pt x="3872" y="3980"/>
                      <a:pt x="3872" y="3980"/>
                      <a:pt x="3873" y="3979"/>
                    </a:cubicBezTo>
                    <a:cubicBezTo>
                      <a:pt x="3874" y="3979"/>
                      <a:pt x="3875" y="3979"/>
                      <a:pt x="3876" y="3979"/>
                    </a:cubicBezTo>
                    <a:cubicBezTo>
                      <a:pt x="3997" y="3878"/>
                      <a:pt x="4055" y="3805"/>
                      <a:pt x="4091" y="3704"/>
                    </a:cubicBezTo>
                    <a:cubicBezTo>
                      <a:pt x="4101" y="3677"/>
                      <a:pt x="4126" y="3655"/>
                      <a:pt x="4148" y="3655"/>
                    </a:cubicBezTo>
                    <a:cubicBezTo>
                      <a:pt x="4169" y="3655"/>
                      <a:pt x="4187" y="3636"/>
                      <a:pt x="4187" y="3614"/>
                    </a:cubicBezTo>
                    <a:cubicBezTo>
                      <a:pt x="4187" y="3592"/>
                      <a:pt x="4216" y="3550"/>
                      <a:pt x="4251" y="3522"/>
                    </a:cubicBezTo>
                    <a:cubicBezTo>
                      <a:pt x="4286" y="3493"/>
                      <a:pt x="4329" y="3444"/>
                      <a:pt x="4347" y="3414"/>
                    </a:cubicBezTo>
                    <a:cubicBezTo>
                      <a:pt x="4365" y="3383"/>
                      <a:pt x="4393" y="3361"/>
                      <a:pt x="4409" y="3365"/>
                    </a:cubicBezTo>
                    <a:cubicBezTo>
                      <a:pt x="4425" y="3368"/>
                      <a:pt x="4438" y="3349"/>
                      <a:pt x="4439" y="3322"/>
                    </a:cubicBezTo>
                    <a:cubicBezTo>
                      <a:pt x="4442" y="3215"/>
                      <a:pt x="4477" y="3063"/>
                      <a:pt x="4495" y="3074"/>
                    </a:cubicBezTo>
                    <a:cubicBezTo>
                      <a:pt x="4519" y="3089"/>
                      <a:pt x="4509" y="2832"/>
                      <a:pt x="4483" y="2750"/>
                    </a:cubicBezTo>
                    <a:cubicBezTo>
                      <a:pt x="4472" y="2718"/>
                      <a:pt x="4460" y="2594"/>
                      <a:pt x="4455" y="2475"/>
                    </a:cubicBezTo>
                    <a:cubicBezTo>
                      <a:pt x="4432" y="1965"/>
                      <a:pt x="4394" y="1715"/>
                      <a:pt x="4320" y="1580"/>
                    </a:cubicBezTo>
                    <a:cubicBezTo>
                      <a:pt x="4302" y="1549"/>
                      <a:pt x="4287" y="1518"/>
                      <a:pt x="4286" y="1510"/>
                    </a:cubicBezTo>
                    <a:cubicBezTo>
                      <a:pt x="4280" y="1447"/>
                      <a:pt x="4201" y="1312"/>
                      <a:pt x="4170" y="1312"/>
                    </a:cubicBezTo>
                    <a:cubicBezTo>
                      <a:pt x="4148" y="1312"/>
                      <a:pt x="4131" y="1295"/>
                      <a:pt x="4131" y="1273"/>
                    </a:cubicBezTo>
                    <a:cubicBezTo>
                      <a:pt x="4131" y="1251"/>
                      <a:pt x="4121" y="1228"/>
                      <a:pt x="4110" y="1223"/>
                    </a:cubicBezTo>
                    <a:cubicBezTo>
                      <a:pt x="4098" y="1218"/>
                      <a:pt x="4054" y="1163"/>
                      <a:pt x="4011" y="1101"/>
                    </a:cubicBezTo>
                    <a:cubicBezTo>
                      <a:pt x="3910" y="954"/>
                      <a:pt x="3369" y="409"/>
                      <a:pt x="3325" y="409"/>
                    </a:cubicBezTo>
                    <a:cubicBezTo>
                      <a:pt x="3306" y="409"/>
                      <a:pt x="3270" y="377"/>
                      <a:pt x="3244" y="339"/>
                    </a:cubicBezTo>
                    <a:cubicBezTo>
                      <a:pt x="3219" y="300"/>
                      <a:pt x="3179" y="268"/>
                      <a:pt x="3156" y="268"/>
                    </a:cubicBezTo>
                    <a:cubicBezTo>
                      <a:pt x="3133" y="268"/>
                      <a:pt x="3062" y="220"/>
                      <a:pt x="2998" y="162"/>
                    </a:cubicBezTo>
                    <a:lnTo>
                      <a:pt x="2881" y="57"/>
                    </a:lnTo>
                    <a:lnTo>
                      <a:pt x="2581" y="50"/>
                    </a:lnTo>
                    <a:cubicBezTo>
                      <a:pt x="2417" y="46"/>
                      <a:pt x="2257" y="42"/>
                      <a:pt x="2227" y="41"/>
                    </a:cubicBezTo>
                    <a:cubicBezTo>
                      <a:pt x="2196" y="40"/>
                      <a:pt x="2163" y="27"/>
                      <a:pt x="2154" y="11"/>
                    </a:cubicBezTo>
                    <a:cubicBezTo>
                      <a:pt x="2149" y="5"/>
                      <a:pt x="2139" y="1"/>
                      <a:pt x="2124" y="1"/>
                    </a:cubicBezTo>
                    <a:lnTo>
                      <a:pt x="2125" y="1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813"/>
              </a:p>
            </p:txBody>
          </p:sp>
        </p:grpSp>
        <p:grpSp>
          <p:nvGrpSpPr>
            <p:cNvPr id="93" name="Group 92"/>
            <p:cNvGrpSpPr>
              <a:grpSpLocks noChangeAspect="1"/>
            </p:cNvGrpSpPr>
            <p:nvPr/>
          </p:nvGrpSpPr>
          <p:grpSpPr>
            <a:xfrm>
              <a:off x="10144586" y="2227154"/>
              <a:ext cx="323249" cy="350944"/>
              <a:chOff x="5697538" y="1457325"/>
              <a:chExt cx="2205038" cy="2393951"/>
            </a:xfrm>
            <a:solidFill>
              <a:srgbClr val="0070C0"/>
            </a:solidFill>
          </p:grpSpPr>
          <p:sp>
            <p:nvSpPr>
              <p:cNvPr id="94" name="Freeform 36"/>
              <p:cNvSpPr>
                <a:spLocks noChangeAspect="1"/>
              </p:cNvSpPr>
              <p:nvPr/>
            </p:nvSpPr>
            <p:spPr bwMode="auto">
              <a:xfrm>
                <a:off x="5697538" y="2693988"/>
                <a:ext cx="2205038" cy="1157288"/>
              </a:xfrm>
              <a:custGeom>
                <a:avLst/>
                <a:gdLst>
                  <a:gd name="T0" fmla="*/ 5860 w 8421"/>
                  <a:gd name="T1" fmla="*/ 7 h 4421"/>
                  <a:gd name="T2" fmla="*/ 5840 w 8421"/>
                  <a:gd name="T3" fmla="*/ 19 h 4421"/>
                  <a:gd name="T4" fmla="*/ 5820 w 8421"/>
                  <a:gd name="T5" fmla="*/ 32 h 4421"/>
                  <a:gd name="T6" fmla="*/ 5794 w 8421"/>
                  <a:gd name="T7" fmla="*/ 45 h 4421"/>
                  <a:gd name="T8" fmla="*/ 5767 w 8421"/>
                  <a:gd name="T9" fmla="*/ 62 h 4421"/>
                  <a:gd name="T10" fmla="*/ 5752 w 8421"/>
                  <a:gd name="T11" fmla="*/ 75 h 4421"/>
                  <a:gd name="T12" fmla="*/ 5736 w 8421"/>
                  <a:gd name="T13" fmla="*/ 85 h 4421"/>
                  <a:gd name="T14" fmla="*/ 5448 w 8421"/>
                  <a:gd name="T15" fmla="*/ 384 h 4421"/>
                  <a:gd name="T16" fmla="*/ 4926 w 8421"/>
                  <a:gd name="T17" fmla="*/ 672 h 4421"/>
                  <a:gd name="T18" fmla="*/ 4010 w 8421"/>
                  <a:gd name="T19" fmla="*/ 870 h 4421"/>
                  <a:gd name="T20" fmla="*/ 3192 w 8421"/>
                  <a:gd name="T21" fmla="*/ 644 h 4421"/>
                  <a:gd name="T22" fmla="*/ 3164 w 8421"/>
                  <a:gd name="T23" fmla="*/ 634 h 4421"/>
                  <a:gd name="T24" fmla="*/ 3146 w 8421"/>
                  <a:gd name="T25" fmla="*/ 609 h 4421"/>
                  <a:gd name="T26" fmla="*/ 3119 w 8421"/>
                  <a:gd name="T27" fmla="*/ 599 h 4421"/>
                  <a:gd name="T28" fmla="*/ 3090 w 8421"/>
                  <a:gd name="T29" fmla="*/ 589 h 4421"/>
                  <a:gd name="T30" fmla="*/ 3068 w 8421"/>
                  <a:gd name="T31" fmla="*/ 577 h 4421"/>
                  <a:gd name="T32" fmla="*/ 3040 w 8421"/>
                  <a:gd name="T33" fmla="*/ 562 h 4421"/>
                  <a:gd name="T34" fmla="*/ 3018 w 8421"/>
                  <a:gd name="T35" fmla="*/ 544 h 4421"/>
                  <a:gd name="T36" fmla="*/ 2998 w 8421"/>
                  <a:gd name="T37" fmla="*/ 533 h 4421"/>
                  <a:gd name="T38" fmla="*/ 2985 w 8421"/>
                  <a:gd name="T39" fmla="*/ 524 h 4421"/>
                  <a:gd name="T40" fmla="*/ 2965 w 8421"/>
                  <a:gd name="T41" fmla="*/ 509 h 4421"/>
                  <a:gd name="T42" fmla="*/ 2952 w 8421"/>
                  <a:gd name="T43" fmla="*/ 495 h 4421"/>
                  <a:gd name="T44" fmla="*/ 2934 w 8421"/>
                  <a:gd name="T45" fmla="*/ 483 h 4421"/>
                  <a:gd name="T46" fmla="*/ 2917 w 8421"/>
                  <a:gd name="T47" fmla="*/ 471 h 4421"/>
                  <a:gd name="T48" fmla="*/ 2892 w 8421"/>
                  <a:gd name="T49" fmla="*/ 453 h 4421"/>
                  <a:gd name="T50" fmla="*/ 2866 w 8421"/>
                  <a:gd name="T51" fmla="*/ 430 h 4421"/>
                  <a:gd name="T52" fmla="*/ 2846 w 8421"/>
                  <a:gd name="T53" fmla="*/ 415 h 4421"/>
                  <a:gd name="T54" fmla="*/ 2826 w 8421"/>
                  <a:gd name="T55" fmla="*/ 405 h 4421"/>
                  <a:gd name="T56" fmla="*/ 2807 w 8421"/>
                  <a:gd name="T57" fmla="*/ 392 h 4421"/>
                  <a:gd name="T58" fmla="*/ 2781 w 8421"/>
                  <a:gd name="T59" fmla="*/ 375 h 4421"/>
                  <a:gd name="T60" fmla="*/ 2751 w 8421"/>
                  <a:gd name="T61" fmla="*/ 357 h 4421"/>
                  <a:gd name="T62" fmla="*/ 2723 w 8421"/>
                  <a:gd name="T63" fmla="*/ 337 h 4421"/>
                  <a:gd name="T64" fmla="*/ 2693 w 8421"/>
                  <a:gd name="T65" fmla="*/ 322 h 4421"/>
                  <a:gd name="T66" fmla="*/ 2657 w 8421"/>
                  <a:gd name="T67" fmla="*/ 301 h 4421"/>
                  <a:gd name="T68" fmla="*/ 2637 w 8421"/>
                  <a:gd name="T69" fmla="*/ 284 h 4421"/>
                  <a:gd name="T70" fmla="*/ 2620 w 8421"/>
                  <a:gd name="T71" fmla="*/ 269 h 4421"/>
                  <a:gd name="T72" fmla="*/ 2592 w 8421"/>
                  <a:gd name="T73" fmla="*/ 251 h 4421"/>
                  <a:gd name="T74" fmla="*/ 2577 w 8421"/>
                  <a:gd name="T75" fmla="*/ 236 h 4421"/>
                  <a:gd name="T76" fmla="*/ 2543 w 8421"/>
                  <a:gd name="T77" fmla="*/ 209 h 4421"/>
                  <a:gd name="T78" fmla="*/ 1779 w 8421"/>
                  <a:gd name="T79" fmla="*/ 929 h 4421"/>
                  <a:gd name="T80" fmla="*/ 1171 w 8421"/>
                  <a:gd name="T81" fmla="*/ 1394 h 4421"/>
                  <a:gd name="T82" fmla="*/ 317 w 8421"/>
                  <a:gd name="T83" fmla="*/ 2072 h 4421"/>
                  <a:gd name="T84" fmla="*/ 618 w 8421"/>
                  <a:gd name="T85" fmla="*/ 3999 h 4421"/>
                  <a:gd name="T86" fmla="*/ 1449 w 8421"/>
                  <a:gd name="T87" fmla="*/ 4093 h 4421"/>
                  <a:gd name="T88" fmla="*/ 3192 w 8421"/>
                  <a:gd name="T89" fmla="*/ 4277 h 4421"/>
                  <a:gd name="T90" fmla="*/ 4137 w 8421"/>
                  <a:gd name="T91" fmla="*/ 4357 h 4421"/>
                  <a:gd name="T92" fmla="*/ 5249 w 8421"/>
                  <a:gd name="T93" fmla="*/ 4328 h 4421"/>
                  <a:gd name="T94" fmla="*/ 6550 w 8421"/>
                  <a:gd name="T95" fmla="*/ 4290 h 4421"/>
                  <a:gd name="T96" fmla="*/ 7761 w 8421"/>
                  <a:gd name="T97" fmla="*/ 4075 h 4421"/>
                  <a:gd name="T98" fmla="*/ 8223 w 8421"/>
                  <a:gd name="T99" fmla="*/ 3991 h 4421"/>
                  <a:gd name="T100" fmla="*/ 8272 w 8421"/>
                  <a:gd name="T101" fmla="*/ 1682 h 4421"/>
                  <a:gd name="T102" fmla="*/ 7222 w 8421"/>
                  <a:gd name="T103" fmla="*/ 766 h 4421"/>
                  <a:gd name="T104" fmla="*/ 6139 w 8421"/>
                  <a:gd name="T105" fmla="*/ 59 h 44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421" h="4421">
                    <a:moveTo>
                      <a:pt x="5869" y="0"/>
                    </a:moveTo>
                    <a:cubicBezTo>
                      <a:pt x="5869" y="0"/>
                      <a:pt x="5868" y="1"/>
                      <a:pt x="5868" y="2"/>
                    </a:cubicBezTo>
                    <a:cubicBezTo>
                      <a:pt x="5867" y="2"/>
                      <a:pt x="5866" y="1"/>
                      <a:pt x="5865" y="2"/>
                    </a:cubicBezTo>
                    <a:cubicBezTo>
                      <a:pt x="5864" y="2"/>
                      <a:pt x="5866" y="4"/>
                      <a:pt x="5865" y="4"/>
                    </a:cubicBezTo>
                    <a:cubicBezTo>
                      <a:pt x="5864" y="5"/>
                      <a:pt x="5861" y="3"/>
                      <a:pt x="5860" y="4"/>
                    </a:cubicBezTo>
                    <a:cubicBezTo>
                      <a:pt x="5859" y="5"/>
                      <a:pt x="5860" y="6"/>
                      <a:pt x="5860" y="7"/>
                    </a:cubicBezTo>
                    <a:cubicBezTo>
                      <a:pt x="5859" y="8"/>
                      <a:pt x="5859" y="9"/>
                      <a:pt x="5858" y="9"/>
                    </a:cubicBezTo>
                    <a:cubicBezTo>
                      <a:pt x="5857" y="10"/>
                      <a:pt x="5856" y="12"/>
                      <a:pt x="5855" y="12"/>
                    </a:cubicBezTo>
                    <a:cubicBezTo>
                      <a:pt x="5855" y="12"/>
                      <a:pt x="5853" y="12"/>
                      <a:pt x="5853" y="12"/>
                    </a:cubicBezTo>
                    <a:cubicBezTo>
                      <a:pt x="5851" y="13"/>
                      <a:pt x="5850" y="15"/>
                      <a:pt x="5847" y="16"/>
                    </a:cubicBezTo>
                    <a:cubicBezTo>
                      <a:pt x="5846" y="17"/>
                      <a:pt x="5844" y="16"/>
                      <a:pt x="5842" y="16"/>
                    </a:cubicBezTo>
                    <a:cubicBezTo>
                      <a:pt x="5841" y="17"/>
                      <a:pt x="5841" y="19"/>
                      <a:pt x="5840" y="19"/>
                    </a:cubicBezTo>
                    <a:cubicBezTo>
                      <a:pt x="5834" y="22"/>
                      <a:pt x="5842" y="12"/>
                      <a:pt x="5832" y="22"/>
                    </a:cubicBezTo>
                    <a:cubicBezTo>
                      <a:pt x="5832" y="22"/>
                      <a:pt x="5833" y="24"/>
                      <a:pt x="5832" y="24"/>
                    </a:cubicBezTo>
                    <a:cubicBezTo>
                      <a:pt x="5832" y="25"/>
                      <a:pt x="5831" y="24"/>
                      <a:pt x="5830" y="24"/>
                    </a:cubicBezTo>
                    <a:cubicBezTo>
                      <a:pt x="5829" y="25"/>
                      <a:pt x="5828" y="26"/>
                      <a:pt x="5827" y="27"/>
                    </a:cubicBezTo>
                    <a:cubicBezTo>
                      <a:pt x="5826" y="28"/>
                      <a:pt x="5824" y="29"/>
                      <a:pt x="5823" y="30"/>
                    </a:cubicBezTo>
                    <a:cubicBezTo>
                      <a:pt x="5822" y="30"/>
                      <a:pt x="5821" y="32"/>
                      <a:pt x="5820" y="32"/>
                    </a:cubicBezTo>
                    <a:cubicBezTo>
                      <a:pt x="5819" y="33"/>
                      <a:pt x="5818" y="32"/>
                      <a:pt x="5817" y="32"/>
                    </a:cubicBezTo>
                    <a:cubicBezTo>
                      <a:pt x="5815" y="34"/>
                      <a:pt x="5812" y="35"/>
                      <a:pt x="5809" y="37"/>
                    </a:cubicBezTo>
                    <a:cubicBezTo>
                      <a:pt x="5809" y="37"/>
                      <a:pt x="5810" y="39"/>
                      <a:pt x="5809" y="39"/>
                    </a:cubicBezTo>
                    <a:cubicBezTo>
                      <a:pt x="5808" y="40"/>
                      <a:pt x="5807" y="39"/>
                      <a:pt x="5805" y="39"/>
                    </a:cubicBezTo>
                    <a:cubicBezTo>
                      <a:pt x="5801" y="41"/>
                      <a:pt x="5804" y="43"/>
                      <a:pt x="5800" y="45"/>
                    </a:cubicBezTo>
                    <a:cubicBezTo>
                      <a:pt x="5798" y="45"/>
                      <a:pt x="5796" y="44"/>
                      <a:pt x="5794" y="45"/>
                    </a:cubicBezTo>
                    <a:cubicBezTo>
                      <a:pt x="5791" y="46"/>
                      <a:pt x="5791" y="52"/>
                      <a:pt x="5787" y="54"/>
                    </a:cubicBezTo>
                    <a:cubicBezTo>
                      <a:pt x="5786" y="55"/>
                      <a:pt x="5784" y="54"/>
                      <a:pt x="5782" y="54"/>
                    </a:cubicBezTo>
                    <a:cubicBezTo>
                      <a:pt x="5781" y="55"/>
                      <a:pt x="5781" y="57"/>
                      <a:pt x="5779" y="57"/>
                    </a:cubicBezTo>
                    <a:cubicBezTo>
                      <a:pt x="5778" y="58"/>
                      <a:pt x="5776" y="56"/>
                      <a:pt x="5774" y="57"/>
                    </a:cubicBezTo>
                    <a:cubicBezTo>
                      <a:pt x="5773" y="58"/>
                      <a:pt x="5773" y="59"/>
                      <a:pt x="5772" y="60"/>
                    </a:cubicBezTo>
                    <a:cubicBezTo>
                      <a:pt x="5770" y="61"/>
                      <a:pt x="5769" y="61"/>
                      <a:pt x="5767" y="62"/>
                    </a:cubicBezTo>
                    <a:cubicBezTo>
                      <a:pt x="5766" y="63"/>
                      <a:pt x="5766" y="64"/>
                      <a:pt x="5764" y="65"/>
                    </a:cubicBezTo>
                    <a:cubicBezTo>
                      <a:pt x="5764" y="65"/>
                      <a:pt x="5762" y="64"/>
                      <a:pt x="5762" y="65"/>
                    </a:cubicBezTo>
                    <a:cubicBezTo>
                      <a:pt x="5761" y="66"/>
                      <a:pt x="5762" y="67"/>
                      <a:pt x="5762" y="68"/>
                    </a:cubicBezTo>
                    <a:cubicBezTo>
                      <a:pt x="5761" y="69"/>
                      <a:pt x="5758" y="68"/>
                      <a:pt x="5757" y="69"/>
                    </a:cubicBezTo>
                    <a:cubicBezTo>
                      <a:pt x="5756" y="70"/>
                      <a:pt x="5757" y="71"/>
                      <a:pt x="5757" y="72"/>
                    </a:cubicBezTo>
                    <a:cubicBezTo>
                      <a:pt x="5755" y="73"/>
                      <a:pt x="5753" y="73"/>
                      <a:pt x="5752" y="75"/>
                    </a:cubicBezTo>
                    <a:cubicBezTo>
                      <a:pt x="5752" y="75"/>
                      <a:pt x="5753" y="77"/>
                      <a:pt x="5752" y="77"/>
                    </a:cubicBezTo>
                    <a:cubicBezTo>
                      <a:pt x="5752" y="78"/>
                      <a:pt x="5750" y="77"/>
                      <a:pt x="5750" y="77"/>
                    </a:cubicBezTo>
                    <a:cubicBezTo>
                      <a:pt x="5746" y="80"/>
                      <a:pt x="5747" y="79"/>
                      <a:pt x="5747" y="79"/>
                    </a:cubicBezTo>
                    <a:cubicBezTo>
                      <a:pt x="5747" y="79"/>
                      <a:pt x="5746" y="79"/>
                      <a:pt x="5744" y="80"/>
                    </a:cubicBezTo>
                    <a:cubicBezTo>
                      <a:pt x="5742" y="81"/>
                      <a:pt x="5741" y="84"/>
                      <a:pt x="5739" y="85"/>
                    </a:cubicBezTo>
                    <a:cubicBezTo>
                      <a:pt x="5738" y="86"/>
                      <a:pt x="5737" y="85"/>
                      <a:pt x="5736" y="85"/>
                    </a:cubicBezTo>
                    <a:cubicBezTo>
                      <a:pt x="5735" y="86"/>
                      <a:pt x="5735" y="86"/>
                      <a:pt x="5735" y="87"/>
                    </a:cubicBezTo>
                    <a:cubicBezTo>
                      <a:pt x="5732" y="89"/>
                      <a:pt x="5730" y="90"/>
                      <a:pt x="5727" y="91"/>
                    </a:cubicBezTo>
                    <a:cubicBezTo>
                      <a:pt x="5727" y="92"/>
                      <a:pt x="5727" y="92"/>
                      <a:pt x="5727" y="92"/>
                    </a:cubicBezTo>
                    <a:cubicBezTo>
                      <a:pt x="5725" y="95"/>
                      <a:pt x="5725" y="97"/>
                      <a:pt x="5723" y="100"/>
                    </a:cubicBezTo>
                    <a:cubicBezTo>
                      <a:pt x="5679" y="180"/>
                      <a:pt x="5478" y="391"/>
                      <a:pt x="5477" y="359"/>
                    </a:cubicBezTo>
                    <a:cubicBezTo>
                      <a:pt x="5477" y="346"/>
                      <a:pt x="5463" y="358"/>
                      <a:pt x="5448" y="384"/>
                    </a:cubicBezTo>
                    <a:cubicBezTo>
                      <a:pt x="5432" y="411"/>
                      <a:pt x="5403" y="426"/>
                      <a:pt x="5383" y="418"/>
                    </a:cubicBezTo>
                    <a:cubicBezTo>
                      <a:pt x="5362" y="410"/>
                      <a:pt x="5304" y="443"/>
                      <a:pt x="5253" y="490"/>
                    </a:cubicBezTo>
                    <a:cubicBezTo>
                      <a:pt x="5202" y="537"/>
                      <a:pt x="5145" y="576"/>
                      <a:pt x="5125" y="576"/>
                    </a:cubicBezTo>
                    <a:cubicBezTo>
                      <a:pt x="5105" y="576"/>
                      <a:pt x="5081" y="595"/>
                      <a:pt x="5072" y="618"/>
                    </a:cubicBezTo>
                    <a:cubicBezTo>
                      <a:pt x="5063" y="641"/>
                      <a:pt x="5038" y="653"/>
                      <a:pt x="5014" y="644"/>
                    </a:cubicBezTo>
                    <a:cubicBezTo>
                      <a:pt x="4991" y="635"/>
                      <a:pt x="4951" y="647"/>
                      <a:pt x="4926" y="672"/>
                    </a:cubicBezTo>
                    <a:cubicBezTo>
                      <a:pt x="4901" y="697"/>
                      <a:pt x="4858" y="717"/>
                      <a:pt x="4831" y="717"/>
                    </a:cubicBezTo>
                    <a:cubicBezTo>
                      <a:pt x="4803" y="717"/>
                      <a:pt x="4752" y="742"/>
                      <a:pt x="4718" y="771"/>
                    </a:cubicBezTo>
                    <a:cubicBezTo>
                      <a:pt x="4672" y="811"/>
                      <a:pt x="4625" y="823"/>
                      <a:pt x="4543" y="815"/>
                    </a:cubicBezTo>
                    <a:cubicBezTo>
                      <a:pt x="4475" y="808"/>
                      <a:pt x="4438" y="814"/>
                      <a:pt x="4448" y="831"/>
                    </a:cubicBezTo>
                    <a:cubicBezTo>
                      <a:pt x="4458" y="847"/>
                      <a:pt x="4399" y="859"/>
                      <a:pt x="4301" y="860"/>
                    </a:cubicBezTo>
                    <a:cubicBezTo>
                      <a:pt x="4211" y="862"/>
                      <a:pt x="4080" y="866"/>
                      <a:pt x="4010" y="870"/>
                    </a:cubicBezTo>
                    <a:cubicBezTo>
                      <a:pt x="3940" y="874"/>
                      <a:pt x="3820" y="861"/>
                      <a:pt x="3742" y="840"/>
                    </a:cubicBezTo>
                    <a:cubicBezTo>
                      <a:pt x="3665" y="819"/>
                      <a:pt x="3566" y="794"/>
                      <a:pt x="3523" y="784"/>
                    </a:cubicBezTo>
                    <a:cubicBezTo>
                      <a:pt x="3481" y="774"/>
                      <a:pt x="3446" y="756"/>
                      <a:pt x="3446" y="744"/>
                    </a:cubicBezTo>
                    <a:cubicBezTo>
                      <a:pt x="3446" y="732"/>
                      <a:pt x="3394" y="713"/>
                      <a:pt x="3331" y="703"/>
                    </a:cubicBezTo>
                    <a:cubicBezTo>
                      <a:pt x="3265" y="691"/>
                      <a:pt x="3229" y="674"/>
                      <a:pt x="3207" y="644"/>
                    </a:cubicBezTo>
                    <a:cubicBezTo>
                      <a:pt x="3204" y="644"/>
                      <a:pt x="3193" y="645"/>
                      <a:pt x="3192" y="644"/>
                    </a:cubicBezTo>
                    <a:cubicBezTo>
                      <a:pt x="3191" y="644"/>
                      <a:pt x="3190" y="642"/>
                      <a:pt x="3189" y="642"/>
                    </a:cubicBezTo>
                    <a:cubicBezTo>
                      <a:pt x="3188" y="641"/>
                      <a:pt x="3178" y="642"/>
                      <a:pt x="3177" y="642"/>
                    </a:cubicBezTo>
                    <a:cubicBezTo>
                      <a:pt x="3176" y="641"/>
                      <a:pt x="3175" y="640"/>
                      <a:pt x="3174" y="639"/>
                    </a:cubicBezTo>
                    <a:cubicBezTo>
                      <a:pt x="3173" y="638"/>
                      <a:pt x="3171" y="638"/>
                      <a:pt x="3169" y="636"/>
                    </a:cubicBezTo>
                    <a:cubicBezTo>
                      <a:pt x="3168" y="636"/>
                      <a:pt x="3167" y="634"/>
                      <a:pt x="3166" y="634"/>
                    </a:cubicBezTo>
                    <a:cubicBezTo>
                      <a:pt x="3166" y="633"/>
                      <a:pt x="3164" y="634"/>
                      <a:pt x="3164" y="634"/>
                    </a:cubicBezTo>
                    <a:cubicBezTo>
                      <a:pt x="3162" y="633"/>
                      <a:pt x="3162" y="631"/>
                      <a:pt x="3161" y="629"/>
                    </a:cubicBezTo>
                    <a:cubicBezTo>
                      <a:pt x="3160" y="627"/>
                      <a:pt x="3158" y="626"/>
                      <a:pt x="3157" y="624"/>
                    </a:cubicBezTo>
                    <a:cubicBezTo>
                      <a:pt x="3156" y="623"/>
                      <a:pt x="3157" y="622"/>
                      <a:pt x="3157" y="621"/>
                    </a:cubicBezTo>
                    <a:cubicBezTo>
                      <a:pt x="3155" y="620"/>
                      <a:pt x="3153" y="618"/>
                      <a:pt x="3151" y="616"/>
                    </a:cubicBezTo>
                    <a:cubicBezTo>
                      <a:pt x="3150" y="615"/>
                      <a:pt x="3153" y="613"/>
                      <a:pt x="3151" y="612"/>
                    </a:cubicBezTo>
                    <a:cubicBezTo>
                      <a:pt x="3150" y="610"/>
                      <a:pt x="3147" y="610"/>
                      <a:pt x="3146" y="609"/>
                    </a:cubicBezTo>
                    <a:cubicBezTo>
                      <a:pt x="3145" y="609"/>
                      <a:pt x="3147" y="607"/>
                      <a:pt x="3146" y="606"/>
                    </a:cubicBezTo>
                    <a:cubicBezTo>
                      <a:pt x="3136" y="597"/>
                      <a:pt x="3145" y="607"/>
                      <a:pt x="3139" y="604"/>
                    </a:cubicBezTo>
                    <a:cubicBezTo>
                      <a:pt x="3138" y="603"/>
                      <a:pt x="3137" y="602"/>
                      <a:pt x="3136" y="601"/>
                    </a:cubicBezTo>
                    <a:cubicBezTo>
                      <a:pt x="3131" y="601"/>
                      <a:pt x="3131" y="601"/>
                      <a:pt x="3131" y="601"/>
                    </a:cubicBezTo>
                    <a:cubicBezTo>
                      <a:pt x="3131" y="601"/>
                      <a:pt x="3130" y="599"/>
                      <a:pt x="3128" y="599"/>
                    </a:cubicBezTo>
                    <a:cubicBezTo>
                      <a:pt x="3127" y="598"/>
                      <a:pt x="3120" y="599"/>
                      <a:pt x="3119" y="599"/>
                    </a:cubicBezTo>
                    <a:cubicBezTo>
                      <a:pt x="3118" y="598"/>
                      <a:pt x="3117" y="597"/>
                      <a:pt x="3116" y="597"/>
                    </a:cubicBezTo>
                    <a:cubicBezTo>
                      <a:pt x="3114" y="596"/>
                      <a:pt x="3112" y="597"/>
                      <a:pt x="3111" y="597"/>
                    </a:cubicBezTo>
                    <a:cubicBezTo>
                      <a:pt x="3109" y="596"/>
                      <a:pt x="3108" y="595"/>
                      <a:pt x="3106" y="594"/>
                    </a:cubicBezTo>
                    <a:cubicBezTo>
                      <a:pt x="3105" y="594"/>
                      <a:pt x="3103" y="595"/>
                      <a:pt x="3101" y="594"/>
                    </a:cubicBezTo>
                    <a:cubicBezTo>
                      <a:pt x="3100" y="594"/>
                      <a:pt x="3099" y="592"/>
                      <a:pt x="3098" y="592"/>
                    </a:cubicBezTo>
                    <a:cubicBezTo>
                      <a:pt x="3100" y="588"/>
                      <a:pt x="3091" y="589"/>
                      <a:pt x="3090" y="589"/>
                    </a:cubicBezTo>
                    <a:cubicBezTo>
                      <a:pt x="3088" y="588"/>
                      <a:pt x="3088" y="585"/>
                      <a:pt x="3086" y="584"/>
                    </a:cubicBezTo>
                    <a:cubicBezTo>
                      <a:pt x="3085" y="583"/>
                      <a:pt x="3084" y="584"/>
                      <a:pt x="3083" y="584"/>
                    </a:cubicBezTo>
                    <a:cubicBezTo>
                      <a:pt x="3083" y="583"/>
                      <a:pt x="3082" y="581"/>
                      <a:pt x="3081" y="581"/>
                    </a:cubicBezTo>
                    <a:cubicBezTo>
                      <a:pt x="3080" y="581"/>
                      <a:pt x="3079" y="582"/>
                      <a:pt x="3078" y="581"/>
                    </a:cubicBezTo>
                    <a:cubicBezTo>
                      <a:pt x="3078" y="580"/>
                      <a:pt x="3079" y="580"/>
                      <a:pt x="3078" y="579"/>
                    </a:cubicBezTo>
                    <a:cubicBezTo>
                      <a:pt x="3073" y="574"/>
                      <a:pt x="3074" y="578"/>
                      <a:pt x="3068" y="577"/>
                    </a:cubicBezTo>
                    <a:cubicBezTo>
                      <a:pt x="3058" y="581"/>
                      <a:pt x="3065" y="572"/>
                      <a:pt x="3063" y="571"/>
                    </a:cubicBezTo>
                    <a:cubicBezTo>
                      <a:pt x="3062" y="570"/>
                      <a:pt x="3059" y="572"/>
                      <a:pt x="3058" y="571"/>
                    </a:cubicBezTo>
                    <a:cubicBezTo>
                      <a:pt x="3056" y="571"/>
                      <a:pt x="3053" y="564"/>
                      <a:pt x="3051" y="563"/>
                    </a:cubicBezTo>
                    <a:cubicBezTo>
                      <a:pt x="3050" y="563"/>
                      <a:pt x="3049" y="563"/>
                      <a:pt x="3048" y="563"/>
                    </a:cubicBezTo>
                    <a:cubicBezTo>
                      <a:pt x="3047" y="562"/>
                      <a:pt x="3047" y="562"/>
                      <a:pt x="3045" y="562"/>
                    </a:cubicBezTo>
                    <a:cubicBezTo>
                      <a:pt x="3044" y="561"/>
                      <a:pt x="3042" y="563"/>
                      <a:pt x="3040" y="562"/>
                    </a:cubicBezTo>
                    <a:cubicBezTo>
                      <a:pt x="3037" y="559"/>
                      <a:pt x="3036" y="556"/>
                      <a:pt x="3033" y="554"/>
                    </a:cubicBezTo>
                    <a:cubicBezTo>
                      <a:pt x="3032" y="553"/>
                      <a:pt x="3031" y="554"/>
                      <a:pt x="3031" y="554"/>
                    </a:cubicBezTo>
                    <a:cubicBezTo>
                      <a:pt x="3029" y="553"/>
                      <a:pt x="3027" y="552"/>
                      <a:pt x="3025" y="551"/>
                    </a:cubicBezTo>
                    <a:cubicBezTo>
                      <a:pt x="3024" y="550"/>
                      <a:pt x="3021" y="550"/>
                      <a:pt x="3020" y="548"/>
                    </a:cubicBezTo>
                    <a:cubicBezTo>
                      <a:pt x="3017" y="546"/>
                      <a:pt x="3019" y="546"/>
                      <a:pt x="3021" y="546"/>
                    </a:cubicBezTo>
                    <a:cubicBezTo>
                      <a:pt x="3020" y="545"/>
                      <a:pt x="3020" y="545"/>
                      <a:pt x="3018" y="544"/>
                    </a:cubicBezTo>
                    <a:cubicBezTo>
                      <a:pt x="3017" y="544"/>
                      <a:pt x="3016" y="544"/>
                      <a:pt x="3016" y="544"/>
                    </a:cubicBezTo>
                    <a:cubicBezTo>
                      <a:pt x="3014" y="543"/>
                      <a:pt x="3014" y="542"/>
                      <a:pt x="3013" y="541"/>
                    </a:cubicBezTo>
                    <a:cubicBezTo>
                      <a:pt x="3012" y="541"/>
                      <a:pt x="3011" y="542"/>
                      <a:pt x="3010" y="541"/>
                    </a:cubicBezTo>
                    <a:cubicBezTo>
                      <a:pt x="3008" y="540"/>
                      <a:pt x="3007" y="537"/>
                      <a:pt x="3005" y="536"/>
                    </a:cubicBezTo>
                    <a:cubicBezTo>
                      <a:pt x="3003" y="535"/>
                      <a:pt x="3002" y="534"/>
                      <a:pt x="3001" y="533"/>
                    </a:cubicBezTo>
                    <a:cubicBezTo>
                      <a:pt x="3000" y="533"/>
                      <a:pt x="2998" y="534"/>
                      <a:pt x="2998" y="533"/>
                    </a:cubicBezTo>
                    <a:cubicBezTo>
                      <a:pt x="2995" y="531"/>
                      <a:pt x="2997" y="531"/>
                      <a:pt x="2999" y="531"/>
                    </a:cubicBezTo>
                    <a:cubicBezTo>
                      <a:pt x="2998" y="530"/>
                      <a:pt x="2998" y="529"/>
                      <a:pt x="2995" y="528"/>
                    </a:cubicBezTo>
                    <a:cubicBezTo>
                      <a:pt x="2994" y="527"/>
                      <a:pt x="2991" y="529"/>
                      <a:pt x="2990" y="528"/>
                    </a:cubicBezTo>
                    <a:cubicBezTo>
                      <a:pt x="2989" y="527"/>
                      <a:pt x="2991" y="527"/>
                      <a:pt x="2990" y="526"/>
                    </a:cubicBezTo>
                    <a:cubicBezTo>
                      <a:pt x="2988" y="526"/>
                      <a:pt x="2986" y="527"/>
                      <a:pt x="2985" y="526"/>
                    </a:cubicBezTo>
                    <a:cubicBezTo>
                      <a:pt x="2984" y="526"/>
                      <a:pt x="2985" y="524"/>
                      <a:pt x="2985" y="524"/>
                    </a:cubicBezTo>
                    <a:cubicBezTo>
                      <a:pt x="2984" y="523"/>
                      <a:pt x="2983" y="524"/>
                      <a:pt x="2983" y="524"/>
                    </a:cubicBezTo>
                    <a:cubicBezTo>
                      <a:pt x="2982" y="523"/>
                      <a:pt x="2983" y="522"/>
                      <a:pt x="2983" y="521"/>
                    </a:cubicBezTo>
                    <a:cubicBezTo>
                      <a:pt x="2982" y="520"/>
                      <a:pt x="2979" y="519"/>
                      <a:pt x="2978" y="518"/>
                    </a:cubicBezTo>
                    <a:cubicBezTo>
                      <a:pt x="2975" y="517"/>
                      <a:pt x="2972" y="512"/>
                      <a:pt x="2970" y="510"/>
                    </a:cubicBezTo>
                    <a:cubicBezTo>
                      <a:pt x="2969" y="510"/>
                      <a:pt x="2968" y="509"/>
                      <a:pt x="2967" y="509"/>
                    </a:cubicBezTo>
                    <a:cubicBezTo>
                      <a:pt x="2966" y="508"/>
                      <a:pt x="2966" y="509"/>
                      <a:pt x="2965" y="509"/>
                    </a:cubicBezTo>
                    <a:cubicBezTo>
                      <a:pt x="2965" y="508"/>
                      <a:pt x="2966" y="507"/>
                      <a:pt x="2965" y="506"/>
                    </a:cubicBezTo>
                    <a:cubicBezTo>
                      <a:pt x="2965" y="505"/>
                      <a:pt x="2963" y="504"/>
                      <a:pt x="2963" y="503"/>
                    </a:cubicBezTo>
                    <a:cubicBezTo>
                      <a:pt x="2962" y="502"/>
                      <a:pt x="2961" y="501"/>
                      <a:pt x="2960" y="501"/>
                    </a:cubicBezTo>
                    <a:cubicBezTo>
                      <a:pt x="2959" y="500"/>
                      <a:pt x="2958" y="501"/>
                      <a:pt x="2957" y="501"/>
                    </a:cubicBezTo>
                    <a:cubicBezTo>
                      <a:pt x="2957" y="500"/>
                      <a:pt x="2958" y="499"/>
                      <a:pt x="2957" y="498"/>
                    </a:cubicBezTo>
                    <a:cubicBezTo>
                      <a:pt x="2956" y="497"/>
                      <a:pt x="2954" y="496"/>
                      <a:pt x="2952" y="495"/>
                    </a:cubicBezTo>
                    <a:cubicBezTo>
                      <a:pt x="2951" y="495"/>
                      <a:pt x="2950" y="496"/>
                      <a:pt x="2949" y="495"/>
                    </a:cubicBezTo>
                    <a:cubicBezTo>
                      <a:pt x="2949" y="495"/>
                      <a:pt x="2950" y="493"/>
                      <a:pt x="2949" y="493"/>
                    </a:cubicBezTo>
                    <a:cubicBezTo>
                      <a:pt x="2948" y="492"/>
                      <a:pt x="2946" y="494"/>
                      <a:pt x="2945" y="493"/>
                    </a:cubicBezTo>
                    <a:cubicBezTo>
                      <a:pt x="2936" y="487"/>
                      <a:pt x="2947" y="490"/>
                      <a:pt x="2940" y="486"/>
                    </a:cubicBezTo>
                    <a:cubicBezTo>
                      <a:pt x="2938" y="485"/>
                      <a:pt x="2936" y="487"/>
                      <a:pt x="2934" y="486"/>
                    </a:cubicBezTo>
                    <a:cubicBezTo>
                      <a:pt x="2934" y="485"/>
                      <a:pt x="2935" y="483"/>
                      <a:pt x="2934" y="483"/>
                    </a:cubicBezTo>
                    <a:cubicBezTo>
                      <a:pt x="2933" y="482"/>
                      <a:pt x="2931" y="484"/>
                      <a:pt x="2930" y="483"/>
                    </a:cubicBezTo>
                    <a:cubicBezTo>
                      <a:pt x="2928" y="482"/>
                      <a:pt x="2929" y="479"/>
                      <a:pt x="2927" y="478"/>
                    </a:cubicBezTo>
                    <a:cubicBezTo>
                      <a:pt x="2927" y="477"/>
                      <a:pt x="2925" y="478"/>
                      <a:pt x="2925" y="478"/>
                    </a:cubicBezTo>
                    <a:cubicBezTo>
                      <a:pt x="2924" y="477"/>
                      <a:pt x="2923" y="476"/>
                      <a:pt x="2922" y="475"/>
                    </a:cubicBezTo>
                    <a:cubicBezTo>
                      <a:pt x="2920" y="474"/>
                      <a:pt x="2918" y="475"/>
                      <a:pt x="2917" y="473"/>
                    </a:cubicBezTo>
                    <a:cubicBezTo>
                      <a:pt x="2916" y="473"/>
                      <a:pt x="2917" y="471"/>
                      <a:pt x="2917" y="471"/>
                    </a:cubicBezTo>
                    <a:cubicBezTo>
                      <a:pt x="2916" y="470"/>
                      <a:pt x="2915" y="471"/>
                      <a:pt x="2914" y="471"/>
                    </a:cubicBezTo>
                    <a:cubicBezTo>
                      <a:pt x="2913" y="470"/>
                      <a:pt x="2913" y="469"/>
                      <a:pt x="2912" y="468"/>
                    </a:cubicBezTo>
                    <a:cubicBezTo>
                      <a:pt x="2910" y="466"/>
                      <a:pt x="2907" y="462"/>
                      <a:pt x="2904" y="460"/>
                    </a:cubicBezTo>
                    <a:cubicBezTo>
                      <a:pt x="2903" y="459"/>
                      <a:pt x="2900" y="459"/>
                      <a:pt x="2899" y="457"/>
                    </a:cubicBezTo>
                    <a:cubicBezTo>
                      <a:pt x="2898" y="456"/>
                      <a:pt x="2898" y="454"/>
                      <a:pt x="2896" y="453"/>
                    </a:cubicBezTo>
                    <a:cubicBezTo>
                      <a:pt x="2895" y="452"/>
                      <a:pt x="2893" y="454"/>
                      <a:pt x="2892" y="453"/>
                    </a:cubicBezTo>
                    <a:cubicBezTo>
                      <a:pt x="2890" y="452"/>
                      <a:pt x="2891" y="449"/>
                      <a:pt x="2889" y="448"/>
                    </a:cubicBezTo>
                    <a:cubicBezTo>
                      <a:pt x="2889" y="447"/>
                      <a:pt x="2888" y="448"/>
                      <a:pt x="2887" y="448"/>
                    </a:cubicBezTo>
                    <a:cubicBezTo>
                      <a:pt x="2885" y="447"/>
                      <a:pt x="2883" y="446"/>
                      <a:pt x="2881" y="445"/>
                    </a:cubicBezTo>
                    <a:cubicBezTo>
                      <a:pt x="2881" y="445"/>
                      <a:pt x="2882" y="443"/>
                      <a:pt x="2881" y="442"/>
                    </a:cubicBezTo>
                    <a:cubicBezTo>
                      <a:pt x="2881" y="441"/>
                      <a:pt x="2872" y="433"/>
                      <a:pt x="2872" y="433"/>
                    </a:cubicBezTo>
                    <a:cubicBezTo>
                      <a:pt x="2870" y="432"/>
                      <a:pt x="2868" y="431"/>
                      <a:pt x="2866" y="430"/>
                    </a:cubicBezTo>
                    <a:cubicBezTo>
                      <a:pt x="2865" y="429"/>
                      <a:pt x="2865" y="428"/>
                      <a:pt x="2864" y="428"/>
                    </a:cubicBezTo>
                    <a:cubicBezTo>
                      <a:pt x="2862" y="426"/>
                      <a:pt x="2861" y="426"/>
                      <a:pt x="2859" y="425"/>
                    </a:cubicBezTo>
                    <a:cubicBezTo>
                      <a:pt x="2858" y="424"/>
                      <a:pt x="2858" y="423"/>
                      <a:pt x="2857" y="422"/>
                    </a:cubicBezTo>
                    <a:cubicBezTo>
                      <a:pt x="2856" y="422"/>
                      <a:pt x="2855" y="423"/>
                      <a:pt x="2854" y="422"/>
                    </a:cubicBezTo>
                    <a:cubicBezTo>
                      <a:pt x="2852" y="421"/>
                      <a:pt x="2851" y="419"/>
                      <a:pt x="2849" y="418"/>
                    </a:cubicBezTo>
                    <a:cubicBezTo>
                      <a:pt x="2848" y="417"/>
                      <a:pt x="2847" y="416"/>
                      <a:pt x="2846" y="415"/>
                    </a:cubicBezTo>
                    <a:cubicBezTo>
                      <a:pt x="2845" y="415"/>
                      <a:pt x="2844" y="416"/>
                      <a:pt x="2844" y="415"/>
                    </a:cubicBezTo>
                    <a:cubicBezTo>
                      <a:pt x="2842" y="415"/>
                      <a:pt x="2843" y="413"/>
                      <a:pt x="2842" y="413"/>
                    </a:cubicBezTo>
                    <a:cubicBezTo>
                      <a:pt x="2840" y="412"/>
                      <a:pt x="2838" y="413"/>
                      <a:pt x="2837" y="413"/>
                    </a:cubicBezTo>
                    <a:cubicBezTo>
                      <a:pt x="2836" y="412"/>
                      <a:pt x="2837" y="410"/>
                      <a:pt x="2837" y="410"/>
                    </a:cubicBezTo>
                    <a:cubicBezTo>
                      <a:pt x="2836" y="409"/>
                      <a:pt x="2835" y="410"/>
                      <a:pt x="2834" y="410"/>
                    </a:cubicBezTo>
                    <a:cubicBezTo>
                      <a:pt x="2816" y="404"/>
                      <a:pt x="2837" y="410"/>
                      <a:pt x="2826" y="405"/>
                    </a:cubicBezTo>
                    <a:cubicBezTo>
                      <a:pt x="2824" y="404"/>
                      <a:pt x="2823" y="406"/>
                      <a:pt x="2822" y="405"/>
                    </a:cubicBezTo>
                    <a:cubicBezTo>
                      <a:pt x="2820" y="403"/>
                      <a:pt x="2820" y="402"/>
                      <a:pt x="2819" y="400"/>
                    </a:cubicBezTo>
                    <a:cubicBezTo>
                      <a:pt x="2818" y="400"/>
                      <a:pt x="2817" y="400"/>
                      <a:pt x="2816" y="400"/>
                    </a:cubicBezTo>
                    <a:cubicBezTo>
                      <a:pt x="2814" y="400"/>
                      <a:pt x="2809" y="397"/>
                      <a:pt x="2808" y="395"/>
                    </a:cubicBezTo>
                    <a:cubicBezTo>
                      <a:pt x="2808" y="394"/>
                      <a:pt x="2809" y="393"/>
                      <a:pt x="2808" y="392"/>
                    </a:cubicBezTo>
                    <a:cubicBezTo>
                      <a:pt x="2808" y="392"/>
                      <a:pt x="2807" y="392"/>
                      <a:pt x="2807" y="392"/>
                    </a:cubicBezTo>
                    <a:cubicBezTo>
                      <a:pt x="2805" y="392"/>
                      <a:pt x="2803" y="391"/>
                      <a:pt x="2801" y="390"/>
                    </a:cubicBezTo>
                    <a:cubicBezTo>
                      <a:pt x="2799" y="388"/>
                      <a:pt x="2798" y="386"/>
                      <a:pt x="2796" y="385"/>
                    </a:cubicBezTo>
                    <a:cubicBezTo>
                      <a:pt x="2795" y="385"/>
                      <a:pt x="2794" y="386"/>
                      <a:pt x="2793" y="385"/>
                    </a:cubicBezTo>
                    <a:cubicBezTo>
                      <a:pt x="2793" y="385"/>
                      <a:pt x="2794" y="383"/>
                      <a:pt x="2793" y="383"/>
                    </a:cubicBezTo>
                    <a:cubicBezTo>
                      <a:pt x="2792" y="382"/>
                      <a:pt x="2790" y="383"/>
                      <a:pt x="2789" y="383"/>
                    </a:cubicBezTo>
                    <a:cubicBezTo>
                      <a:pt x="2786" y="381"/>
                      <a:pt x="2783" y="376"/>
                      <a:pt x="2781" y="375"/>
                    </a:cubicBezTo>
                    <a:cubicBezTo>
                      <a:pt x="2778" y="373"/>
                      <a:pt x="2776" y="371"/>
                      <a:pt x="2773" y="369"/>
                    </a:cubicBezTo>
                    <a:cubicBezTo>
                      <a:pt x="2772" y="369"/>
                      <a:pt x="2772" y="370"/>
                      <a:pt x="2771" y="369"/>
                    </a:cubicBezTo>
                    <a:cubicBezTo>
                      <a:pt x="2770" y="369"/>
                      <a:pt x="2770" y="368"/>
                      <a:pt x="2769" y="368"/>
                    </a:cubicBezTo>
                    <a:cubicBezTo>
                      <a:pt x="2767" y="367"/>
                      <a:pt x="2765" y="366"/>
                      <a:pt x="2763" y="365"/>
                    </a:cubicBezTo>
                    <a:cubicBezTo>
                      <a:pt x="2760" y="362"/>
                      <a:pt x="2760" y="359"/>
                      <a:pt x="2755" y="357"/>
                    </a:cubicBezTo>
                    <a:cubicBezTo>
                      <a:pt x="2754" y="356"/>
                      <a:pt x="2753" y="357"/>
                      <a:pt x="2751" y="357"/>
                    </a:cubicBezTo>
                    <a:cubicBezTo>
                      <a:pt x="2747" y="356"/>
                      <a:pt x="2750" y="353"/>
                      <a:pt x="2746" y="352"/>
                    </a:cubicBezTo>
                    <a:cubicBezTo>
                      <a:pt x="2744" y="351"/>
                      <a:pt x="2742" y="353"/>
                      <a:pt x="2740" y="352"/>
                    </a:cubicBezTo>
                    <a:cubicBezTo>
                      <a:pt x="2736" y="342"/>
                      <a:pt x="2742" y="350"/>
                      <a:pt x="2733" y="347"/>
                    </a:cubicBezTo>
                    <a:cubicBezTo>
                      <a:pt x="2731" y="347"/>
                      <a:pt x="2730" y="343"/>
                      <a:pt x="2728" y="342"/>
                    </a:cubicBezTo>
                    <a:cubicBezTo>
                      <a:pt x="2726" y="341"/>
                      <a:pt x="2724" y="341"/>
                      <a:pt x="2723" y="339"/>
                    </a:cubicBezTo>
                    <a:cubicBezTo>
                      <a:pt x="2722" y="339"/>
                      <a:pt x="2723" y="337"/>
                      <a:pt x="2723" y="337"/>
                    </a:cubicBezTo>
                    <a:cubicBezTo>
                      <a:pt x="2721" y="336"/>
                      <a:pt x="2720" y="337"/>
                      <a:pt x="2718" y="337"/>
                    </a:cubicBezTo>
                    <a:cubicBezTo>
                      <a:pt x="2717" y="336"/>
                      <a:pt x="2717" y="335"/>
                      <a:pt x="2716" y="334"/>
                    </a:cubicBezTo>
                    <a:cubicBezTo>
                      <a:pt x="2707" y="329"/>
                      <a:pt x="2708" y="331"/>
                      <a:pt x="2710" y="331"/>
                    </a:cubicBezTo>
                    <a:cubicBezTo>
                      <a:pt x="2709" y="331"/>
                      <a:pt x="2709" y="331"/>
                      <a:pt x="2708" y="330"/>
                    </a:cubicBezTo>
                    <a:cubicBezTo>
                      <a:pt x="2706" y="329"/>
                      <a:pt x="2704" y="328"/>
                      <a:pt x="2702" y="327"/>
                    </a:cubicBezTo>
                    <a:cubicBezTo>
                      <a:pt x="2699" y="325"/>
                      <a:pt x="2696" y="323"/>
                      <a:pt x="2693" y="322"/>
                    </a:cubicBezTo>
                    <a:cubicBezTo>
                      <a:pt x="2690" y="321"/>
                      <a:pt x="2687" y="320"/>
                      <a:pt x="2685" y="319"/>
                    </a:cubicBezTo>
                    <a:cubicBezTo>
                      <a:pt x="2684" y="319"/>
                      <a:pt x="2684" y="317"/>
                      <a:pt x="2683" y="316"/>
                    </a:cubicBezTo>
                    <a:cubicBezTo>
                      <a:pt x="2681" y="315"/>
                      <a:pt x="2678" y="313"/>
                      <a:pt x="2675" y="312"/>
                    </a:cubicBezTo>
                    <a:cubicBezTo>
                      <a:pt x="2673" y="311"/>
                      <a:pt x="2669" y="311"/>
                      <a:pt x="2667" y="309"/>
                    </a:cubicBezTo>
                    <a:cubicBezTo>
                      <a:pt x="2665" y="308"/>
                      <a:pt x="2665" y="305"/>
                      <a:pt x="2663" y="304"/>
                    </a:cubicBezTo>
                    <a:cubicBezTo>
                      <a:pt x="2661" y="303"/>
                      <a:pt x="2659" y="302"/>
                      <a:pt x="2657" y="301"/>
                    </a:cubicBezTo>
                    <a:cubicBezTo>
                      <a:pt x="2656" y="301"/>
                      <a:pt x="2656" y="299"/>
                      <a:pt x="2655" y="299"/>
                    </a:cubicBezTo>
                    <a:cubicBezTo>
                      <a:pt x="2653" y="298"/>
                      <a:pt x="2651" y="298"/>
                      <a:pt x="2650" y="297"/>
                    </a:cubicBezTo>
                    <a:cubicBezTo>
                      <a:pt x="2648" y="296"/>
                      <a:pt x="2649" y="293"/>
                      <a:pt x="2648" y="292"/>
                    </a:cubicBezTo>
                    <a:cubicBezTo>
                      <a:pt x="2646" y="290"/>
                      <a:pt x="2644" y="290"/>
                      <a:pt x="2642" y="289"/>
                    </a:cubicBezTo>
                    <a:cubicBezTo>
                      <a:pt x="2642" y="288"/>
                      <a:pt x="2643" y="287"/>
                      <a:pt x="2642" y="286"/>
                    </a:cubicBezTo>
                    <a:cubicBezTo>
                      <a:pt x="2641" y="285"/>
                      <a:pt x="2639" y="285"/>
                      <a:pt x="2637" y="284"/>
                    </a:cubicBezTo>
                    <a:cubicBezTo>
                      <a:pt x="2637" y="283"/>
                      <a:pt x="2638" y="282"/>
                      <a:pt x="2637" y="281"/>
                    </a:cubicBezTo>
                    <a:cubicBezTo>
                      <a:pt x="2636" y="280"/>
                      <a:pt x="2634" y="280"/>
                      <a:pt x="2632" y="279"/>
                    </a:cubicBezTo>
                    <a:cubicBezTo>
                      <a:pt x="2631" y="279"/>
                      <a:pt x="2631" y="280"/>
                      <a:pt x="2630" y="279"/>
                    </a:cubicBezTo>
                    <a:cubicBezTo>
                      <a:pt x="2630" y="279"/>
                      <a:pt x="2631" y="277"/>
                      <a:pt x="2630" y="277"/>
                    </a:cubicBezTo>
                    <a:cubicBezTo>
                      <a:pt x="2629" y="275"/>
                      <a:pt x="2626" y="275"/>
                      <a:pt x="2625" y="274"/>
                    </a:cubicBezTo>
                    <a:cubicBezTo>
                      <a:pt x="2623" y="273"/>
                      <a:pt x="2622" y="270"/>
                      <a:pt x="2620" y="269"/>
                    </a:cubicBezTo>
                    <a:cubicBezTo>
                      <a:pt x="2619" y="268"/>
                      <a:pt x="2618" y="269"/>
                      <a:pt x="2617" y="269"/>
                    </a:cubicBezTo>
                    <a:cubicBezTo>
                      <a:pt x="2615" y="268"/>
                      <a:pt x="2608" y="260"/>
                      <a:pt x="2607" y="259"/>
                    </a:cubicBezTo>
                    <a:cubicBezTo>
                      <a:pt x="2606" y="258"/>
                      <a:pt x="2603" y="257"/>
                      <a:pt x="2602" y="256"/>
                    </a:cubicBezTo>
                    <a:cubicBezTo>
                      <a:pt x="2601" y="256"/>
                      <a:pt x="2600" y="254"/>
                      <a:pt x="2599" y="254"/>
                    </a:cubicBezTo>
                    <a:cubicBezTo>
                      <a:pt x="2598" y="253"/>
                      <a:pt x="2597" y="252"/>
                      <a:pt x="2595" y="251"/>
                    </a:cubicBezTo>
                    <a:cubicBezTo>
                      <a:pt x="2594" y="251"/>
                      <a:pt x="2593" y="252"/>
                      <a:pt x="2592" y="251"/>
                    </a:cubicBezTo>
                    <a:cubicBezTo>
                      <a:pt x="2592" y="251"/>
                      <a:pt x="2593" y="249"/>
                      <a:pt x="2592" y="249"/>
                    </a:cubicBezTo>
                    <a:cubicBezTo>
                      <a:pt x="2592" y="248"/>
                      <a:pt x="2590" y="249"/>
                      <a:pt x="2590" y="249"/>
                    </a:cubicBezTo>
                    <a:cubicBezTo>
                      <a:pt x="2588" y="247"/>
                      <a:pt x="2588" y="245"/>
                      <a:pt x="2587" y="244"/>
                    </a:cubicBezTo>
                    <a:cubicBezTo>
                      <a:pt x="2586" y="243"/>
                      <a:pt x="2583" y="243"/>
                      <a:pt x="2582" y="241"/>
                    </a:cubicBezTo>
                    <a:cubicBezTo>
                      <a:pt x="2581" y="241"/>
                      <a:pt x="2582" y="239"/>
                      <a:pt x="2582" y="239"/>
                    </a:cubicBezTo>
                    <a:cubicBezTo>
                      <a:pt x="2580" y="237"/>
                      <a:pt x="2579" y="237"/>
                      <a:pt x="2577" y="236"/>
                    </a:cubicBezTo>
                    <a:cubicBezTo>
                      <a:pt x="2575" y="235"/>
                      <a:pt x="2571" y="230"/>
                      <a:pt x="2569" y="228"/>
                    </a:cubicBezTo>
                    <a:lnTo>
                      <a:pt x="2564" y="224"/>
                    </a:lnTo>
                    <a:cubicBezTo>
                      <a:pt x="2563" y="223"/>
                      <a:pt x="2562" y="222"/>
                      <a:pt x="2561" y="221"/>
                    </a:cubicBezTo>
                    <a:cubicBezTo>
                      <a:pt x="2561" y="221"/>
                      <a:pt x="2561" y="221"/>
                      <a:pt x="2561" y="220"/>
                    </a:cubicBezTo>
                    <a:cubicBezTo>
                      <a:pt x="2559" y="220"/>
                      <a:pt x="2559" y="219"/>
                      <a:pt x="2557" y="219"/>
                    </a:cubicBezTo>
                    <a:cubicBezTo>
                      <a:pt x="2549" y="216"/>
                      <a:pt x="2543" y="213"/>
                      <a:pt x="2543" y="209"/>
                    </a:cubicBezTo>
                    <a:cubicBezTo>
                      <a:pt x="2543" y="178"/>
                      <a:pt x="2438" y="196"/>
                      <a:pt x="2392" y="234"/>
                    </a:cubicBezTo>
                    <a:cubicBezTo>
                      <a:pt x="2363" y="257"/>
                      <a:pt x="2345" y="258"/>
                      <a:pt x="2332" y="238"/>
                    </a:cubicBezTo>
                    <a:cubicBezTo>
                      <a:pt x="2312" y="206"/>
                      <a:pt x="2232" y="268"/>
                      <a:pt x="2232" y="315"/>
                    </a:cubicBezTo>
                    <a:cubicBezTo>
                      <a:pt x="2232" y="329"/>
                      <a:pt x="2201" y="370"/>
                      <a:pt x="2162" y="406"/>
                    </a:cubicBezTo>
                    <a:cubicBezTo>
                      <a:pt x="2120" y="446"/>
                      <a:pt x="2091" y="504"/>
                      <a:pt x="2091" y="549"/>
                    </a:cubicBezTo>
                    <a:cubicBezTo>
                      <a:pt x="2091" y="635"/>
                      <a:pt x="1874" y="899"/>
                      <a:pt x="1779" y="929"/>
                    </a:cubicBezTo>
                    <a:cubicBezTo>
                      <a:pt x="1749" y="939"/>
                      <a:pt x="1724" y="964"/>
                      <a:pt x="1724" y="987"/>
                    </a:cubicBezTo>
                    <a:cubicBezTo>
                      <a:pt x="1724" y="1009"/>
                      <a:pt x="1699" y="1027"/>
                      <a:pt x="1667" y="1027"/>
                    </a:cubicBezTo>
                    <a:cubicBezTo>
                      <a:pt x="1633" y="1027"/>
                      <a:pt x="1600" y="1053"/>
                      <a:pt x="1586" y="1091"/>
                    </a:cubicBezTo>
                    <a:cubicBezTo>
                      <a:pt x="1573" y="1126"/>
                      <a:pt x="1551" y="1153"/>
                      <a:pt x="1537" y="1152"/>
                    </a:cubicBezTo>
                    <a:cubicBezTo>
                      <a:pt x="1505" y="1148"/>
                      <a:pt x="1332" y="1259"/>
                      <a:pt x="1253" y="1335"/>
                    </a:cubicBezTo>
                    <a:cubicBezTo>
                      <a:pt x="1218" y="1368"/>
                      <a:pt x="1182" y="1394"/>
                      <a:pt x="1171" y="1394"/>
                    </a:cubicBezTo>
                    <a:cubicBezTo>
                      <a:pt x="1142" y="1394"/>
                      <a:pt x="991" y="1559"/>
                      <a:pt x="991" y="1592"/>
                    </a:cubicBezTo>
                    <a:cubicBezTo>
                      <a:pt x="991" y="1607"/>
                      <a:pt x="973" y="1620"/>
                      <a:pt x="951" y="1620"/>
                    </a:cubicBezTo>
                    <a:cubicBezTo>
                      <a:pt x="929" y="1620"/>
                      <a:pt x="851" y="1690"/>
                      <a:pt x="777" y="1775"/>
                    </a:cubicBezTo>
                    <a:cubicBezTo>
                      <a:pt x="703" y="1861"/>
                      <a:pt x="631" y="1930"/>
                      <a:pt x="615" y="1930"/>
                    </a:cubicBezTo>
                    <a:cubicBezTo>
                      <a:pt x="599" y="1930"/>
                      <a:pt x="545" y="1962"/>
                      <a:pt x="494" y="2001"/>
                    </a:cubicBezTo>
                    <a:cubicBezTo>
                      <a:pt x="443" y="2040"/>
                      <a:pt x="364" y="2072"/>
                      <a:pt x="317" y="2072"/>
                    </a:cubicBezTo>
                    <a:cubicBezTo>
                      <a:pt x="194" y="2072"/>
                      <a:pt x="161" y="2156"/>
                      <a:pt x="177" y="2424"/>
                    </a:cubicBezTo>
                    <a:cubicBezTo>
                      <a:pt x="182" y="2502"/>
                      <a:pt x="186" y="2733"/>
                      <a:pt x="186" y="2938"/>
                    </a:cubicBezTo>
                    <a:cubicBezTo>
                      <a:pt x="186" y="3277"/>
                      <a:pt x="181" y="3315"/>
                      <a:pt x="126" y="3375"/>
                    </a:cubicBezTo>
                    <a:cubicBezTo>
                      <a:pt x="0" y="3514"/>
                      <a:pt x="18" y="3672"/>
                      <a:pt x="180" y="3842"/>
                    </a:cubicBezTo>
                    <a:cubicBezTo>
                      <a:pt x="285" y="3952"/>
                      <a:pt x="433" y="4039"/>
                      <a:pt x="446" y="3999"/>
                    </a:cubicBezTo>
                    <a:cubicBezTo>
                      <a:pt x="452" y="3981"/>
                      <a:pt x="513" y="3981"/>
                      <a:pt x="618" y="3999"/>
                    </a:cubicBezTo>
                    <a:cubicBezTo>
                      <a:pt x="706" y="4015"/>
                      <a:pt x="808" y="4027"/>
                      <a:pt x="842" y="4026"/>
                    </a:cubicBezTo>
                    <a:cubicBezTo>
                      <a:pt x="877" y="4025"/>
                      <a:pt x="906" y="4037"/>
                      <a:pt x="906" y="4051"/>
                    </a:cubicBezTo>
                    <a:cubicBezTo>
                      <a:pt x="906" y="4087"/>
                      <a:pt x="1096" y="4081"/>
                      <a:pt x="1118" y="4044"/>
                    </a:cubicBezTo>
                    <a:cubicBezTo>
                      <a:pt x="1132" y="4022"/>
                      <a:pt x="1147" y="4022"/>
                      <a:pt x="1169" y="4044"/>
                    </a:cubicBezTo>
                    <a:cubicBezTo>
                      <a:pt x="1186" y="4061"/>
                      <a:pt x="1252" y="4075"/>
                      <a:pt x="1316" y="4075"/>
                    </a:cubicBezTo>
                    <a:cubicBezTo>
                      <a:pt x="1380" y="4075"/>
                      <a:pt x="1440" y="4084"/>
                      <a:pt x="1449" y="4093"/>
                    </a:cubicBezTo>
                    <a:cubicBezTo>
                      <a:pt x="1459" y="4102"/>
                      <a:pt x="1617" y="4115"/>
                      <a:pt x="1800" y="4122"/>
                    </a:cubicBezTo>
                    <a:cubicBezTo>
                      <a:pt x="2146" y="4135"/>
                      <a:pt x="2241" y="4145"/>
                      <a:pt x="2285" y="4172"/>
                    </a:cubicBezTo>
                    <a:cubicBezTo>
                      <a:pt x="2300" y="4181"/>
                      <a:pt x="2429" y="4195"/>
                      <a:pt x="2573" y="4203"/>
                    </a:cubicBezTo>
                    <a:cubicBezTo>
                      <a:pt x="2716" y="4211"/>
                      <a:pt x="2848" y="4228"/>
                      <a:pt x="2865" y="4241"/>
                    </a:cubicBezTo>
                    <a:cubicBezTo>
                      <a:pt x="2882" y="4254"/>
                      <a:pt x="2953" y="4263"/>
                      <a:pt x="3023" y="4260"/>
                    </a:cubicBezTo>
                    <a:cubicBezTo>
                      <a:pt x="3092" y="4258"/>
                      <a:pt x="3169" y="4266"/>
                      <a:pt x="3192" y="4277"/>
                    </a:cubicBezTo>
                    <a:cubicBezTo>
                      <a:pt x="3256" y="4309"/>
                      <a:pt x="3663" y="4359"/>
                      <a:pt x="3710" y="4342"/>
                    </a:cubicBezTo>
                    <a:cubicBezTo>
                      <a:pt x="3732" y="4333"/>
                      <a:pt x="3759" y="4339"/>
                      <a:pt x="3770" y="4357"/>
                    </a:cubicBezTo>
                    <a:cubicBezTo>
                      <a:pt x="3780" y="4374"/>
                      <a:pt x="3813" y="4380"/>
                      <a:pt x="3843" y="4371"/>
                    </a:cubicBezTo>
                    <a:cubicBezTo>
                      <a:pt x="3873" y="4361"/>
                      <a:pt x="3897" y="4367"/>
                      <a:pt x="3897" y="4384"/>
                    </a:cubicBezTo>
                    <a:cubicBezTo>
                      <a:pt x="3897" y="4418"/>
                      <a:pt x="3938" y="4421"/>
                      <a:pt x="4062" y="4396"/>
                    </a:cubicBezTo>
                    <a:cubicBezTo>
                      <a:pt x="4111" y="4387"/>
                      <a:pt x="4145" y="4369"/>
                      <a:pt x="4137" y="4357"/>
                    </a:cubicBezTo>
                    <a:cubicBezTo>
                      <a:pt x="4130" y="4346"/>
                      <a:pt x="4244" y="4338"/>
                      <a:pt x="4391" y="4340"/>
                    </a:cubicBezTo>
                    <a:cubicBezTo>
                      <a:pt x="4539" y="4342"/>
                      <a:pt x="4659" y="4354"/>
                      <a:pt x="4659" y="4367"/>
                    </a:cubicBezTo>
                    <a:cubicBezTo>
                      <a:pt x="4660" y="4380"/>
                      <a:pt x="4701" y="4381"/>
                      <a:pt x="4751" y="4369"/>
                    </a:cubicBezTo>
                    <a:cubicBezTo>
                      <a:pt x="4802" y="4357"/>
                      <a:pt x="4922" y="4350"/>
                      <a:pt x="5019" y="4353"/>
                    </a:cubicBezTo>
                    <a:cubicBezTo>
                      <a:pt x="5128" y="4356"/>
                      <a:pt x="5196" y="4348"/>
                      <a:pt x="5196" y="4329"/>
                    </a:cubicBezTo>
                    <a:cubicBezTo>
                      <a:pt x="5196" y="4309"/>
                      <a:pt x="5213" y="4308"/>
                      <a:pt x="5249" y="4328"/>
                    </a:cubicBezTo>
                    <a:cubicBezTo>
                      <a:pt x="5278" y="4343"/>
                      <a:pt x="5332" y="4349"/>
                      <a:pt x="5369" y="4340"/>
                    </a:cubicBezTo>
                    <a:cubicBezTo>
                      <a:pt x="5405" y="4331"/>
                      <a:pt x="5525" y="4324"/>
                      <a:pt x="5633" y="4324"/>
                    </a:cubicBezTo>
                    <a:cubicBezTo>
                      <a:pt x="5745" y="4324"/>
                      <a:pt x="5839" y="4311"/>
                      <a:pt x="5850" y="4293"/>
                    </a:cubicBezTo>
                    <a:cubicBezTo>
                      <a:pt x="5864" y="4271"/>
                      <a:pt x="5919" y="4271"/>
                      <a:pt x="6048" y="4295"/>
                    </a:cubicBezTo>
                    <a:cubicBezTo>
                      <a:pt x="6146" y="4313"/>
                      <a:pt x="6270" y="4321"/>
                      <a:pt x="6325" y="4313"/>
                    </a:cubicBezTo>
                    <a:cubicBezTo>
                      <a:pt x="6379" y="4304"/>
                      <a:pt x="6481" y="4294"/>
                      <a:pt x="6550" y="4290"/>
                    </a:cubicBezTo>
                    <a:cubicBezTo>
                      <a:pt x="6688" y="4283"/>
                      <a:pt x="6877" y="4251"/>
                      <a:pt x="6945" y="4223"/>
                    </a:cubicBezTo>
                    <a:cubicBezTo>
                      <a:pt x="6969" y="4214"/>
                      <a:pt x="7032" y="4203"/>
                      <a:pt x="7087" y="4200"/>
                    </a:cubicBezTo>
                    <a:cubicBezTo>
                      <a:pt x="7337" y="4184"/>
                      <a:pt x="7555" y="4152"/>
                      <a:pt x="7586" y="4126"/>
                    </a:cubicBezTo>
                    <a:cubicBezTo>
                      <a:pt x="7605" y="4111"/>
                      <a:pt x="7633" y="4107"/>
                      <a:pt x="7649" y="4117"/>
                    </a:cubicBezTo>
                    <a:cubicBezTo>
                      <a:pt x="7665" y="4127"/>
                      <a:pt x="7679" y="4122"/>
                      <a:pt x="7679" y="4105"/>
                    </a:cubicBezTo>
                    <a:cubicBezTo>
                      <a:pt x="7679" y="4089"/>
                      <a:pt x="7716" y="4075"/>
                      <a:pt x="7761" y="4075"/>
                    </a:cubicBezTo>
                    <a:cubicBezTo>
                      <a:pt x="7807" y="4075"/>
                      <a:pt x="7851" y="4059"/>
                      <a:pt x="7860" y="4040"/>
                    </a:cubicBezTo>
                    <a:cubicBezTo>
                      <a:pt x="7873" y="4013"/>
                      <a:pt x="7880" y="4013"/>
                      <a:pt x="7893" y="4039"/>
                    </a:cubicBezTo>
                    <a:cubicBezTo>
                      <a:pt x="7905" y="4065"/>
                      <a:pt x="7921" y="4066"/>
                      <a:pt x="7961" y="4041"/>
                    </a:cubicBezTo>
                    <a:cubicBezTo>
                      <a:pt x="8000" y="4016"/>
                      <a:pt x="8023" y="4016"/>
                      <a:pt x="8055" y="4043"/>
                    </a:cubicBezTo>
                    <a:cubicBezTo>
                      <a:pt x="8088" y="4070"/>
                      <a:pt x="8105" y="4068"/>
                      <a:pt x="8140" y="4034"/>
                    </a:cubicBezTo>
                    <a:cubicBezTo>
                      <a:pt x="8163" y="4010"/>
                      <a:pt x="8201" y="3991"/>
                      <a:pt x="8223" y="3991"/>
                    </a:cubicBezTo>
                    <a:cubicBezTo>
                      <a:pt x="8324" y="3991"/>
                      <a:pt x="8356" y="3896"/>
                      <a:pt x="8361" y="3580"/>
                    </a:cubicBezTo>
                    <a:cubicBezTo>
                      <a:pt x="8364" y="3410"/>
                      <a:pt x="8379" y="3226"/>
                      <a:pt x="8395" y="3172"/>
                    </a:cubicBezTo>
                    <a:cubicBezTo>
                      <a:pt x="8410" y="3118"/>
                      <a:pt x="8421" y="3066"/>
                      <a:pt x="8419" y="3056"/>
                    </a:cubicBezTo>
                    <a:cubicBezTo>
                      <a:pt x="8417" y="3046"/>
                      <a:pt x="8408" y="2799"/>
                      <a:pt x="8400" y="2507"/>
                    </a:cubicBezTo>
                    <a:cubicBezTo>
                      <a:pt x="8385" y="1993"/>
                      <a:pt x="8357" y="1782"/>
                      <a:pt x="8299" y="1747"/>
                    </a:cubicBezTo>
                    <a:cubicBezTo>
                      <a:pt x="8284" y="1738"/>
                      <a:pt x="8272" y="1708"/>
                      <a:pt x="8272" y="1682"/>
                    </a:cubicBezTo>
                    <a:cubicBezTo>
                      <a:pt x="8272" y="1655"/>
                      <a:pt x="8237" y="1600"/>
                      <a:pt x="8194" y="1558"/>
                    </a:cubicBezTo>
                    <a:cubicBezTo>
                      <a:pt x="8152" y="1516"/>
                      <a:pt x="8050" y="1418"/>
                      <a:pt x="7969" y="1339"/>
                    </a:cubicBezTo>
                    <a:cubicBezTo>
                      <a:pt x="7887" y="1261"/>
                      <a:pt x="7820" y="1190"/>
                      <a:pt x="7820" y="1183"/>
                    </a:cubicBezTo>
                    <a:cubicBezTo>
                      <a:pt x="7820" y="1149"/>
                      <a:pt x="7691" y="1045"/>
                      <a:pt x="7571" y="982"/>
                    </a:cubicBezTo>
                    <a:cubicBezTo>
                      <a:pt x="7407" y="897"/>
                      <a:pt x="7331" y="850"/>
                      <a:pt x="7312" y="824"/>
                    </a:cubicBezTo>
                    <a:cubicBezTo>
                      <a:pt x="7303" y="814"/>
                      <a:pt x="7263" y="788"/>
                      <a:pt x="7222" y="766"/>
                    </a:cubicBezTo>
                    <a:cubicBezTo>
                      <a:pt x="7134" y="721"/>
                      <a:pt x="6917" y="530"/>
                      <a:pt x="6917" y="498"/>
                    </a:cubicBezTo>
                    <a:cubicBezTo>
                      <a:pt x="6917" y="486"/>
                      <a:pt x="6879" y="460"/>
                      <a:pt x="6833" y="439"/>
                    </a:cubicBezTo>
                    <a:cubicBezTo>
                      <a:pt x="6786" y="418"/>
                      <a:pt x="6754" y="390"/>
                      <a:pt x="6763" y="376"/>
                    </a:cubicBezTo>
                    <a:cubicBezTo>
                      <a:pt x="6772" y="361"/>
                      <a:pt x="6750" y="338"/>
                      <a:pt x="6714" y="324"/>
                    </a:cubicBezTo>
                    <a:cubicBezTo>
                      <a:pt x="6679" y="310"/>
                      <a:pt x="6622" y="273"/>
                      <a:pt x="6589" y="242"/>
                    </a:cubicBezTo>
                    <a:cubicBezTo>
                      <a:pt x="6481" y="139"/>
                      <a:pt x="6297" y="64"/>
                      <a:pt x="6139" y="59"/>
                    </a:cubicBezTo>
                    <a:cubicBezTo>
                      <a:pt x="6054" y="56"/>
                      <a:pt x="5986" y="43"/>
                      <a:pt x="5986" y="30"/>
                    </a:cubicBezTo>
                    <a:cubicBezTo>
                      <a:pt x="5986" y="16"/>
                      <a:pt x="5967" y="12"/>
                      <a:pt x="5944" y="21"/>
                    </a:cubicBezTo>
                    <a:cubicBezTo>
                      <a:pt x="5922" y="30"/>
                      <a:pt x="5896" y="25"/>
                      <a:pt x="5887" y="11"/>
                    </a:cubicBezTo>
                    <a:cubicBezTo>
                      <a:pt x="5884" y="6"/>
                      <a:pt x="5877" y="2"/>
                      <a:pt x="5870" y="0"/>
                    </a:cubicBezTo>
                    <a:lnTo>
                      <a:pt x="58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813"/>
              </a:p>
            </p:txBody>
          </p:sp>
          <p:sp>
            <p:nvSpPr>
              <p:cNvPr id="95" name="Freeform 37"/>
              <p:cNvSpPr>
                <a:spLocks noChangeAspect="1"/>
              </p:cNvSpPr>
              <p:nvPr/>
            </p:nvSpPr>
            <p:spPr bwMode="auto">
              <a:xfrm>
                <a:off x="6230938" y="1457325"/>
                <a:ext cx="1182688" cy="1271588"/>
              </a:xfrm>
              <a:custGeom>
                <a:avLst/>
                <a:gdLst>
                  <a:gd name="T0" fmla="*/ 1414 w 4519"/>
                  <a:gd name="T1" fmla="*/ 190 h 4864"/>
                  <a:gd name="T2" fmla="*/ 1031 w 4519"/>
                  <a:gd name="T3" fmla="*/ 402 h 4864"/>
                  <a:gd name="T4" fmla="*/ 460 w 4519"/>
                  <a:gd name="T5" fmla="*/ 1015 h 4864"/>
                  <a:gd name="T6" fmla="*/ 19 w 4519"/>
                  <a:gd name="T7" fmla="*/ 2328 h 4864"/>
                  <a:gd name="T8" fmla="*/ 613 w 4519"/>
                  <a:gd name="T9" fmla="*/ 4236 h 4864"/>
                  <a:gd name="T10" fmla="*/ 643 w 4519"/>
                  <a:gd name="T11" fmla="*/ 4271 h 4864"/>
                  <a:gd name="T12" fmla="*/ 668 w 4519"/>
                  <a:gd name="T13" fmla="*/ 4301 h 4864"/>
                  <a:gd name="T14" fmla="*/ 688 w 4519"/>
                  <a:gd name="T15" fmla="*/ 4319 h 4864"/>
                  <a:gd name="T16" fmla="*/ 703 w 4519"/>
                  <a:gd name="T17" fmla="*/ 4334 h 4864"/>
                  <a:gd name="T18" fmla="*/ 719 w 4519"/>
                  <a:gd name="T19" fmla="*/ 4344 h 4864"/>
                  <a:gd name="T20" fmla="*/ 731 w 4519"/>
                  <a:gd name="T21" fmla="*/ 4357 h 4864"/>
                  <a:gd name="T22" fmla="*/ 743 w 4519"/>
                  <a:gd name="T23" fmla="*/ 4367 h 4864"/>
                  <a:gd name="T24" fmla="*/ 758 w 4519"/>
                  <a:gd name="T25" fmla="*/ 4374 h 4864"/>
                  <a:gd name="T26" fmla="*/ 779 w 4519"/>
                  <a:gd name="T27" fmla="*/ 4385 h 4864"/>
                  <a:gd name="T28" fmla="*/ 791 w 4519"/>
                  <a:gd name="T29" fmla="*/ 4392 h 4864"/>
                  <a:gd name="T30" fmla="*/ 817 w 4519"/>
                  <a:gd name="T31" fmla="*/ 4404 h 4864"/>
                  <a:gd name="T32" fmla="*/ 842 w 4519"/>
                  <a:gd name="T33" fmla="*/ 4422 h 4864"/>
                  <a:gd name="T34" fmla="*/ 854 w 4519"/>
                  <a:gd name="T35" fmla="*/ 4427 h 4864"/>
                  <a:gd name="T36" fmla="*/ 882 w 4519"/>
                  <a:gd name="T37" fmla="*/ 4450 h 4864"/>
                  <a:gd name="T38" fmla="*/ 892 w 4519"/>
                  <a:gd name="T39" fmla="*/ 4455 h 4864"/>
                  <a:gd name="T40" fmla="*/ 913 w 4519"/>
                  <a:gd name="T41" fmla="*/ 4468 h 4864"/>
                  <a:gd name="T42" fmla="*/ 935 w 4519"/>
                  <a:gd name="T43" fmla="*/ 4483 h 4864"/>
                  <a:gd name="T44" fmla="*/ 950 w 4519"/>
                  <a:gd name="T45" fmla="*/ 4493 h 4864"/>
                  <a:gd name="T46" fmla="*/ 970 w 4519"/>
                  <a:gd name="T47" fmla="*/ 4503 h 4864"/>
                  <a:gd name="T48" fmla="*/ 993 w 4519"/>
                  <a:gd name="T49" fmla="*/ 4513 h 4864"/>
                  <a:gd name="T50" fmla="*/ 1001 w 4519"/>
                  <a:gd name="T51" fmla="*/ 4523 h 4864"/>
                  <a:gd name="T52" fmla="*/ 1026 w 4519"/>
                  <a:gd name="T53" fmla="*/ 4536 h 4864"/>
                  <a:gd name="T54" fmla="*/ 1046 w 4519"/>
                  <a:gd name="T55" fmla="*/ 4553 h 4864"/>
                  <a:gd name="T56" fmla="*/ 1066 w 4519"/>
                  <a:gd name="T57" fmla="*/ 4566 h 4864"/>
                  <a:gd name="T58" fmla="*/ 1086 w 4519"/>
                  <a:gd name="T59" fmla="*/ 4581 h 4864"/>
                  <a:gd name="T60" fmla="*/ 1101 w 4519"/>
                  <a:gd name="T61" fmla="*/ 4591 h 4864"/>
                  <a:gd name="T62" fmla="*/ 1119 w 4519"/>
                  <a:gd name="T63" fmla="*/ 4609 h 4864"/>
                  <a:gd name="T64" fmla="*/ 2212 w 4519"/>
                  <a:gd name="T65" fmla="*/ 4851 h 4864"/>
                  <a:gd name="T66" fmla="*/ 2495 w 4519"/>
                  <a:gd name="T67" fmla="*/ 4761 h 4864"/>
                  <a:gd name="T68" fmla="*/ 2959 w 4519"/>
                  <a:gd name="T69" fmla="*/ 4559 h 4864"/>
                  <a:gd name="T70" fmla="*/ 3277 w 4519"/>
                  <a:gd name="T71" fmla="*/ 4340 h 4864"/>
                  <a:gd name="T72" fmla="*/ 3598 w 4519"/>
                  <a:gd name="T73" fmla="*/ 4133 h 4864"/>
                  <a:gd name="T74" fmla="*/ 3621 w 4519"/>
                  <a:gd name="T75" fmla="*/ 4112 h 4864"/>
                  <a:gd name="T76" fmla="*/ 3679 w 4519"/>
                  <a:gd name="T77" fmla="*/ 4085 h 4864"/>
                  <a:gd name="T78" fmla="*/ 3717 w 4519"/>
                  <a:gd name="T79" fmla="*/ 4065 h 4864"/>
                  <a:gd name="T80" fmla="*/ 3742 w 4519"/>
                  <a:gd name="T81" fmla="*/ 4052 h 4864"/>
                  <a:gd name="T82" fmla="*/ 3763 w 4519"/>
                  <a:gd name="T83" fmla="*/ 4042 h 4864"/>
                  <a:gd name="T84" fmla="*/ 3797 w 4519"/>
                  <a:gd name="T85" fmla="*/ 4032 h 4864"/>
                  <a:gd name="T86" fmla="*/ 3812 w 4519"/>
                  <a:gd name="T87" fmla="*/ 4016 h 4864"/>
                  <a:gd name="T88" fmla="*/ 3827 w 4519"/>
                  <a:gd name="T89" fmla="*/ 4004 h 4864"/>
                  <a:gd name="T90" fmla="*/ 3842 w 4519"/>
                  <a:gd name="T91" fmla="*/ 3994 h 4864"/>
                  <a:gd name="T92" fmla="*/ 3858 w 4519"/>
                  <a:gd name="T93" fmla="*/ 3984 h 4864"/>
                  <a:gd name="T94" fmla="*/ 4091 w 4519"/>
                  <a:gd name="T95" fmla="*/ 3704 h 4864"/>
                  <a:gd name="T96" fmla="*/ 4409 w 4519"/>
                  <a:gd name="T97" fmla="*/ 3365 h 4864"/>
                  <a:gd name="T98" fmla="*/ 4320 w 4519"/>
                  <a:gd name="T99" fmla="*/ 1580 h 4864"/>
                  <a:gd name="T100" fmla="*/ 4011 w 4519"/>
                  <a:gd name="T101" fmla="*/ 1101 h 4864"/>
                  <a:gd name="T102" fmla="*/ 2881 w 4519"/>
                  <a:gd name="T103" fmla="*/ 57 h 4864"/>
                  <a:gd name="T104" fmla="*/ 2125 w 4519"/>
                  <a:gd name="T105" fmla="*/ 1 h 4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519" h="4864">
                    <a:moveTo>
                      <a:pt x="2125" y="1"/>
                    </a:moveTo>
                    <a:cubicBezTo>
                      <a:pt x="2100" y="0"/>
                      <a:pt x="2062" y="9"/>
                      <a:pt x="2012" y="26"/>
                    </a:cubicBezTo>
                    <a:cubicBezTo>
                      <a:pt x="1943" y="49"/>
                      <a:pt x="1843" y="74"/>
                      <a:pt x="1788" y="81"/>
                    </a:cubicBezTo>
                    <a:cubicBezTo>
                      <a:pt x="1662" y="98"/>
                      <a:pt x="1556" y="129"/>
                      <a:pt x="1517" y="160"/>
                    </a:cubicBezTo>
                    <a:cubicBezTo>
                      <a:pt x="1500" y="173"/>
                      <a:pt x="1454" y="186"/>
                      <a:pt x="1414" y="190"/>
                    </a:cubicBezTo>
                    <a:cubicBezTo>
                      <a:pt x="1374" y="193"/>
                      <a:pt x="1346" y="205"/>
                      <a:pt x="1353" y="216"/>
                    </a:cubicBezTo>
                    <a:cubicBezTo>
                      <a:pt x="1369" y="243"/>
                      <a:pt x="1260" y="277"/>
                      <a:pt x="1226" y="256"/>
                    </a:cubicBezTo>
                    <a:cubicBezTo>
                      <a:pt x="1211" y="247"/>
                      <a:pt x="1189" y="257"/>
                      <a:pt x="1176" y="279"/>
                    </a:cubicBezTo>
                    <a:cubicBezTo>
                      <a:pt x="1164" y="301"/>
                      <a:pt x="1128" y="323"/>
                      <a:pt x="1097" y="329"/>
                    </a:cubicBezTo>
                    <a:cubicBezTo>
                      <a:pt x="1064" y="335"/>
                      <a:pt x="1036" y="365"/>
                      <a:pt x="1031" y="402"/>
                    </a:cubicBezTo>
                    <a:cubicBezTo>
                      <a:pt x="1025" y="442"/>
                      <a:pt x="1003" y="466"/>
                      <a:pt x="970" y="466"/>
                    </a:cubicBezTo>
                    <a:cubicBezTo>
                      <a:pt x="913" y="466"/>
                      <a:pt x="642" y="751"/>
                      <a:pt x="601" y="854"/>
                    </a:cubicBezTo>
                    <a:cubicBezTo>
                      <a:pt x="588" y="889"/>
                      <a:pt x="564" y="917"/>
                      <a:pt x="549" y="917"/>
                    </a:cubicBezTo>
                    <a:cubicBezTo>
                      <a:pt x="534" y="917"/>
                      <a:pt x="514" y="943"/>
                      <a:pt x="504" y="974"/>
                    </a:cubicBezTo>
                    <a:cubicBezTo>
                      <a:pt x="494" y="1006"/>
                      <a:pt x="475" y="1024"/>
                      <a:pt x="460" y="1015"/>
                    </a:cubicBezTo>
                    <a:cubicBezTo>
                      <a:pt x="446" y="1006"/>
                      <a:pt x="442" y="1019"/>
                      <a:pt x="451" y="1043"/>
                    </a:cubicBezTo>
                    <a:cubicBezTo>
                      <a:pt x="461" y="1069"/>
                      <a:pt x="419" y="1170"/>
                      <a:pt x="354" y="1281"/>
                    </a:cubicBezTo>
                    <a:cubicBezTo>
                      <a:pt x="262" y="1435"/>
                      <a:pt x="81" y="1892"/>
                      <a:pt x="56" y="2032"/>
                    </a:cubicBezTo>
                    <a:cubicBezTo>
                      <a:pt x="54" y="2047"/>
                      <a:pt x="43" y="2073"/>
                      <a:pt x="33" y="2088"/>
                    </a:cubicBezTo>
                    <a:cubicBezTo>
                      <a:pt x="7" y="2132"/>
                      <a:pt x="0" y="2250"/>
                      <a:pt x="19" y="2328"/>
                    </a:cubicBezTo>
                    <a:cubicBezTo>
                      <a:pt x="37" y="2397"/>
                      <a:pt x="53" y="2617"/>
                      <a:pt x="78" y="3124"/>
                    </a:cubicBezTo>
                    <a:cubicBezTo>
                      <a:pt x="92" y="3384"/>
                      <a:pt x="137" y="3584"/>
                      <a:pt x="198" y="3657"/>
                    </a:cubicBezTo>
                    <a:cubicBezTo>
                      <a:pt x="219" y="3682"/>
                      <a:pt x="236" y="3710"/>
                      <a:pt x="236" y="3721"/>
                    </a:cubicBezTo>
                    <a:cubicBezTo>
                      <a:pt x="236" y="3765"/>
                      <a:pt x="454" y="4068"/>
                      <a:pt x="541" y="4145"/>
                    </a:cubicBezTo>
                    <a:cubicBezTo>
                      <a:pt x="575" y="4176"/>
                      <a:pt x="599" y="4208"/>
                      <a:pt x="613" y="4236"/>
                    </a:cubicBezTo>
                    <a:cubicBezTo>
                      <a:pt x="614" y="4237"/>
                      <a:pt x="615" y="4239"/>
                      <a:pt x="615" y="4240"/>
                    </a:cubicBezTo>
                    <a:cubicBezTo>
                      <a:pt x="616" y="4242"/>
                      <a:pt x="617" y="4243"/>
                      <a:pt x="617" y="4244"/>
                    </a:cubicBezTo>
                    <a:cubicBezTo>
                      <a:pt x="620" y="4248"/>
                      <a:pt x="625" y="4250"/>
                      <a:pt x="628" y="4254"/>
                    </a:cubicBezTo>
                    <a:cubicBezTo>
                      <a:pt x="630" y="4256"/>
                      <a:pt x="630" y="4259"/>
                      <a:pt x="632" y="4262"/>
                    </a:cubicBezTo>
                    <a:cubicBezTo>
                      <a:pt x="635" y="4265"/>
                      <a:pt x="640" y="4267"/>
                      <a:pt x="643" y="4271"/>
                    </a:cubicBezTo>
                    <a:cubicBezTo>
                      <a:pt x="644" y="4273"/>
                      <a:pt x="644" y="4277"/>
                      <a:pt x="645" y="4279"/>
                    </a:cubicBezTo>
                    <a:cubicBezTo>
                      <a:pt x="647" y="4282"/>
                      <a:pt x="650" y="4281"/>
                      <a:pt x="653" y="4284"/>
                    </a:cubicBezTo>
                    <a:cubicBezTo>
                      <a:pt x="655" y="4286"/>
                      <a:pt x="655" y="4290"/>
                      <a:pt x="658" y="4291"/>
                    </a:cubicBezTo>
                    <a:cubicBezTo>
                      <a:pt x="659" y="4292"/>
                      <a:pt x="662" y="4291"/>
                      <a:pt x="663" y="4291"/>
                    </a:cubicBezTo>
                    <a:cubicBezTo>
                      <a:pt x="664" y="4292"/>
                      <a:pt x="667" y="4300"/>
                      <a:pt x="668" y="4301"/>
                    </a:cubicBezTo>
                    <a:cubicBezTo>
                      <a:pt x="669" y="4303"/>
                      <a:pt x="671" y="4305"/>
                      <a:pt x="673" y="4306"/>
                    </a:cubicBezTo>
                    <a:cubicBezTo>
                      <a:pt x="674" y="4307"/>
                      <a:pt x="674" y="4309"/>
                      <a:pt x="675" y="4309"/>
                    </a:cubicBezTo>
                    <a:cubicBezTo>
                      <a:pt x="677" y="4310"/>
                      <a:pt x="680" y="4308"/>
                      <a:pt x="681" y="4309"/>
                    </a:cubicBezTo>
                    <a:cubicBezTo>
                      <a:pt x="684" y="4312"/>
                      <a:pt x="682" y="4315"/>
                      <a:pt x="685" y="4319"/>
                    </a:cubicBezTo>
                    <a:cubicBezTo>
                      <a:pt x="686" y="4319"/>
                      <a:pt x="687" y="4318"/>
                      <a:pt x="688" y="4319"/>
                    </a:cubicBezTo>
                    <a:cubicBezTo>
                      <a:pt x="690" y="4320"/>
                      <a:pt x="691" y="4323"/>
                      <a:pt x="693" y="4324"/>
                    </a:cubicBezTo>
                    <a:cubicBezTo>
                      <a:pt x="695" y="4325"/>
                      <a:pt x="697" y="4326"/>
                      <a:pt x="698" y="4327"/>
                    </a:cubicBezTo>
                    <a:cubicBezTo>
                      <a:pt x="699" y="4327"/>
                      <a:pt x="700" y="4329"/>
                      <a:pt x="701" y="4329"/>
                    </a:cubicBezTo>
                    <a:cubicBezTo>
                      <a:pt x="702" y="4330"/>
                      <a:pt x="702" y="4331"/>
                      <a:pt x="703" y="4332"/>
                    </a:cubicBezTo>
                    <a:cubicBezTo>
                      <a:pt x="703" y="4333"/>
                      <a:pt x="702" y="4333"/>
                      <a:pt x="703" y="4334"/>
                    </a:cubicBezTo>
                    <a:cubicBezTo>
                      <a:pt x="703" y="4334"/>
                      <a:pt x="705" y="4333"/>
                      <a:pt x="705" y="4334"/>
                    </a:cubicBezTo>
                    <a:cubicBezTo>
                      <a:pt x="706" y="4334"/>
                      <a:pt x="705" y="4336"/>
                      <a:pt x="705" y="4336"/>
                    </a:cubicBezTo>
                    <a:cubicBezTo>
                      <a:pt x="706" y="4337"/>
                      <a:pt x="707" y="4336"/>
                      <a:pt x="708" y="4336"/>
                    </a:cubicBezTo>
                    <a:cubicBezTo>
                      <a:pt x="711" y="4338"/>
                      <a:pt x="713" y="4343"/>
                      <a:pt x="716" y="4344"/>
                    </a:cubicBezTo>
                    <a:cubicBezTo>
                      <a:pt x="717" y="4345"/>
                      <a:pt x="718" y="4344"/>
                      <a:pt x="719" y="4344"/>
                    </a:cubicBezTo>
                    <a:cubicBezTo>
                      <a:pt x="720" y="4346"/>
                      <a:pt x="721" y="4348"/>
                      <a:pt x="723" y="4350"/>
                    </a:cubicBezTo>
                    <a:cubicBezTo>
                      <a:pt x="724" y="4350"/>
                      <a:pt x="725" y="4349"/>
                      <a:pt x="726" y="4350"/>
                    </a:cubicBezTo>
                    <a:cubicBezTo>
                      <a:pt x="731" y="4355"/>
                      <a:pt x="718" y="4349"/>
                      <a:pt x="728" y="4354"/>
                    </a:cubicBezTo>
                    <a:cubicBezTo>
                      <a:pt x="729" y="4354"/>
                      <a:pt x="730" y="4354"/>
                      <a:pt x="731" y="4354"/>
                    </a:cubicBezTo>
                    <a:cubicBezTo>
                      <a:pt x="732" y="4355"/>
                      <a:pt x="730" y="4356"/>
                      <a:pt x="731" y="4357"/>
                    </a:cubicBezTo>
                    <a:cubicBezTo>
                      <a:pt x="745" y="4357"/>
                      <a:pt x="732" y="4355"/>
                      <a:pt x="736" y="4359"/>
                    </a:cubicBezTo>
                    <a:cubicBezTo>
                      <a:pt x="737" y="4360"/>
                      <a:pt x="737" y="4359"/>
                      <a:pt x="738" y="4359"/>
                    </a:cubicBezTo>
                    <a:lnTo>
                      <a:pt x="741" y="4365"/>
                    </a:lnTo>
                    <a:cubicBezTo>
                      <a:pt x="742" y="4365"/>
                      <a:pt x="743" y="4364"/>
                      <a:pt x="743" y="4365"/>
                    </a:cubicBezTo>
                    <a:cubicBezTo>
                      <a:pt x="744" y="4365"/>
                      <a:pt x="743" y="4367"/>
                      <a:pt x="743" y="4367"/>
                    </a:cubicBezTo>
                    <a:cubicBezTo>
                      <a:pt x="745" y="4368"/>
                      <a:pt x="747" y="4367"/>
                      <a:pt x="749" y="4367"/>
                    </a:cubicBezTo>
                    <a:cubicBezTo>
                      <a:pt x="749" y="4368"/>
                      <a:pt x="748" y="4369"/>
                      <a:pt x="749" y="4369"/>
                    </a:cubicBezTo>
                    <a:cubicBezTo>
                      <a:pt x="751" y="4370"/>
                      <a:pt x="753" y="4371"/>
                      <a:pt x="756" y="4372"/>
                    </a:cubicBezTo>
                    <a:cubicBezTo>
                      <a:pt x="756" y="4373"/>
                      <a:pt x="755" y="4374"/>
                      <a:pt x="756" y="4374"/>
                    </a:cubicBezTo>
                    <a:cubicBezTo>
                      <a:pt x="756" y="4375"/>
                      <a:pt x="758" y="4374"/>
                      <a:pt x="758" y="4374"/>
                    </a:cubicBezTo>
                    <a:cubicBezTo>
                      <a:pt x="760" y="4375"/>
                      <a:pt x="762" y="4376"/>
                      <a:pt x="764" y="4377"/>
                    </a:cubicBezTo>
                    <a:cubicBezTo>
                      <a:pt x="766" y="4378"/>
                      <a:pt x="769" y="4378"/>
                      <a:pt x="772" y="4380"/>
                    </a:cubicBezTo>
                    <a:cubicBezTo>
                      <a:pt x="773" y="4380"/>
                      <a:pt x="772" y="4382"/>
                      <a:pt x="773" y="4382"/>
                    </a:cubicBezTo>
                    <a:cubicBezTo>
                      <a:pt x="774" y="4383"/>
                      <a:pt x="775" y="4382"/>
                      <a:pt x="776" y="4382"/>
                    </a:cubicBezTo>
                    <a:cubicBezTo>
                      <a:pt x="777" y="4383"/>
                      <a:pt x="778" y="4384"/>
                      <a:pt x="779" y="4385"/>
                    </a:cubicBezTo>
                    <a:cubicBezTo>
                      <a:pt x="779" y="4385"/>
                      <a:pt x="780" y="4385"/>
                      <a:pt x="781" y="4385"/>
                    </a:cubicBezTo>
                    <a:cubicBezTo>
                      <a:pt x="783" y="4386"/>
                      <a:pt x="785" y="4386"/>
                      <a:pt x="787" y="4387"/>
                    </a:cubicBezTo>
                    <a:cubicBezTo>
                      <a:pt x="788" y="4387"/>
                      <a:pt x="788" y="4389"/>
                      <a:pt x="789" y="4389"/>
                    </a:cubicBezTo>
                    <a:cubicBezTo>
                      <a:pt x="790" y="4390"/>
                      <a:pt x="790" y="4389"/>
                      <a:pt x="791" y="4389"/>
                    </a:cubicBezTo>
                    <a:cubicBezTo>
                      <a:pt x="792" y="4390"/>
                      <a:pt x="790" y="4391"/>
                      <a:pt x="791" y="4392"/>
                    </a:cubicBezTo>
                    <a:cubicBezTo>
                      <a:pt x="792" y="4393"/>
                      <a:pt x="793" y="4392"/>
                      <a:pt x="794" y="4392"/>
                    </a:cubicBezTo>
                    <a:cubicBezTo>
                      <a:pt x="796" y="4393"/>
                      <a:pt x="797" y="4397"/>
                      <a:pt x="799" y="4397"/>
                    </a:cubicBezTo>
                    <a:cubicBezTo>
                      <a:pt x="810" y="4401"/>
                      <a:pt x="798" y="4393"/>
                      <a:pt x="809" y="4400"/>
                    </a:cubicBezTo>
                    <a:cubicBezTo>
                      <a:pt x="810" y="4401"/>
                      <a:pt x="810" y="4402"/>
                      <a:pt x="811" y="4403"/>
                    </a:cubicBezTo>
                    <a:cubicBezTo>
                      <a:pt x="813" y="4403"/>
                      <a:pt x="815" y="4403"/>
                      <a:pt x="817" y="4404"/>
                    </a:cubicBezTo>
                    <a:cubicBezTo>
                      <a:pt x="819" y="4406"/>
                      <a:pt x="820" y="4409"/>
                      <a:pt x="822" y="4410"/>
                    </a:cubicBezTo>
                    <a:cubicBezTo>
                      <a:pt x="823" y="4410"/>
                      <a:pt x="825" y="4409"/>
                      <a:pt x="826" y="4410"/>
                    </a:cubicBezTo>
                    <a:cubicBezTo>
                      <a:pt x="828" y="4411"/>
                      <a:pt x="827" y="4414"/>
                      <a:pt x="829" y="4415"/>
                    </a:cubicBezTo>
                    <a:cubicBezTo>
                      <a:pt x="831" y="4417"/>
                      <a:pt x="834" y="4416"/>
                      <a:pt x="837" y="4418"/>
                    </a:cubicBezTo>
                    <a:cubicBezTo>
                      <a:pt x="839" y="4419"/>
                      <a:pt x="840" y="4421"/>
                      <a:pt x="842" y="4422"/>
                    </a:cubicBezTo>
                    <a:cubicBezTo>
                      <a:pt x="843" y="4422"/>
                      <a:pt x="843" y="4422"/>
                      <a:pt x="844" y="4422"/>
                    </a:cubicBezTo>
                    <a:cubicBezTo>
                      <a:pt x="845" y="4423"/>
                      <a:pt x="845" y="4424"/>
                      <a:pt x="847" y="4425"/>
                    </a:cubicBezTo>
                    <a:cubicBezTo>
                      <a:pt x="847" y="4425"/>
                      <a:pt x="848" y="4425"/>
                      <a:pt x="849" y="4425"/>
                    </a:cubicBezTo>
                    <a:cubicBezTo>
                      <a:pt x="850" y="4425"/>
                      <a:pt x="851" y="4427"/>
                      <a:pt x="852" y="4427"/>
                    </a:cubicBezTo>
                    <a:cubicBezTo>
                      <a:pt x="853" y="4428"/>
                      <a:pt x="854" y="4427"/>
                      <a:pt x="854" y="4427"/>
                    </a:cubicBezTo>
                    <a:cubicBezTo>
                      <a:pt x="862" y="4431"/>
                      <a:pt x="851" y="4429"/>
                      <a:pt x="860" y="4435"/>
                    </a:cubicBezTo>
                    <a:cubicBezTo>
                      <a:pt x="861" y="4436"/>
                      <a:pt x="863" y="4434"/>
                      <a:pt x="864" y="4435"/>
                    </a:cubicBezTo>
                    <a:cubicBezTo>
                      <a:pt x="867" y="4437"/>
                      <a:pt x="866" y="4441"/>
                      <a:pt x="869" y="4442"/>
                    </a:cubicBezTo>
                    <a:cubicBezTo>
                      <a:pt x="871" y="4443"/>
                      <a:pt x="873" y="4441"/>
                      <a:pt x="875" y="4442"/>
                    </a:cubicBezTo>
                    <a:cubicBezTo>
                      <a:pt x="885" y="4449"/>
                      <a:pt x="868" y="4447"/>
                      <a:pt x="882" y="4450"/>
                    </a:cubicBezTo>
                    <a:cubicBezTo>
                      <a:pt x="883" y="4451"/>
                      <a:pt x="886" y="4449"/>
                      <a:pt x="887" y="4450"/>
                    </a:cubicBezTo>
                    <a:cubicBezTo>
                      <a:pt x="888" y="4451"/>
                      <a:pt x="887" y="4452"/>
                      <a:pt x="887" y="4453"/>
                    </a:cubicBezTo>
                    <a:cubicBezTo>
                      <a:pt x="888" y="4453"/>
                      <a:pt x="889" y="4452"/>
                      <a:pt x="890" y="4453"/>
                    </a:cubicBezTo>
                    <a:cubicBezTo>
                      <a:pt x="890" y="4453"/>
                      <a:pt x="889" y="4455"/>
                      <a:pt x="890" y="4455"/>
                    </a:cubicBezTo>
                    <a:cubicBezTo>
                      <a:pt x="892" y="4458"/>
                      <a:pt x="892" y="4456"/>
                      <a:pt x="892" y="4455"/>
                    </a:cubicBezTo>
                    <a:cubicBezTo>
                      <a:pt x="893" y="4455"/>
                      <a:pt x="894" y="4455"/>
                      <a:pt x="895" y="4457"/>
                    </a:cubicBezTo>
                    <a:cubicBezTo>
                      <a:pt x="895" y="4458"/>
                      <a:pt x="894" y="4459"/>
                      <a:pt x="895" y="4460"/>
                    </a:cubicBezTo>
                    <a:cubicBezTo>
                      <a:pt x="896" y="4460"/>
                      <a:pt x="896" y="4460"/>
                      <a:pt x="897" y="4460"/>
                    </a:cubicBezTo>
                    <a:cubicBezTo>
                      <a:pt x="899" y="4461"/>
                      <a:pt x="903" y="4467"/>
                      <a:pt x="905" y="4468"/>
                    </a:cubicBezTo>
                    <a:cubicBezTo>
                      <a:pt x="907" y="4468"/>
                      <a:pt x="910" y="4467"/>
                      <a:pt x="913" y="4468"/>
                    </a:cubicBezTo>
                    <a:cubicBezTo>
                      <a:pt x="914" y="4469"/>
                      <a:pt x="913" y="4472"/>
                      <a:pt x="914" y="4473"/>
                    </a:cubicBezTo>
                    <a:cubicBezTo>
                      <a:pt x="916" y="4474"/>
                      <a:pt x="918" y="4473"/>
                      <a:pt x="920" y="4473"/>
                    </a:cubicBezTo>
                    <a:cubicBezTo>
                      <a:pt x="932" y="4476"/>
                      <a:pt x="920" y="4474"/>
                      <a:pt x="928" y="4478"/>
                    </a:cubicBezTo>
                    <a:cubicBezTo>
                      <a:pt x="928" y="4478"/>
                      <a:pt x="929" y="4478"/>
                      <a:pt x="930" y="4478"/>
                    </a:cubicBezTo>
                    <a:cubicBezTo>
                      <a:pt x="932" y="4479"/>
                      <a:pt x="933" y="4482"/>
                      <a:pt x="935" y="4483"/>
                    </a:cubicBezTo>
                    <a:cubicBezTo>
                      <a:pt x="935" y="4483"/>
                      <a:pt x="937" y="4482"/>
                      <a:pt x="937" y="4483"/>
                    </a:cubicBezTo>
                    <a:cubicBezTo>
                      <a:pt x="940" y="4485"/>
                      <a:pt x="938" y="4486"/>
                      <a:pt x="936" y="4485"/>
                    </a:cubicBezTo>
                    <a:cubicBezTo>
                      <a:pt x="937" y="4486"/>
                      <a:pt x="938" y="4487"/>
                      <a:pt x="940" y="4488"/>
                    </a:cubicBezTo>
                    <a:cubicBezTo>
                      <a:pt x="941" y="4488"/>
                      <a:pt x="942" y="4488"/>
                      <a:pt x="943" y="4488"/>
                    </a:cubicBezTo>
                    <a:cubicBezTo>
                      <a:pt x="961" y="4494"/>
                      <a:pt x="938" y="4487"/>
                      <a:pt x="950" y="4493"/>
                    </a:cubicBezTo>
                    <a:cubicBezTo>
                      <a:pt x="950" y="4493"/>
                      <a:pt x="952" y="4493"/>
                      <a:pt x="952" y="4493"/>
                    </a:cubicBezTo>
                    <a:cubicBezTo>
                      <a:pt x="954" y="4493"/>
                      <a:pt x="956" y="4494"/>
                      <a:pt x="958" y="4495"/>
                    </a:cubicBezTo>
                    <a:cubicBezTo>
                      <a:pt x="959" y="4496"/>
                      <a:pt x="959" y="4497"/>
                      <a:pt x="960" y="4498"/>
                    </a:cubicBezTo>
                    <a:cubicBezTo>
                      <a:pt x="962" y="4499"/>
                      <a:pt x="964" y="4497"/>
                      <a:pt x="966" y="4498"/>
                    </a:cubicBezTo>
                    <a:cubicBezTo>
                      <a:pt x="968" y="4499"/>
                      <a:pt x="968" y="4502"/>
                      <a:pt x="970" y="4503"/>
                    </a:cubicBezTo>
                    <a:cubicBezTo>
                      <a:pt x="971" y="4503"/>
                      <a:pt x="972" y="4503"/>
                      <a:pt x="973" y="4503"/>
                    </a:cubicBezTo>
                    <a:cubicBezTo>
                      <a:pt x="974" y="4504"/>
                      <a:pt x="974" y="4505"/>
                      <a:pt x="975" y="4506"/>
                    </a:cubicBezTo>
                    <a:cubicBezTo>
                      <a:pt x="981" y="4509"/>
                      <a:pt x="973" y="4499"/>
                      <a:pt x="983" y="4508"/>
                    </a:cubicBezTo>
                    <a:cubicBezTo>
                      <a:pt x="984" y="4509"/>
                      <a:pt x="982" y="4510"/>
                      <a:pt x="983" y="4510"/>
                    </a:cubicBezTo>
                    <a:cubicBezTo>
                      <a:pt x="991" y="4514"/>
                      <a:pt x="985" y="4505"/>
                      <a:pt x="993" y="4513"/>
                    </a:cubicBezTo>
                    <a:cubicBezTo>
                      <a:pt x="994" y="4513"/>
                      <a:pt x="992" y="4515"/>
                      <a:pt x="993" y="4515"/>
                    </a:cubicBezTo>
                    <a:cubicBezTo>
                      <a:pt x="994" y="4516"/>
                      <a:pt x="995" y="4515"/>
                      <a:pt x="996" y="4515"/>
                    </a:cubicBezTo>
                    <a:cubicBezTo>
                      <a:pt x="996" y="4516"/>
                      <a:pt x="995" y="4518"/>
                      <a:pt x="996" y="4518"/>
                    </a:cubicBezTo>
                    <a:cubicBezTo>
                      <a:pt x="996" y="4519"/>
                      <a:pt x="998" y="4518"/>
                      <a:pt x="998" y="4518"/>
                    </a:cubicBezTo>
                    <a:cubicBezTo>
                      <a:pt x="1002" y="4521"/>
                      <a:pt x="993" y="4521"/>
                      <a:pt x="1001" y="4523"/>
                    </a:cubicBezTo>
                    <a:cubicBezTo>
                      <a:pt x="1002" y="4524"/>
                      <a:pt x="1004" y="4523"/>
                      <a:pt x="1005" y="4523"/>
                    </a:cubicBezTo>
                    <a:cubicBezTo>
                      <a:pt x="1006" y="4524"/>
                      <a:pt x="1007" y="4525"/>
                      <a:pt x="1008" y="4526"/>
                    </a:cubicBezTo>
                    <a:cubicBezTo>
                      <a:pt x="1011" y="4528"/>
                      <a:pt x="1015" y="4528"/>
                      <a:pt x="1018" y="4530"/>
                    </a:cubicBezTo>
                    <a:cubicBezTo>
                      <a:pt x="1020" y="4532"/>
                      <a:pt x="1021" y="4534"/>
                      <a:pt x="1023" y="4536"/>
                    </a:cubicBezTo>
                    <a:cubicBezTo>
                      <a:pt x="1024" y="4536"/>
                      <a:pt x="1025" y="4535"/>
                      <a:pt x="1026" y="4536"/>
                    </a:cubicBezTo>
                    <a:cubicBezTo>
                      <a:pt x="1028" y="4537"/>
                      <a:pt x="1029" y="4540"/>
                      <a:pt x="1031" y="4541"/>
                    </a:cubicBezTo>
                    <a:cubicBezTo>
                      <a:pt x="1032" y="4542"/>
                      <a:pt x="1035" y="4543"/>
                      <a:pt x="1036" y="4544"/>
                    </a:cubicBezTo>
                    <a:cubicBezTo>
                      <a:pt x="1037" y="4544"/>
                      <a:pt x="1037" y="4545"/>
                      <a:pt x="1038" y="4545"/>
                    </a:cubicBezTo>
                    <a:cubicBezTo>
                      <a:pt x="1039" y="4546"/>
                      <a:pt x="1040" y="4545"/>
                      <a:pt x="1041" y="4545"/>
                    </a:cubicBezTo>
                    <a:cubicBezTo>
                      <a:pt x="1042" y="4547"/>
                      <a:pt x="1043" y="4552"/>
                      <a:pt x="1046" y="4553"/>
                    </a:cubicBezTo>
                    <a:cubicBezTo>
                      <a:pt x="1057" y="4553"/>
                      <a:pt x="1046" y="4552"/>
                      <a:pt x="1054" y="4556"/>
                    </a:cubicBezTo>
                    <a:cubicBezTo>
                      <a:pt x="1055" y="4556"/>
                      <a:pt x="1055" y="4555"/>
                      <a:pt x="1056" y="4556"/>
                    </a:cubicBezTo>
                    <a:cubicBezTo>
                      <a:pt x="1057" y="4557"/>
                      <a:pt x="1057" y="4560"/>
                      <a:pt x="1058" y="4561"/>
                    </a:cubicBezTo>
                    <a:cubicBezTo>
                      <a:pt x="1059" y="4562"/>
                      <a:pt x="1060" y="4561"/>
                      <a:pt x="1061" y="4561"/>
                    </a:cubicBezTo>
                    <a:cubicBezTo>
                      <a:pt x="1063" y="4562"/>
                      <a:pt x="1064" y="4565"/>
                      <a:pt x="1066" y="4566"/>
                    </a:cubicBezTo>
                    <a:cubicBezTo>
                      <a:pt x="1068" y="4566"/>
                      <a:pt x="1070" y="4565"/>
                      <a:pt x="1071" y="4566"/>
                    </a:cubicBezTo>
                    <a:cubicBezTo>
                      <a:pt x="1072" y="4566"/>
                      <a:pt x="1071" y="4568"/>
                      <a:pt x="1071" y="4568"/>
                    </a:cubicBezTo>
                    <a:cubicBezTo>
                      <a:pt x="1072" y="4569"/>
                      <a:pt x="1073" y="4568"/>
                      <a:pt x="1073" y="4568"/>
                    </a:cubicBezTo>
                    <a:cubicBezTo>
                      <a:pt x="1074" y="4570"/>
                      <a:pt x="1074" y="4573"/>
                      <a:pt x="1076" y="4574"/>
                    </a:cubicBezTo>
                    <a:cubicBezTo>
                      <a:pt x="1093" y="4579"/>
                      <a:pt x="1077" y="4571"/>
                      <a:pt x="1086" y="4581"/>
                    </a:cubicBezTo>
                    <a:cubicBezTo>
                      <a:pt x="1088" y="4582"/>
                      <a:pt x="1090" y="4580"/>
                      <a:pt x="1091" y="4581"/>
                    </a:cubicBezTo>
                    <a:cubicBezTo>
                      <a:pt x="1091" y="4581"/>
                      <a:pt x="1090" y="4583"/>
                      <a:pt x="1091" y="4583"/>
                    </a:cubicBezTo>
                    <a:cubicBezTo>
                      <a:pt x="1092" y="4585"/>
                      <a:pt x="1095" y="4585"/>
                      <a:pt x="1096" y="4586"/>
                    </a:cubicBezTo>
                    <a:cubicBezTo>
                      <a:pt x="1097" y="4587"/>
                      <a:pt x="1097" y="4590"/>
                      <a:pt x="1099" y="4591"/>
                    </a:cubicBezTo>
                    <a:cubicBezTo>
                      <a:pt x="1099" y="4592"/>
                      <a:pt x="1101" y="4591"/>
                      <a:pt x="1101" y="4591"/>
                    </a:cubicBezTo>
                    <a:cubicBezTo>
                      <a:pt x="1102" y="4592"/>
                      <a:pt x="1108" y="4598"/>
                      <a:pt x="1108" y="4598"/>
                    </a:cubicBezTo>
                    <a:cubicBezTo>
                      <a:pt x="1109" y="4599"/>
                      <a:pt x="1108" y="4600"/>
                      <a:pt x="1108" y="4601"/>
                    </a:cubicBezTo>
                    <a:cubicBezTo>
                      <a:pt x="1109" y="4602"/>
                      <a:pt x="1111" y="4600"/>
                      <a:pt x="1111" y="4601"/>
                    </a:cubicBezTo>
                    <a:cubicBezTo>
                      <a:pt x="1112" y="4602"/>
                      <a:pt x="1110" y="4605"/>
                      <a:pt x="1111" y="4606"/>
                    </a:cubicBezTo>
                    <a:cubicBezTo>
                      <a:pt x="1113" y="4608"/>
                      <a:pt x="1117" y="4607"/>
                      <a:pt x="1119" y="4609"/>
                    </a:cubicBezTo>
                    <a:cubicBezTo>
                      <a:pt x="1120" y="4610"/>
                      <a:pt x="1120" y="4611"/>
                      <a:pt x="1121" y="4612"/>
                    </a:cubicBezTo>
                    <a:cubicBezTo>
                      <a:pt x="1150" y="4620"/>
                      <a:pt x="1189" y="4627"/>
                      <a:pt x="1230" y="4632"/>
                    </a:cubicBezTo>
                    <a:cubicBezTo>
                      <a:pt x="1296" y="4640"/>
                      <a:pt x="1413" y="4678"/>
                      <a:pt x="1491" y="4717"/>
                    </a:cubicBezTo>
                    <a:cubicBezTo>
                      <a:pt x="1653" y="4799"/>
                      <a:pt x="1785" y="4825"/>
                      <a:pt x="2035" y="4826"/>
                    </a:cubicBezTo>
                    <a:cubicBezTo>
                      <a:pt x="2132" y="4826"/>
                      <a:pt x="2212" y="4837"/>
                      <a:pt x="2212" y="4851"/>
                    </a:cubicBezTo>
                    <a:cubicBezTo>
                      <a:pt x="2212" y="4864"/>
                      <a:pt x="2228" y="4862"/>
                      <a:pt x="2247" y="4846"/>
                    </a:cubicBezTo>
                    <a:cubicBezTo>
                      <a:pt x="2266" y="4830"/>
                      <a:pt x="2324" y="4820"/>
                      <a:pt x="2375" y="4823"/>
                    </a:cubicBezTo>
                    <a:cubicBezTo>
                      <a:pt x="2440" y="4828"/>
                      <a:pt x="2463" y="4819"/>
                      <a:pt x="2453" y="4793"/>
                    </a:cubicBezTo>
                    <a:cubicBezTo>
                      <a:pt x="2446" y="4773"/>
                      <a:pt x="2452" y="4750"/>
                      <a:pt x="2467" y="4740"/>
                    </a:cubicBezTo>
                    <a:cubicBezTo>
                      <a:pt x="2481" y="4731"/>
                      <a:pt x="2494" y="4740"/>
                      <a:pt x="2495" y="4761"/>
                    </a:cubicBezTo>
                    <a:cubicBezTo>
                      <a:pt x="2495" y="4783"/>
                      <a:pt x="2506" y="4779"/>
                      <a:pt x="2524" y="4748"/>
                    </a:cubicBezTo>
                    <a:cubicBezTo>
                      <a:pt x="2540" y="4721"/>
                      <a:pt x="2587" y="4698"/>
                      <a:pt x="2629" y="4698"/>
                    </a:cubicBezTo>
                    <a:cubicBezTo>
                      <a:pt x="2671" y="4698"/>
                      <a:pt x="2737" y="4673"/>
                      <a:pt x="2776" y="4642"/>
                    </a:cubicBezTo>
                    <a:cubicBezTo>
                      <a:pt x="2815" y="4612"/>
                      <a:pt x="2868" y="4587"/>
                      <a:pt x="2894" y="4587"/>
                    </a:cubicBezTo>
                    <a:cubicBezTo>
                      <a:pt x="2921" y="4587"/>
                      <a:pt x="2949" y="4574"/>
                      <a:pt x="2959" y="4559"/>
                    </a:cubicBezTo>
                    <a:cubicBezTo>
                      <a:pt x="2968" y="4544"/>
                      <a:pt x="3020" y="4510"/>
                      <a:pt x="3073" y="4485"/>
                    </a:cubicBezTo>
                    <a:cubicBezTo>
                      <a:pt x="3127" y="4459"/>
                      <a:pt x="3171" y="4418"/>
                      <a:pt x="3171" y="4394"/>
                    </a:cubicBezTo>
                    <a:cubicBezTo>
                      <a:pt x="3171" y="4358"/>
                      <a:pt x="3180" y="4360"/>
                      <a:pt x="3215" y="4404"/>
                    </a:cubicBezTo>
                    <a:cubicBezTo>
                      <a:pt x="3256" y="4457"/>
                      <a:pt x="3257" y="4457"/>
                      <a:pt x="3250" y="4405"/>
                    </a:cubicBezTo>
                    <a:cubicBezTo>
                      <a:pt x="3245" y="4376"/>
                      <a:pt x="3258" y="4347"/>
                      <a:pt x="3277" y="4340"/>
                    </a:cubicBezTo>
                    <a:cubicBezTo>
                      <a:pt x="3297" y="4333"/>
                      <a:pt x="3312" y="4340"/>
                      <a:pt x="3312" y="4355"/>
                    </a:cubicBezTo>
                    <a:cubicBezTo>
                      <a:pt x="3312" y="4370"/>
                      <a:pt x="3373" y="4327"/>
                      <a:pt x="3446" y="4259"/>
                    </a:cubicBezTo>
                    <a:cubicBezTo>
                      <a:pt x="3516" y="4195"/>
                      <a:pt x="3560" y="4158"/>
                      <a:pt x="3587" y="4144"/>
                    </a:cubicBezTo>
                    <a:cubicBezTo>
                      <a:pt x="3587" y="4144"/>
                      <a:pt x="3588" y="4143"/>
                      <a:pt x="3588" y="4142"/>
                    </a:cubicBezTo>
                    <a:cubicBezTo>
                      <a:pt x="3592" y="4139"/>
                      <a:pt x="3595" y="4136"/>
                      <a:pt x="3598" y="4133"/>
                    </a:cubicBezTo>
                    <a:cubicBezTo>
                      <a:pt x="3600" y="4131"/>
                      <a:pt x="3604" y="4129"/>
                      <a:pt x="3606" y="4127"/>
                    </a:cubicBezTo>
                    <a:cubicBezTo>
                      <a:pt x="3610" y="4124"/>
                      <a:pt x="3609" y="4125"/>
                      <a:pt x="3608" y="4125"/>
                    </a:cubicBezTo>
                    <a:cubicBezTo>
                      <a:pt x="3608" y="4124"/>
                      <a:pt x="3609" y="4123"/>
                      <a:pt x="3611" y="4120"/>
                    </a:cubicBezTo>
                    <a:cubicBezTo>
                      <a:pt x="3613" y="4119"/>
                      <a:pt x="3614" y="4119"/>
                      <a:pt x="3616" y="4118"/>
                    </a:cubicBezTo>
                    <a:cubicBezTo>
                      <a:pt x="3618" y="4116"/>
                      <a:pt x="3619" y="4114"/>
                      <a:pt x="3621" y="4112"/>
                    </a:cubicBezTo>
                    <a:cubicBezTo>
                      <a:pt x="3630" y="4107"/>
                      <a:pt x="3627" y="4112"/>
                      <a:pt x="3633" y="4107"/>
                    </a:cubicBezTo>
                    <a:cubicBezTo>
                      <a:pt x="3635" y="4106"/>
                      <a:pt x="3637" y="4104"/>
                      <a:pt x="3639" y="4103"/>
                    </a:cubicBezTo>
                    <a:cubicBezTo>
                      <a:pt x="3641" y="4101"/>
                      <a:pt x="3644" y="4101"/>
                      <a:pt x="3647" y="4100"/>
                    </a:cubicBezTo>
                    <a:cubicBezTo>
                      <a:pt x="3651" y="4098"/>
                      <a:pt x="3659" y="4092"/>
                      <a:pt x="3664" y="4089"/>
                    </a:cubicBezTo>
                    <a:cubicBezTo>
                      <a:pt x="3669" y="4088"/>
                      <a:pt x="3674" y="4087"/>
                      <a:pt x="3679" y="4085"/>
                    </a:cubicBezTo>
                    <a:cubicBezTo>
                      <a:pt x="3681" y="4084"/>
                      <a:pt x="3682" y="4083"/>
                      <a:pt x="3684" y="4082"/>
                    </a:cubicBezTo>
                    <a:cubicBezTo>
                      <a:pt x="3686" y="4081"/>
                      <a:pt x="3689" y="4081"/>
                      <a:pt x="3692" y="4080"/>
                    </a:cubicBezTo>
                    <a:cubicBezTo>
                      <a:pt x="3694" y="4079"/>
                      <a:pt x="3695" y="4076"/>
                      <a:pt x="3697" y="4074"/>
                    </a:cubicBezTo>
                    <a:cubicBezTo>
                      <a:pt x="3698" y="4068"/>
                      <a:pt x="3702" y="4073"/>
                      <a:pt x="3704" y="4072"/>
                    </a:cubicBezTo>
                    <a:cubicBezTo>
                      <a:pt x="3713" y="4066"/>
                      <a:pt x="3705" y="4067"/>
                      <a:pt x="3717" y="4065"/>
                    </a:cubicBezTo>
                    <a:cubicBezTo>
                      <a:pt x="3721" y="4064"/>
                      <a:pt x="3721" y="4064"/>
                      <a:pt x="3722" y="4064"/>
                    </a:cubicBezTo>
                    <a:cubicBezTo>
                      <a:pt x="3723" y="4063"/>
                      <a:pt x="3725" y="4060"/>
                      <a:pt x="3730" y="4057"/>
                    </a:cubicBezTo>
                    <a:cubicBezTo>
                      <a:pt x="3731" y="4056"/>
                      <a:pt x="3733" y="4057"/>
                      <a:pt x="3735" y="4057"/>
                    </a:cubicBezTo>
                    <a:cubicBezTo>
                      <a:pt x="3739" y="4055"/>
                      <a:pt x="3740" y="4055"/>
                      <a:pt x="3741" y="4054"/>
                    </a:cubicBezTo>
                    <a:cubicBezTo>
                      <a:pt x="3739" y="4054"/>
                      <a:pt x="3736" y="4054"/>
                      <a:pt x="3742" y="4052"/>
                    </a:cubicBezTo>
                    <a:cubicBezTo>
                      <a:pt x="3743" y="4051"/>
                      <a:pt x="3744" y="4052"/>
                      <a:pt x="3745" y="4052"/>
                    </a:cubicBezTo>
                    <a:cubicBezTo>
                      <a:pt x="3746" y="4051"/>
                      <a:pt x="3746" y="4051"/>
                      <a:pt x="3747" y="4050"/>
                    </a:cubicBezTo>
                    <a:cubicBezTo>
                      <a:pt x="3750" y="4047"/>
                      <a:pt x="3750" y="4046"/>
                      <a:pt x="3754" y="4044"/>
                    </a:cubicBezTo>
                    <a:cubicBezTo>
                      <a:pt x="3755" y="4044"/>
                      <a:pt x="3756" y="4045"/>
                      <a:pt x="3757" y="4044"/>
                    </a:cubicBezTo>
                    <a:cubicBezTo>
                      <a:pt x="3761" y="4043"/>
                      <a:pt x="3763" y="4042"/>
                      <a:pt x="3763" y="4042"/>
                    </a:cubicBezTo>
                    <a:cubicBezTo>
                      <a:pt x="3762" y="4042"/>
                      <a:pt x="3762" y="4041"/>
                      <a:pt x="3770" y="4039"/>
                    </a:cubicBezTo>
                    <a:cubicBezTo>
                      <a:pt x="3771" y="4039"/>
                      <a:pt x="3771" y="4040"/>
                      <a:pt x="3772" y="4039"/>
                    </a:cubicBezTo>
                    <a:cubicBezTo>
                      <a:pt x="3773" y="4038"/>
                      <a:pt x="3773" y="4035"/>
                      <a:pt x="3775" y="4034"/>
                    </a:cubicBezTo>
                    <a:cubicBezTo>
                      <a:pt x="3776" y="4033"/>
                      <a:pt x="3778" y="4034"/>
                      <a:pt x="3780" y="4034"/>
                    </a:cubicBezTo>
                    <a:cubicBezTo>
                      <a:pt x="3784" y="4034"/>
                      <a:pt x="3794" y="4036"/>
                      <a:pt x="3797" y="4032"/>
                    </a:cubicBezTo>
                    <a:cubicBezTo>
                      <a:pt x="3799" y="4031"/>
                      <a:pt x="3800" y="4025"/>
                      <a:pt x="3803" y="4024"/>
                    </a:cubicBezTo>
                    <a:cubicBezTo>
                      <a:pt x="3804" y="4024"/>
                      <a:pt x="3806" y="4025"/>
                      <a:pt x="3807" y="4024"/>
                    </a:cubicBezTo>
                    <a:cubicBezTo>
                      <a:pt x="3808" y="4024"/>
                      <a:pt x="3807" y="4022"/>
                      <a:pt x="3807" y="4022"/>
                    </a:cubicBezTo>
                    <a:cubicBezTo>
                      <a:pt x="3808" y="4021"/>
                      <a:pt x="3809" y="4022"/>
                      <a:pt x="3810" y="4022"/>
                    </a:cubicBezTo>
                    <a:cubicBezTo>
                      <a:pt x="3813" y="4016"/>
                      <a:pt x="3813" y="4016"/>
                      <a:pt x="3812" y="4016"/>
                    </a:cubicBezTo>
                    <a:cubicBezTo>
                      <a:pt x="3813" y="4017"/>
                      <a:pt x="3814" y="4017"/>
                      <a:pt x="3815" y="4016"/>
                    </a:cubicBezTo>
                    <a:cubicBezTo>
                      <a:pt x="3816" y="4016"/>
                      <a:pt x="3817" y="4015"/>
                      <a:pt x="3818" y="4015"/>
                    </a:cubicBezTo>
                    <a:cubicBezTo>
                      <a:pt x="3819" y="4014"/>
                      <a:pt x="3820" y="4013"/>
                      <a:pt x="3820" y="4012"/>
                    </a:cubicBezTo>
                    <a:cubicBezTo>
                      <a:pt x="3821" y="4011"/>
                      <a:pt x="3820" y="4010"/>
                      <a:pt x="3820" y="4009"/>
                    </a:cubicBezTo>
                    <a:cubicBezTo>
                      <a:pt x="3822" y="4006"/>
                      <a:pt x="3825" y="4005"/>
                      <a:pt x="3827" y="4004"/>
                    </a:cubicBezTo>
                    <a:cubicBezTo>
                      <a:pt x="3828" y="4003"/>
                      <a:pt x="3829" y="4002"/>
                      <a:pt x="3830" y="4001"/>
                    </a:cubicBezTo>
                    <a:cubicBezTo>
                      <a:pt x="3831" y="4001"/>
                      <a:pt x="3832" y="4002"/>
                      <a:pt x="3833" y="4001"/>
                    </a:cubicBezTo>
                    <a:cubicBezTo>
                      <a:pt x="3835" y="4000"/>
                      <a:pt x="3836" y="3998"/>
                      <a:pt x="3838" y="3997"/>
                    </a:cubicBezTo>
                    <a:cubicBezTo>
                      <a:pt x="3840" y="3996"/>
                      <a:pt x="3841" y="3998"/>
                      <a:pt x="3842" y="3997"/>
                    </a:cubicBezTo>
                    <a:cubicBezTo>
                      <a:pt x="3843" y="3997"/>
                      <a:pt x="3842" y="3995"/>
                      <a:pt x="3842" y="3994"/>
                    </a:cubicBezTo>
                    <a:cubicBezTo>
                      <a:pt x="3843" y="3993"/>
                      <a:pt x="3844" y="3992"/>
                      <a:pt x="3845" y="3992"/>
                    </a:cubicBezTo>
                    <a:cubicBezTo>
                      <a:pt x="3846" y="3991"/>
                      <a:pt x="3847" y="3992"/>
                      <a:pt x="3848" y="3992"/>
                    </a:cubicBezTo>
                    <a:cubicBezTo>
                      <a:pt x="3849" y="3991"/>
                      <a:pt x="3849" y="3989"/>
                      <a:pt x="3850" y="3989"/>
                    </a:cubicBezTo>
                    <a:cubicBezTo>
                      <a:pt x="3851" y="3989"/>
                      <a:pt x="3852" y="3989"/>
                      <a:pt x="3853" y="3989"/>
                    </a:cubicBezTo>
                    <a:cubicBezTo>
                      <a:pt x="3855" y="3988"/>
                      <a:pt x="3856" y="3985"/>
                      <a:pt x="3858" y="3984"/>
                    </a:cubicBezTo>
                    <a:cubicBezTo>
                      <a:pt x="3860" y="3983"/>
                      <a:pt x="3864" y="3984"/>
                      <a:pt x="3865" y="3984"/>
                    </a:cubicBezTo>
                    <a:cubicBezTo>
                      <a:pt x="3867" y="3983"/>
                      <a:pt x="3869" y="3982"/>
                      <a:pt x="3871" y="3981"/>
                    </a:cubicBezTo>
                    <a:cubicBezTo>
                      <a:pt x="3872" y="3980"/>
                      <a:pt x="3872" y="3980"/>
                      <a:pt x="3873" y="3979"/>
                    </a:cubicBezTo>
                    <a:cubicBezTo>
                      <a:pt x="3874" y="3979"/>
                      <a:pt x="3875" y="3979"/>
                      <a:pt x="3876" y="3979"/>
                    </a:cubicBezTo>
                    <a:cubicBezTo>
                      <a:pt x="3997" y="3878"/>
                      <a:pt x="4055" y="3805"/>
                      <a:pt x="4091" y="3704"/>
                    </a:cubicBezTo>
                    <a:cubicBezTo>
                      <a:pt x="4101" y="3677"/>
                      <a:pt x="4126" y="3655"/>
                      <a:pt x="4148" y="3655"/>
                    </a:cubicBezTo>
                    <a:cubicBezTo>
                      <a:pt x="4169" y="3655"/>
                      <a:pt x="4187" y="3636"/>
                      <a:pt x="4187" y="3614"/>
                    </a:cubicBezTo>
                    <a:cubicBezTo>
                      <a:pt x="4187" y="3592"/>
                      <a:pt x="4216" y="3550"/>
                      <a:pt x="4251" y="3522"/>
                    </a:cubicBezTo>
                    <a:cubicBezTo>
                      <a:pt x="4286" y="3493"/>
                      <a:pt x="4329" y="3444"/>
                      <a:pt x="4347" y="3414"/>
                    </a:cubicBezTo>
                    <a:cubicBezTo>
                      <a:pt x="4365" y="3383"/>
                      <a:pt x="4393" y="3361"/>
                      <a:pt x="4409" y="3365"/>
                    </a:cubicBezTo>
                    <a:cubicBezTo>
                      <a:pt x="4425" y="3368"/>
                      <a:pt x="4438" y="3349"/>
                      <a:pt x="4439" y="3322"/>
                    </a:cubicBezTo>
                    <a:cubicBezTo>
                      <a:pt x="4442" y="3215"/>
                      <a:pt x="4477" y="3063"/>
                      <a:pt x="4495" y="3074"/>
                    </a:cubicBezTo>
                    <a:cubicBezTo>
                      <a:pt x="4519" y="3089"/>
                      <a:pt x="4509" y="2832"/>
                      <a:pt x="4483" y="2750"/>
                    </a:cubicBezTo>
                    <a:cubicBezTo>
                      <a:pt x="4472" y="2718"/>
                      <a:pt x="4460" y="2594"/>
                      <a:pt x="4455" y="2475"/>
                    </a:cubicBezTo>
                    <a:cubicBezTo>
                      <a:pt x="4432" y="1965"/>
                      <a:pt x="4394" y="1715"/>
                      <a:pt x="4320" y="1580"/>
                    </a:cubicBezTo>
                    <a:cubicBezTo>
                      <a:pt x="4302" y="1549"/>
                      <a:pt x="4287" y="1518"/>
                      <a:pt x="4286" y="1510"/>
                    </a:cubicBezTo>
                    <a:cubicBezTo>
                      <a:pt x="4280" y="1447"/>
                      <a:pt x="4201" y="1312"/>
                      <a:pt x="4170" y="1312"/>
                    </a:cubicBezTo>
                    <a:cubicBezTo>
                      <a:pt x="4148" y="1312"/>
                      <a:pt x="4131" y="1295"/>
                      <a:pt x="4131" y="1273"/>
                    </a:cubicBezTo>
                    <a:cubicBezTo>
                      <a:pt x="4131" y="1251"/>
                      <a:pt x="4121" y="1228"/>
                      <a:pt x="4110" y="1223"/>
                    </a:cubicBezTo>
                    <a:cubicBezTo>
                      <a:pt x="4098" y="1218"/>
                      <a:pt x="4054" y="1163"/>
                      <a:pt x="4011" y="1101"/>
                    </a:cubicBezTo>
                    <a:cubicBezTo>
                      <a:pt x="3910" y="954"/>
                      <a:pt x="3369" y="409"/>
                      <a:pt x="3325" y="409"/>
                    </a:cubicBezTo>
                    <a:cubicBezTo>
                      <a:pt x="3306" y="409"/>
                      <a:pt x="3270" y="377"/>
                      <a:pt x="3244" y="339"/>
                    </a:cubicBezTo>
                    <a:cubicBezTo>
                      <a:pt x="3219" y="300"/>
                      <a:pt x="3179" y="268"/>
                      <a:pt x="3156" y="268"/>
                    </a:cubicBezTo>
                    <a:cubicBezTo>
                      <a:pt x="3133" y="268"/>
                      <a:pt x="3062" y="220"/>
                      <a:pt x="2998" y="162"/>
                    </a:cubicBezTo>
                    <a:lnTo>
                      <a:pt x="2881" y="57"/>
                    </a:lnTo>
                    <a:lnTo>
                      <a:pt x="2581" y="50"/>
                    </a:lnTo>
                    <a:cubicBezTo>
                      <a:pt x="2417" y="46"/>
                      <a:pt x="2257" y="42"/>
                      <a:pt x="2227" y="41"/>
                    </a:cubicBezTo>
                    <a:cubicBezTo>
                      <a:pt x="2196" y="40"/>
                      <a:pt x="2163" y="27"/>
                      <a:pt x="2154" y="11"/>
                    </a:cubicBezTo>
                    <a:cubicBezTo>
                      <a:pt x="2149" y="5"/>
                      <a:pt x="2139" y="1"/>
                      <a:pt x="2124" y="1"/>
                    </a:cubicBezTo>
                    <a:lnTo>
                      <a:pt x="2125" y="1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813"/>
              </a:p>
            </p:txBody>
          </p:sp>
        </p:grpSp>
        <p:grpSp>
          <p:nvGrpSpPr>
            <p:cNvPr id="96" name="Group 95"/>
            <p:cNvGrpSpPr>
              <a:grpSpLocks noChangeAspect="1"/>
            </p:cNvGrpSpPr>
            <p:nvPr/>
          </p:nvGrpSpPr>
          <p:grpSpPr>
            <a:xfrm>
              <a:off x="9723713" y="2134186"/>
              <a:ext cx="323249" cy="350944"/>
              <a:chOff x="5697538" y="1457325"/>
              <a:chExt cx="2205038" cy="2393951"/>
            </a:xfrm>
            <a:solidFill>
              <a:srgbClr val="0070C0"/>
            </a:solidFill>
          </p:grpSpPr>
          <p:sp>
            <p:nvSpPr>
              <p:cNvPr id="97" name="Freeform 36"/>
              <p:cNvSpPr>
                <a:spLocks noChangeAspect="1"/>
              </p:cNvSpPr>
              <p:nvPr/>
            </p:nvSpPr>
            <p:spPr bwMode="auto">
              <a:xfrm>
                <a:off x="5697538" y="2693988"/>
                <a:ext cx="2205038" cy="1157288"/>
              </a:xfrm>
              <a:custGeom>
                <a:avLst/>
                <a:gdLst>
                  <a:gd name="T0" fmla="*/ 5860 w 8421"/>
                  <a:gd name="T1" fmla="*/ 7 h 4421"/>
                  <a:gd name="T2" fmla="*/ 5840 w 8421"/>
                  <a:gd name="T3" fmla="*/ 19 h 4421"/>
                  <a:gd name="T4" fmla="*/ 5820 w 8421"/>
                  <a:gd name="T5" fmla="*/ 32 h 4421"/>
                  <a:gd name="T6" fmla="*/ 5794 w 8421"/>
                  <a:gd name="T7" fmla="*/ 45 h 4421"/>
                  <a:gd name="T8" fmla="*/ 5767 w 8421"/>
                  <a:gd name="T9" fmla="*/ 62 h 4421"/>
                  <a:gd name="T10" fmla="*/ 5752 w 8421"/>
                  <a:gd name="T11" fmla="*/ 75 h 4421"/>
                  <a:gd name="T12" fmla="*/ 5736 w 8421"/>
                  <a:gd name="T13" fmla="*/ 85 h 4421"/>
                  <a:gd name="T14" fmla="*/ 5448 w 8421"/>
                  <a:gd name="T15" fmla="*/ 384 h 4421"/>
                  <a:gd name="T16" fmla="*/ 4926 w 8421"/>
                  <a:gd name="T17" fmla="*/ 672 h 4421"/>
                  <a:gd name="T18" fmla="*/ 4010 w 8421"/>
                  <a:gd name="T19" fmla="*/ 870 h 4421"/>
                  <a:gd name="T20" fmla="*/ 3192 w 8421"/>
                  <a:gd name="T21" fmla="*/ 644 h 4421"/>
                  <a:gd name="T22" fmla="*/ 3164 w 8421"/>
                  <a:gd name="T23" fmla="*/ 634 h 4421"/>
                  <a:gd name="T24" fmla="*/ 3146 w 8421"/>
                  <a:gd name="T25" fmla="*/ 609 h 4421"/>
                  <a:gd name="T26" fmla="*/ 3119 w 8421"/>
                  <a:gd name="T27" fmla="*/ 599 h 4421"/>
                  <a:gd name="T28" fmla="*/ 3090 w 8421"/>
                  <a:gd name="T29" fmla="*/ 589 h 4421"/>
                  <a:gd name="T30" fmla="*/ 3068 w 8421"/>
                  <a:gd name="T31" fmla="*/ 577 h 4421"/>
                  <a:gd name="T32" fmla="*/ 3040 w 8421"/>
                  <a:gd name="T33" fmla="*/ 562 h 4421"/>
                  <a:gd name="T34" fmla="*/ 3018 w 8421"/>
                  <a:gd name="T35" fmla="*/ 544 h 4421"/>
                  <a:gd name="T36" fmla="*/ 2998 w 8421"/>
                  <a:gd name="T37" fmla="*/ 533 h 4421"/>
                  <a:gd name="T38" fmla="*/ 2985 w 8421"/>
                  <a:gd name="T39" fmla="*/ 524 h 4421"/>
                  <a:gd name="T40" fmla="*/ 2965 w 8421"/>
                  <a:gd name="T41" fmla="*/ 509 h 4421"/>
                  <a:gd name="T42" fmla="*/ 2952 w 8421"/>
                  <a:gd name="T43" fmla="*/ 495 h 4421"/>
                  <a:gd name="T44" fmla="*/ 2934 w 8421"/>
                  <a:gd name="T45" fmla="*/ 483 h 4421"/>
                  <a:gd name="T46" fmla="*/ 2917 w 8421"/>
                  <a:gd name="T47" fmla="*/ 471 h 4421"/>
                  <a:gd name="T48" fmla="*/ 2892 w 8421"/>
                  <a:gd name="T49" fmla="*/ 453 h 4421"/>
                  <a:gd name="T50" fmla="*/ 2866 w 8421"/>
                  <a:gd name="T51" fmla="*/ 430 h 4421"/>
                  <a:gd name="T52" fmla="*/ 2846 w 8421"/>
                  <a:gd name="T53" fmla="*/ 415 h 4421"/>
                  <a:gd name="T54" fmla="*/ 2826 w 8421"/>
                  <a:gd name="T55" fmla="*/ 405 h 4421"/>
                  <a:gd name="T56" fmla="*/ 2807 w 8421"/>
                  <a:gd name="T57" fmla="*/ 392 h 4421"/>
                  <a:gd name="T58" fmla="*/ 2781 w 8421"/>
                  <a:gd name="T59" fmla="*/ 375 h 4421"/>
                  <a:gd name="T60" fmla="*/ 2751 w 8421"/>
                  <a:gd name="T61" fmla="*/ 357 h 4421"/>
                  <a:gd name="T62" fmla="*/ 2723 w 8421"/>
                  <a:gd name="T63" fmla="*/ 337 h 4421"/>
                  <a:gd name="T64" fmla="*/ 2693 w 8421"/>
                  <a:gd name="T65" fmla="*/ 322 h 4421"/>
                  <a:gd name="T66" fmla="*/ 2657 w 8421"/>
                  <a:gd name="T67" fmla="*/ 301 h 4421"/>
                  <a:gd name="T68" fmla="*/ 2637 w 8421"/>
                  <a:gd name="T69" fmla="*/ 284 h 4421"/>
                  <a:gd name="T70" fmla="*/ 2620 w 8421"/>
                  <a:gd name="T71" fmla="*/ 269 h 4421"/>
                  <a:gd name="T72" fmla="*/ 2592 w 8421"/>
                  <a:gd name="T73" fmla="*/ 251 h 4421"/>
                  <a:gd name="T74" fmla="*/ 2577 w 8421"/>
                  <a:gd name="T75" fmla="*/ 236 h 4421"/>
                  <a:gd name="T76" fmla="*/ 2543 w 8421"/>
                  <a:gd name="T77" fmla="*/ 209 h 4421"/>
                  <a:gd name="T78" fmla="*/ 1779 w 8421"/>
                  <a:gd name="T79" fmla="*/ 929 h 4421"/>
                  <a:gd name="T80" fmla="*/ 1171 w 8421"/>
                  <a:gd name="T81" fmla="*/ 1394 h 4421"/>
                  <a:gd name="T82" fmla="*/ 317 w 8421"/>
                  <a:gd name="T83" fmla="*/ 2072 h 4421"/>
                  <a:gd name="T84" fmla="*/ 618 w 8421"/>
                  <a:gd name="T85" fmla="*/ 3999 h 4421"/>
                  <a:gd name="T86" fmla="*/ 1449 w 8421"/>
                  <a:gd name="T87" fmla="*/ 4093 h 4421"/>
                  <a:gd name="T88" fmla="*/ 3192 w 8421"/>
                  <a:gd name="T89" fmla="*/ 4277 h 4421"/>
                  <a:gd name="T90" fmla="*/ 4137 w 8421"/>
                  <a:gd name="T91" fmla="*/ 4357 h 4421"/>
                  <a:gd name="T92" fmla="*/ 5249 w 8421"/>
                  <a:gd name="T93" fmla="*/ 4328 h 4421"/>
                  <a:gd name="T94" fmla="*/ 6550 w 8421"/>
                  <a:gd name="T95" fmla="*/ 4290 h 4421"/>
                  <a:gd name="T96" fmla="*/ 7761 w 8421"/>
                  <a:gd name="T97" fmla="*/ 4075 h 4421"/>
                  <a:gd name="T98" fmla="*/ 8223 w 8421"/>
                  <a:gd name="T99" fmla="*/ 3991 h 4421"/>
                  <a:gd name="T100" fmla="*/ 8272 w 8421"/>
                  <a:gd name="T101" fmla="*/ 1682 h 4421"/>
                  <a:gd name="T102" fmla="*/ 7222 w 8421"/>
                  <a:gd name="T103" fmla="*/ 766 h 4421"/>
                  <a:gd name="T104" fmla="*/ 6139 w 8421"/>
                  <a:gd name="T105" fmla="*/ 59 h 44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421" h="4421">
                    <a:moveTo>
                      <a:pt x="5869" y="0"/>
                    </a:moveTo>
                    <a:cubicBezTo>
                      <a:pt x="5869" y="0"/>
                      <a:pt x="5868" y="1"/>
                      <a:pt x="5868" y="2"/>
                    </a:cubicBezTo>
                    <a:cubicBezTo>
                      <a:pt x="5867" y="2"/>
                      <a:pt x="5866" y="1"/>
                      <a:pt x="5865" y="2"/>
                    </a:cubicBezTo>
                    <a:cubicBezTo>
                      <a:pt x="5864" y="2"/>
                      <a:pt x="5866" y="4"/>
                      <a:pt x="5865" y="4"/>
                    </a:cubicBezTo>
                    <a:cubicBezTo>
                      <a:pt x="5864" y="5"/>
                      <a:pt x="5861" y="3"/>
                      <a:pt x="5860" y="4"/>
                    </a:cubicBezTo>
                    <a:cubicBezTo>
                      <a:pt x="5859" y="5"/>
                      <a:pt x="5860" y="6"/>
                      <a:pt x="5860" y="7"/>
                    </a:cubicBezTo>
                    <a:cubicBezTo>
                      <a:pt x="5859" y="8"/>
                      <a:pt x="5859" y="9"/>
                      <a:pt x="5858" y="9"/>
                    </a:cubicBezTo>
                    <a:cubicBezTo>
                      <a:pt x="5857" y="10"/>
                      <a:pt x="5856" y="12"/>
                      <a:pt x="5855" y="12"/>
                    </a:cubicBezTo>
                    <a:cubicBezTo>
                      <a:pt x="5855" y="12"/>
                      <a:pt x="5853" y="12"/>
                      <a:pt x="5853" y="12"/>
                    </a:cubicBezTo>
                    <a:cubicBezTo>
                      <a:pt x="5851" y="13"/>
                      <a:pt x="5850" y="15"/>
                      <a:pt x="5847" y="16"/>
                    </a:cubicBezTo>
                    <a:cubicBezTo>
                      <a:pt x="5846" y="17"/>
                      <a:pt x="5844" y="16"/>
                      <a:pt x="5842" y="16"/>
                    </a:cubicBezTo>
                    <a:cubicBezTo>
                      <a:pt x="5841" y="17"/>
                      <a:pt x="5841" y="19"/>
                      <a:pt x="5840" y="19"/>
                    </a:cubicBezTo>
                    <a:cubicBezTo>
                      <a:pt x="5834" y="22"/>
                      <a:pt x="5842" y="12"/>
                      <a:pt x="5832" y="22"/>
                    </a:cubicBezTo>
                    <a:cubicBezTo>
                      <a:pt x="5832" y="22"/>
                      <a:pt x="5833" y="24"/>
                      <a:pt x="5832" y="24"/>
                    </a:cubicBezTo>
                    <a:cubicBezTo>
                      <a:pt x="5832" y="25"/>
                      <a:pt x="5831" y="24"/>
                      <a:pt x="5830" y="24"/>
                    </a:cubicBezTo>
                    <a:cubicBezTo>
                      <a:pt x="5829" y="25"/>
                      <a:pt x="5828" y="26"/>
                      <a:pt x="5827" y="27"/>
                    </a:cubicBezTo>
                    <a:cubicBezTo>
                      <a:pt x="5826" y="28"/>
                      <a:pt x="5824" y="29"/>
                      <a:pt x="5823" y="30"/>
                    </a:cubicBezTo>
                    <a:cubicBezTo>
                      <a:pt x="5822" y="30"/>
                      <a:pt x="5821" y="32"/>
                      <a:pt x="5820" y="32"/>
                    </a:cubicBezTo>
                    <a:cubicBezTo>
                      <a:pt x="5819" y="33"/>
                      <a:pt x="5818" y="32"/>
                      <a:pt x="5817" y="32"/>
                    </a:cubicBezTo>
                    <a:cubicBezTo>
                      <a:pt x="5815" y="34"/>
                      <a:pt x="5812" y="35"/>
                      <a:pt x="5809" y="37"/>
                    </a:cubicBezTo>
                    <a:cubicBezTo>
                      <a:pt x="5809" y="37"/>
                      <a:pt x="5810" y="39"/>
                      <a:pt x="5809" y="39"/>
                    </a:cubicBezTo>
                    <a:cubicBezTo>
                      <a:pt x="5808" y="40"/>
                      <a:pt x="5807" y="39"/>
                      <a:pt x="5805" y="39"/>
                    </a:cubicBezTo>
                    <a:cubicBezTo>
                      <a:pt x="5801" y="41"/>
                      <a:pt x="5804" y="43"/>
                      <a:pt x="5800" y="45"/>
                    </a:cubicBezTo>
                    <a:cubicBezTo>
                      <a:pt x="5798" y="45"/>
                      <a:pt x="5796" y="44"/>
                      <a:pt x="5794" y="45"/>
                    </a:cubicBezTo>
                    <a:cubicBezTo>
                      <a:pt x="5791" y="46"/>
                      <a:pt x="5791" y="52"/>
                      <a:pt x="5787" y="54"/>
                    </a:cubicBezTo>
                    <a:cubicBezTo>
                      <a:pt x="5786" y="55"/>
                      <a:pt x="5784" y="54"/>
                      <a:pt x="5782" y="54"/>
                    </a:cubicBezTo>
                    <a:cubicBezTo>
                      <a:pt x="5781" y="55"/>
                      <a:pt x="5781" y="57"/>
                      <a:pt x="5779" y="57"/>
                    </a:cubicBezTo>
                    <a:cubicBezTo>
                      <a:pt x="5778" y="58"/>
                      <a:pt x="5776" y="56"/>
                      <a:pt x="5774" y="57"/>
                    </a:cubicBezTo>
                    <a:cubicBezTo>
                      <a:pt x="5773" y="58"/>
                      <a:pt x="5773" y="59"/>
                      <a:pt x="5772" y="60"/>
                    </a:cubicBezTo>
                    <a:cubicBezTo>
                      <a:pt x="5770" y="61"/>
                      <a:pt x="5769" y="61"/>
                      <a:pt x="5767" y="62"/>
                    </a:cubicBezTo>
                    <a:cubicBezTo>
                      <a:pt x="5766" y="63"/>
                      <a:pt x="5766" y="64"/>
                      <a:pt x="5764" y="65"/>
                    </a:cubicBezTo>
                    <a:cubicBezTo>
                      <a:pt x="5764" y="65"/>
                      <a:pt x="5762" y="64"/>
                      <a:pt x="5762" y="65"/>
                    </a:cubicBezTo>
                    <a:cubicBezTo>
                      <a:pt x="5761" y="66"/>
                      <a:pt x="5762" y="67"/>
                      <a:pt x="5762" y="68"/>
                    </a:cubicBezTo>
                    <a:cubicBezTo>
                      <a:pt x="5761" y="69"/>
                      <a:pt x="5758" y="68"/>
                      <a:pt x="5757" y="69"/>
                    </a:cubicBezTo>
                    <a:cubicBezTo>
                      <a:pt x="5756" y="70"/>
                      <a:pt x="5757" y="71"/>
                      <a:pt x="5757" y="72"/>
                    </a:cubicBezTo>
                    <a:cubicBezTo>
                      <a:pt x="5755" y="73"/>
                      <a:pt x="5753" y="73"/>
                      <a:pt x="5752" y="75"/>
                    </a:cubicBezTo>
                    <a:cubicBezTo>
                      <a:pt x="5752" y="75"/>
                      <a:pt x="5753" y="77"/>
                      <a:pt x="5752" y="77"/>
                    </a:cubicBezTo>
                    <a:cubicBezTo>
                      <a:pt x="5752" y="78"/>
                      <a:pt x="5750" y="77"/>
                      <a:pt x="5750" y="77"/>
                    </a:cubicBezTo>
                    <a:cubicBezTo>
                      <a:pt x="5746" y="80"/>
                      <a:pt x="5747" y="79"/>
                      <a:pt x="5747" y="79"/>
                    </a:cubicBezTo>
                    <a:cubicBezTo>
                      <a:pt x="5747" y="79"/>
                      <a:pt x="5746" y="79"/>
                      <a:pt x="5744" y="80"/>
                    </a:cubicBezTo>
                    <a:cubicBezTo>
                      <a:pt x="5742" y="81"/>
                      <a:pt x="5741" y="84"/>
                      <a:pt x="5739" y="85"/>
                    </a:cubicBezTo>
                    <a:cubicBezTo>
                      <a:pt x="5738" y="86"/>
                      <a:pt x="5737" y="85"/>
                      <a:pt x="5736" y="85"/>
                    </a:cubicBezTo>
                    <a:cubicBezTo>
                      <a:pt x="5735" y="86"/>
                      <a:pt x="5735" y="86"/>
                      <a:pt x="5735" y="87"/>
                    </a:cubicBezTo>
                    <a:cubicBezTo>
                      <a:pt x="5732" y="89"/>
                      <a:pt x="5730" y="90"/>
                      <a:pt x="5727" y="91"/>
                    </a:cubicBezTo>
                    <a:cubicBezTo>
                      <a:pt x="5727" y="92"/>
                      <a:pt x="5727" y="92"/>
                      <a:pt x="5727" y="92"/>
                    </a:cubicBezTo>
                    <a:cubicBezTo>
                      <a:pt x="5725" y="95"/>
                      <a:pt x="5725" y="97"/>
                      <a:pt x="5723" y="100"/>
                    </a:cubicBezTo>
                    <a:cubicBezTo>
                      <a:pt x="5679" y="180"/>
                      <a:pt x="5478" y="391"/>
                      <a:pt x="5477" y="359"/>
                    </a:cubicBezTo>
                    <a:cubicBezTo>
                      <a:pt x="5477" y="346"/>
                      <a:pt x="5463" y="358"/>
                      <a:pt x="5448" y="384"/>
                    </a:cubicBezTo>
                    <a:cubicBezTo>
                      <a:pt x="5432" y="411"/>
                      <a:pt x="5403" y="426"/>
                      <a:pt x="5383" y="418"/>
                    </a:cubicBezTo>
                    <a:cubicBezTo>
                      <a:pt x="5362" y="410"/>
                      <a:pt x="5304" y="443"/>
                      <a:pt x="5253" y="490"/>
                    </a:cubicBezTo>
                    <a:cubicBezTo>
                      <a:pt x="5202" y="537"/>
                      <a:pt x="5145" y="576"/>
                      <a:pt x="5125" y="576"/>
                    </a:cubicBezTo>
                    <a:cubicBezTo>
                      <a:pt x="5105" y="576"/>
                      <a:pt x="5081" y="595"/>
                      <a:pt x="5072" y="618"/>
                    </a:cubicBezTo>
                    <a:cubicBezTo>
                      <a:pt x="5063" y="641"/>
                      <a:pt x="5038" y="653"/>
                      <a:pt x="5014" y="644"/>
                    </a:cubicBezTo>
                    <a:cubicBezTo>
                      <a:pt x="4991" y="635"/>
                      <a:pt x="4951" y="647"/>
                      <a:pt x="4926" y="672"/>
                    </a:cubicBezTo>
                    <a:cubicBezTo>
                      <a:pt x="4901" y="697"/>
                      <a:pt x="4858" y="717"/>
                      <a:pt x="4831" y="717"/>
                    </a:cubicBezTo>
                    <a:cubicBezTo>
                      <a:pt x="4803" y="717"/>
                      <a:pt x="4752" y="742"/>
                      <a:pt x="4718" y="771"/>
                    </a:cubicBezTo>
                    <a:cubicBezTo>
                      <a:pt x="4672" y="811"/>
                      <a:pt x="4625" y="823"/>
                      <a:pt x="4543" y="815"/>
                    </a:cubicBezTo>
                    <a:cubicBezTo>
                      <a:pt x="4475" y="808"/>
                      <a:pt x="4438" y="814"/>
                      <a:pt x="4448" y="831"/>
                    </a:cubicBezTo>
                    <a:cubicBezTo>
                      <a:pt x="4458" y="847"/>
                      <a:pt x="4399" y="859"/>
                      <a:pt x="4301" y="860"/>
                    </a:cubicBezTo>
                    <a:cubicBezTo>
                      <a:pt x="4211" y="862"/>
                      <a:pt x="4080" y="866"/>
                      <a:pt x="4010" y="870"/>
                    </a:cubicBezTo>
                    <a:cubicBezTo>
                      <a:pt x="3940" y="874"/>
                      <a:pt x="3820" y="861"/>
                      <a:pt x="3742" y="840"/>
                    </a:cubicBezTo>
                    <a:cubicBezTo>
                      <a:pt x="3665" y="819"/>
                      <a:pt x="3566" y="794"/>
                      <a:pt x="3523" y="784"/>
                    </a:cubicBezTo>
                    <a:cubicBezTo>
                      <a:pt x="3481" y="774"/>
                      <a:pt x="3446" y="756"/>
                      <a:pt x="3446" y="744"/>
                    </a:cubicBezTo>
                    <a:cubicBezTo>
                      <a:pt x="3446" y="732"/>
                      <a:pt x="3394" y="713"/>
                      <a:pt x="3331" y="703"/>
                    </a:cubicBezTo>
                    <a:cubicBezTo>
                      <a:pt x="3265" y="691"/>
                      <a:pt x="3229" y="674"/>
                      <a:pt x="3207" y="644"/>
                    </a:cubicBezTo>
                    <a:cubicBezTo>
                      <a:pt x="3204" y="644"/>
                      <a:pt x="3193" y="645"/>
                      <a:pt x="3192" y="644"/>
                    </a:cubicBezTo>
                    <a:cubicBezTo>
                      <a:pt x="3191" y="644"/>
                      <a:pt x="3190" y="642"/>
                      <a:pt x="3189" y="642"/>
                    </a:cubicBezTo>
                    <a:cubicBezTo>
                      <a:pt x="3188" y="641"/>
                      <a:pt x="3178" y="642"/>
                      <a:pt x="3177" y="642"/>
                    </a:cubicBezTo>
                    <a:cubicBezTo>
                      <a:pt x="3176" y="641"/>
                      <a:pt x="3175" y="640"/>
                      <a:pt x="3174" y="639"/>
                    </a:cubicBezTo>
                    <a:cubicBezTo>
                      <a:pt x="3173" y="638"/>
                      <a:pt x="3171" y="638"/>
                      <a:pt x="3169" y="636"/>
                    </a:cubicBezTo>
                    <a:cubicBezTo>
                      <a:pt x="3168" y="636"/>
                      <a:pt x="3167" y="634"/>
                      <a:pt x="3166" y="634"/>
                    </a:cubicBezTo>
                    <a:cubicBezTo>
                      <a:pt x="3166" y="633"/>
                      <a:pt x="3164" y="634"/>
                      <a:pt x="3164" y="634"/>
                    </a:cubicBezTo>
                    <a:cubicBezTo>
                      <a:pt x="3162" y="633"/>
                      <a:pt x="3162" y="631"/>
                      <a:pt x="3161" y="629"/>
                    </a:cubicBezTo>
                    <a:cubicBezTo>
                      <a:pt x="3160" y="627"/>
                      <a:pt x="3158" y="626"/>
                      <a:pt x="3157" y="624"/>
                    </a:cubicBezTo>
                    <a:cubicBezTo>
                      <a:pt x="3156" y="623"/>
                      <a:pt x="3157" y="622"/>
                      <a:pt x="3157" y="621"/>
                    </a:cubicBezTo>
                    <a:cubicBezTo>
                      <a:pt x="3155" y="620"/>
                      <a:pt x="3153" y="618"/>
                      <a:pt x="3151" y="616"/>
                    </a:cubicBezTo>
                    <a:cubicBezTo>
                      <a:pt x="3150" y="615"/>
                      <a:pt x="3153" y="613"/>
                      <a:pt x="3151" y="612"/>
                    </a:cubicBezTo>
                    <a:cubicBezTo>
                      <a:pt x="3150" y="610"/>
                      <a:pt x="3147" y="610"/>
                      <a:pt x="3146" y="609"/>
                    </a:cubicBezTo>
                    <a:cubicBezTo>
                      <a:pt x="3145" y="609"/>
                      <a:pt x="3147" y="607"/>
                      <a:pt x="3146" y="606"/>
                    </a:cubicBezTo>
                    <a:cubicBezTo>
                      <a:pt x="3136" y="597"/>
                      <a:pt x="3145" y="607"/>
                      <a:pt x="3139" y="604"/>
                    </a:cubicBezTo>
                    <a:cubicBezTo>
                      <a:pt x="3138" y="603"/>
                      <a:pt x="3137" y="602"/>
                      <a:pt x="3136" y="601"/>
                    </a:cubicBezTo>
                    <a:cubicBezTo>
                      <a:pt x="3131" y="601"/>
                      <a:pt x="3131" y="601"/>
                      <a:pt x="3131" y="601"/>
                    </a:cubicBezTo>
                    <a:cubicBezTo>
                      <a:pt x="3131" y="601"/>
                      <a:pt x="3130" y="599"/>
                      <a:pt x="3128" y="599"/>
                    </a:cubicBezTo>
                    <a:cubicBezTo>
                      <a:pt x="3127" y="598"/>
                      <a:pt x="3120" y="599"/>
                      <a:pt x="3119" y="599"/>
                    </a:cubicBezTo>
                    <a:cubicBezTo>
                      <a:pt x="3118" y="598"/>
                      <a:pt x="3117" y="597"/>
                      <a:pt x="3116" y="597"/>
                    </a:cubicBezTo>
                    <a:cubicBezTo>
                      <a:pt x="3114" y="596"/>
                      <a:pt x="3112" y="597"/>
                      <a:pt x="3111" y="597"/>
                    </a:cubicBezTo>
                    <a:cubicBezTo>
                      <a:pt x="3109" y="596"/>
                      <a:pt x="3108" y="595"/>
                      <a:pt x="3106" y="594"/>
                    </a:cubicBezTo>
                    <a:cubicBezTo>
                      <a:pt x="3105" y="594"/>
                      <a:pt x="3103" y="595"/>
                      <a:pt x="3101" y="594"/>
                    </a:cubicBezTo>
                    <a:cubicBezTo>
                      <a:pt x="3100" y="594"/>
                      <a:pt x="3099" y="592"/>
                      <a:pt x="3098" y="592"/>
                    </a:cubicBezTo>
                    <a:cubicBezTo>
                      <a:pt x="3100" y="588"/>
                      <a:pt x="3091" y="589"/>
                      <a:pt x="3090" y="589"/>
                    </a:cubicBezTo>
                    <a:cubicBezTo>
                      <a:pt x="3088" y="588"/>
                      <a:pt x="3088" y="585"/>
                      <a:pt x="3086" y="584"/>
                    </a:cubicBezTo>
                    <a:cubicBezTo>
                      <a:pt x="3085" y="583"/>
                      <a:pt x="3084" y="584"/>
                      <a:pt x="3083" y="584"/>
                    </a:cubicBezTo>
                    <a:cubicBezTo>
                      <a:pt x="3083" y="583"/>
                      <a:pt x="3082" y="581"/>
                      <a:pt x="3081" y="581"/>
                    </a:cubicBezTo>
                    <a:cubicBezTo>
                      <a:pt x="3080" y="581"/>
                      <a:pt x="3079" y="582"/>
                      <a:pt x="3078" y="581"/>
                    </a:cubicBezTo>
                    <a:cubicBezTo>
                      <a:pt x="3078" y="580"/>
                      <a:pt x="3079" y="580"/>
                      <a:pt x="3078" y="579"/>
                    </a:cubicBezTo>
                    <a:cubicBezTo>
                      <a:pt x="3073" y="574"/>
                      <a:pt x="3074" y="578"/>
                      <a:pt x="3068" y="577"/>
                    </a:cubicBezTo>
                    <a:cubicBezTo>
                      <a:pt x="3058" y="581"/>
                      <a:pt x="3065" y="572"/>
                      <a:pt x="3063" y="571"/>
                    </a:cubicBezTo>
                    <a:cubicBezTo>
                      <a:pt x="3062" y="570"/>
                      <a:pt x="3059" y="572"/>
                      <a:pt x="3058" y="571"/>
                    </a:cubicBezTo>
                    <a:cubicBezTo>
                      <a:pt x="3056" y="571"/>
                      <a:pt x="3053" y="564"/>
                      <a:pt x="3051" y="563"/>
                    </a:cubicBezTo>
                    <a:cubicBezTo>
                      <a:pt x="3050" y="563"/>
                      <a:pt x="3049" y="563"/>
                      <a:pt x="3048" y="563"/>
                    </a:cubicBezTo>
                    <a:cubicBezTo>
                      <a:pt x="3047" y="562"/>
                      <a:pt x="3047" y="562"/>
                      <a:pt x="3045" y="562"/>
                    </a:cubicBezTo>
                    <a:cubicBezTo>
                      <a:pt x="3044" y="561"/>
                      <a:pt x="3042" y="563"/>
                      <a:pt x="3040" y="562"/>
                    </a:cubicBezTo>
                    <a:cubicBezTo>
                      <a:pt x="3037" y="559"/>
                      <a:pt x="3036" y="556"/>
                      <a:pt x="3033" y="554"/>
                    </a:cubicBezTo>
                    <a:cubicBezTo>
                      <a:pt x="3032" y="553"/>
                      <a:pt x="3031" y="554"/>
                      <a:pt x="3031" y="554"/>
                    </a:cubicBezTo>
                    <a:cubicBezTo>
                      <a:pt x="3029" y="553"/>
                      <a:pt x="3027" y="552"/>
                      <a:pt x="3025" y="551"/>
                    </a:cubicBezTo>
                    <a:cubicBezTo>
                      <a:pt x="3024" y="550"/>
                      <a:pt x="3021" y="550"/>
                      <a:pt x="3020" y="548"/>
                    </a:cubicBezTo>
                    <a:cubicBezTo>
                      <a:pt x="3017" y="546"/>
                      <a:pt x="3019" y="546"/>
                      <a:pt x="3021" y="546"/>
                    </a:cubicBezTo>
                    <a:cubicBezTo>
                      <a:pt x="3020" y="545"/>
                      <a:pt x="3020" y="545"/>
                      <a:pt x="3018" y="544"/>
                    </a:cubicBezTo>
                    <a:cubicBezTo>
                      <a:pt x="3017" y="544"/>
                      <a:pt x="3016" y="544"/>
                      <a:pt x="3016" y="544"/>
                    </a:cubicBezTo>
                    <a:cubicBezTo>
                      <a:pt x="3014" y="543"/>
                      <a:pt x="3014" y="542"/>
                      <a:pt x="3013" y="541"/>
                    </a:cubicBezTo>
                    <a:cubicBezTo>
                      <a:pt x="3012" y="541"/>
                      <a:pt x="3011" y="542"/>
                      <a:pt x="3010" y="541"/>
                    </a:cubicBezTo>
                    <a:cubicBezTo>
                      <a:pt x="3008" y="540"/>
                      <a:pt x="3007" y="537"/>
                      <a:pt x="3005" y="536"/>
                    </a:cubicBezTo>
                    <a:cubicBezTo>
                      <a:pt x="3003" y="535"/>
                      <a:pt x="3002" y="534"/>
                      <a:pt x="3001" y="533"/>
                    </a:cubicBezTo>
                    <a:cubicBezTo>
                      <a:pt x="3000" y="533"/>
                      <a:pt x="2998" y="534"/>
                      <a:pt x="2998" y="533"/>
                    </a:cubicBezTo>
                    <a:cubicBezTo>
                      <a:pt x="2995" y="531"/>
                      <a:pt x="2997" y="531"/>
                      <a:pt x="2999" y="531"/>
                    </a:cubicBezTo>
                    <a:cubicBezTo>
                      <a:pt x="2998" y="530"/>
                      <a:pt x="2998" y="529"/>
                      <a:pt x="2995" y="528"/>
                    </a:cubicBezTo>
                    <a:cubicBezTo>
                      <a:pt x="2994" y="527"/>
                      <a:pt x="2991" y="529"/>
                      <a:pt x="2990" y="528"/>
                    </a:cubicBezTo>
                    <a:cubicBezTo>
                      <a:pt x="2989" y="527"/>
                      <a:pt x="2991" y="527"/>
                      <a:pt x="2990" y="526"/>
                    </a:cubicBezTo>
                    <a:cubicBezTo>
                      <a:pt x="2988" y="526"/>
                      <a:pt x="2986" y="527"/>
                      <a:pt x="2985" y="526"/>
                    </a:cubicBezTo>
                    <a:cubicBezTo>
                      <a:pt x="2984" y="526"/>
                      <a:pt x="2985" y="524"/>
                      <a:pt x="2985" y="524"/>
                    </a:cubicBezTo>
                    <a:cubicBezTo>
                      <a:pt x="2984" y="523"/>
                      <a:pt x="2983" y="524"/>
                      <a:pt x="2983" y="524"/>
                    </a:cubicBezTo>
                    <a:cubicBezTo>
                      <a:pt x="2982" y="523"/>
                      <a:pt x="2983" y="522"/>
                      <a:pt x="2983" y="521"/>
                    </a:cubicBezTo>
                    <a:cubicBezTo>
                      <a:pt x="2982" y="520"/>
                      <a:pt x="2979" y="519"/>
                      <a:pt x="2978" y="518"/>
                    </a:cubicBezTo>
                    <a:cubicBezTo>
                      <a:pt x="2975" y="517"/>
                      <a:pt x="2972" y="512"/>
                      <a:pt x="2970" y="510"/>
                    </a:cubicBezTo>
                    <a:cubicBezTo>
                      <a:pt x="2969" y="510"/>
                      <a:pt x="2968" y="509"/>
                      <a:pt x="2967" y="509"/>
                    </a:cubicBezTo>
                    <a:cubicBezTo>
                      <a:pt x="2966" y="508"/>
                      <a:pt x="2966" y="509"/>
                      <a:pt x="2965" y="509"/>
                    </a:cubicBezTo>
                    <a:cubicBezTo>
                      <a:pt x="2965" y="508"/>
                      <a:pt x="2966" y="507"/>
                      <a:pt x="2965" y="506"/>
                    </a:cubicBezTo>
                    <a:cubicBezTo>
                      <a:pt x="2965" y="505"/>
                      <a:pt x="2963" y="504"/>
                      <a:pt x="2963" y="503"/>
                    </a:cubicBezTo>
                    <a:cubicBezTo>
                      <a:pt x="2962" y="502"/>
                      <a:pt x="2961" y="501"/>
                      <a:pt x="2960" y="501"/>
                    </a:cubicBezTo>
                    <a:cubicBezTo>
                      <a:pt x="2959" y="500"/>
                      <a:pt x="2958" y="501"/>
                      <a:pt x="2957" y="501"/>
                    </a:cubicBezTo>
                    <a:cubicBezTo>
                      <a:pt x="2957" y="500"/>
                      <a:pt x="2958" y="499"/>
                      <a:pt x="2957" y="498"/>
                    </a:cubicBezTo>
                    <a:cubicBezTo>
                      <a:pt x="2956" y="497"/>
                      <a:pt x="2954" y="496"/>
                      <a:pt x="2952" y="495"/>
                    </a:cubicBezTo>
                    <a:cubicBezTo>
                      <a:pt x="2951" y="495"/>
                      <a:pt x="2950" y="496"/>
                      <a:pt x="2949" y="495"/>
                    </a:cubicBezTo>
                    <a:cubicBezTo>
                      <a:pt x="2949" y="495"/>
                      <a:pt x="2950" y="493"/>
                      <a:pt x="2949" y="493"/>
                    </a:cubicBezTo>
                    <a:cubicBezTo>
                      <a:pt x="2948" y="492"/>
                      <a:pt x="2946" y="494"/>
                      <a:pt x="2945" y="493"/>
                    </a:cubicBezTo>
                    <a:cubicBezTo>
                      <a:pt x="2936" y="487"/>
                      <a:pt x="2947" y="490"/>
                      <a:pt x="2940" y="486"/>
                    </a:cubicBezTo>
                    <a:cubicBezTo>
                      <a:pt x="2938" y="485"/>
                      <a:pt x="2936" y="487"/>
                      <a:pt x="2934" y="486"/>
                    </a:cubicBezTo>
                    <a:cubicBezTo>
                      <a:pt x="2934" y="485"/>
                      <a:pt x="2935" y="483"/>
                      <a:pt x="2934" y="483"/>
                    </a:cubicBezTo>
                    <a:cubicBezTo>
                      <a:pt x="2933" y="482"/>
                      <a:pt x="2931" y="484"/>
                      <a:pt x="2930" y="483"/>
                    </a:cubicBezTo>
                    <a:cubicBezTo>
                      <a:pt x="2928" y="482"/>
                      <a:pt x="2929" y="479"/>
                      <a:pt x="2927" y="478"/>
                    </a:cubicBezTo>
                    <a:cubicBezTo>
                      <a:pt x="2927" y="477"/>
                      <a:pt x="2925" y="478"/>
                      <a:pt x="2925" y="478"/>
                    </a:cubicBezTo>
                    <a:cubicBezTo>
                      <a:pt x="2924" y="477"/>
                      <a:pt x="2923" y="476"/>
                      <a:pt x="2922" y="475"/>
                    </a:cubicBezTo>
                    <a:cubicBezTo>
                      <a:pt x="2920" y="474"/>
                      <a:pt x="2918" y="475"/>
                      <a:pt x="2917" y="473"/>
                    </a:cubicBezTo>
                    <a:cubicBezTo>
                      <a:pt x="2916" y="473"/>
                      <a:pt x="2917" y="471"/>
                      <a:pt x="2917" y="471"/>
                    </a:cubicBezTo>
                    <a:cubicBezTo>
                      <a:pt x="2916" y="470"/>
                      <a:pt x="2915" y="471"/>
                      <a:pt x="2914" y="471"/>
                    </a:cubicBezTo>
                    <a:cubicBezTo>
                      <a:pt x="2913" y="470"/>
                      <a:pt x="2913" y="469"/>
                      <a:pt x="2912" y="468"/>
                    </a:cubicBezTo>
                    <a:cubicBezTo>
                      <a:pt x="2910" y="466"/>
                      <a:pt x="2907" y="462"/>
                      <a:pt x="2904" y="460"/>
                    </a:cubicBezTo>
                    <a:cubicBezTo>
                      <a:pt x="2903" y="459"/>
                      <a:pt x="2900" y="459"/>
                      <a:pt x="2899" y="457"/>
                    </a:cubicBezTo>
                    <a:cubicBezTo>
                      <a:pt x="2898" y="456"/>
                      <a:pt x="2898" y="454"/>
                      <a:pt x="2896" y="453"/>
                    </a:cubicBezTo>
                    <a:cubicBezTo>
                      <a:pt x="2895" y="452"/>
                      <a:pt x="2893" y="454"/>
                      <a:pt x="2892" y="453"/>
                    </a:cubicBezTo>
                    <a:cubicBezTo>
                      <a:pt x="2890" y="452"/>
                      <a:pt x="2891" y="449"/>
                      <a:pt x="2889" y="448"/>
                    </a:cubicBezTo>
                    <a:cubicBezTo>
                      <a:pt x="2889" y="447"/>
                      <a:pt x="2888" y="448"/>
                      <a:pt x="2887" y="448"/>
                    </a:cubicBezTo>
                    <a:cubicBezTo>
                      <a:pt x="2885" y="447"/>
                      <a:pt x="2883" y="446"/>
                      <a:pt x="2881" y="445"/>
                    </a:cubicBezTo>
                    <a:cubicBezTo>
                      <a:pt x="2881" y="445"/>
                      <a:pt x="2882" y="443"/>
                      <a:pt x="2881" y="442"/>
                    </a:cubicBezTo>
                    <a:cubicBezTo>
                      <a:pt x="2881" y="441"/>
                      <a:pt x="2872" y="433"/>
                      <a:pt x="2872" y="433"/>
                    </a:cubicBezTo>
                    <a:cubicBezTo>
                      <a:pt x="2870" y="432"/>
                      <a:pt x="2868" y="431"/>
                      <a:pt x="2866" y="430"/>
                    </a:cubicBezTo>
                    <a:cubicBezTo>
                      <a:pt x="2865" y="429"/>
                      <a:pt x="2865" y="428"/>
                      <a:pt x="2864" y="428"/>
                    </a:cubicBezTo>
                    <a:cubicBezTo>
                      <a:pt x="2862" y="426"/>
                      <a:pt x="2861" y="426"/>
                      <a:pt x="2859" y="425"/>
                    </a:cubicBezTo>
                    <a:cubicBezTo>
                      <a:pt x="2858" y="424"/>
                      <a:pt x="2858" y="423"/>
                      <a:pt x="2857" y="422"/>
                    </a:cubicBezTo>
                    <a:cubicBezTo>
                      <a:pt x="2856" y="422"/>
                      <a:pt x="2855" y="423"/>
                      <a:pt x="2854" y="422"/>
                    </a:cubicBezTo>
                    <a:cubicBezTo>
                      <a:pt x="2852" y="421"/>
                      <a:pt x="2851" y="419"/>
                      <a:pt x="2849" y="418"/>
                    </a:cubicBezTo>
                    <a:cubicBezTo>
                      <a:pt x="2848" y="417"/>
                      <a:pt x="2847" y="416"/>
                      <a:pt x="2846" y="415"/>
                    </a:cubicBezTo>
                    <a:cubicBezTo>
                      <a:pt x="2845" y="415"/>
                      <a:pt x="2844" y="416"/>
                      <a:pt x="2844" y="415"/>
                    </a:cubicBezTo>
                    <a:cubicBezTo>
                      <a:pt x="2842" y="415"/>
                      <a:pt x="2843" y="413"/>
                      <a:pt x="2842" y="413"/>
                    </a:cubicBezTo>
                    <a:cubicBezTo>
                      <a:pt x="2840" y="412"/>
                      <a:pt x="2838" y="413"/>
                      <a:pt x="2837" y="413"/>
                    </a:cubicBezTo>
                    <a:cubicBezTo>
                      <a:pt x="2836" y="412"/>
                      <a:pt x="2837" y="410"/>
                      <a:pt x="2837" y="410"/>
                    </a:cubicBezTo>
                    <a:cubicBezTo>
                      <a:pt x="2836" y="409"/>
                      <a:pt x="2835" y="410"/>
                      <a:pt x="2834" y="410"/>
                    </a:cubicBezTo>
                    <a:cubicBezTo>
                      <a:pt x="2816" y="404"/>
                      <a:pt x="2837" y="410"/>
                      <a:pt x="2826" y="405"/>
                    </a:cubicBezTo>
                    <a:cubicBezTo>
                      <a:pt x="2824" y="404"/>
                      <a:pt x="2823" y="406"/>
                      <a:pt x="2822" y="405"/>
                    </a:cubicBezTo>
                    <a:cubicBezTo>
                      <a:pt x="2820" y="403"/>
                      <a:pt x="2820" y="402"/>
                      <a:pt x="2819" y="400"/>
                    </a:cubicBezTo>
                    <a:cubicBezTo>
                      <a:pt x="2818" y="400"/>
                      <a:pt x="2817" y="400"/>
                      <a:pt x="2816" y="400"/>
                    </a:cubicBezTo>
                    <a:cubicBezTo>
                      <a:pt x="2814" y="400"/>
                      <a:pt x="2809" y="397"/>
                      <a:pt x="2808" y="395"/>
                    </a:cubicBezTo>
                    <a:cubicBezTo>
                      <a:pt x="2808" y="394"/>
                      <a:pt x="2809" y="393"/>
                      <a:pt x="2808" y="392"/>
                    </a:cubicBezTo>
                    <a:cubicBezTo>
                      <a:pt x="2808" y="392"/>
                      <a:pt x="2807" y="392"/>
                      <a:pt x="2807" y="392"/>
                    </a:cubicBezTo>
                    <a:cubicBezTo>
                      <a:pt x="2805" y="392"/>
                      <a:pt x="2803" y="391"/>
                      <a:pt x="2801" y="390"/>
                    </a:cubicBezTo>
                    <a:cubicBezTo>
                      <a:pt x="2799" y="388"/>
                      <a:pt x="2798" y="386"/>
                      <a:pt x="2796" y="385"/>
                    </a:cubicBezTo>
                    <a:cubicBezTo>
                      <a:pt x="2795" y="385"/>
                      <a:pt x="2794" y="386"/>
                      <a:pt x="2793" y="385"/>
                    </a:cubicBezTo>
                    <a:cubicBezTo>
                      <a:pt x="2793" y="385"/>
                      <a:pt x="2794" y="383"/>
                      <a:pt x="2793" y="383"/>
                    </a:cubicBezTo>
                    <a:cubicBezTo>
                      <a:pt x="2792" y="382"/>
                      <a:pt x="2790" y="383"/>
                      <a:pt x="2789" y="383"/>
                    </a:cubicBezTo>
                    <a:cubicBezTo>
                      <a:pt x="2786" y="381"/>
                      <a:pt x="2783" y="376"/>
                      <a:pt x="2781" y="375"/>
                    </a:cubicBezTo>
                    <a:cubicBezTo>
                      <a:pt x="2778" y="373"/>
                      <a:pt x="2776" y="371"/>
                      <a:pt x="2773" y="369"/>
                    </a:cubicBezTo>
                    <a:cubicBezTo>
                      <a:pt x="2772" y="369"/>
                      <a:pt x="2772" y="370"/>
                      <a:pt x="2771" y="369"/>
                    </a:cubicBezTo>
                    <a:cubicBezTo>
                      <a:pt x="2770" y="369"/>
                      <a:pt x="2770" y="368"/>
                      <a:pt x="2769" y="368"/>
                    </a:cubicBezTo>
                    <a:cubicBezTo>
                      <a:pt x="2767" y="367"/>
                      <a:pt x="2765" y="366"/>
                      <a:pt x="2763" y="365"/>
                    </a:cubicBezTo>
                    <a:cubicBezTo>
                      <a:pt x="2760" y="362"/>
                      <a:pt x="2760" y="359"/>
                      <a:pt x="2755" y="357"/>
                    </a:cubicBezTo>
                    <a:cubicBezTo>
                      <a:pt x="2754" y="356"/>
                      <a:pt x="2753" y="357"/>
                      <a:pt x="2751" y="357"/>
                    </a:cubicBezTo>
                    <a:cubicBezTo>
                      <a:pt x="2747" y="356"/>
                      <a:pt x="2750" y="353"/>
                      <a:pt x="2746" y="352"/>
                    </a:cubicBezTo>
                    <a:cubicBezTo>
                      <a:pt x="2744" y="351"/>
                      <a:pt x="2742" y="353"/>
                      <a:pt x="2740" y="352"/>
                    </a:cubicBezTo>
                    <a:cubicBezTo>
                      <a:pt x="2736" y="342"/>
                      <a:pt x="2742" y="350"/>
                      <a:pt x="2733" y="347"/>
                    </a:cubicBezTo>
                    <a:cubicBezTo>
                      <a:pt x="2731" y="347"/>
                      <a:pt x="2730" y="343"/>
                      <a:pt x="2728" y="342"/>
                    </a:cubicBezTo>
                    <a:cubicBezTo>
                      <a:pt x="2726" y="341"/>
                      <a:pt x="2724" y="341"/>
                      <a:pt x="2723" y="339"/>
                    </a:cubicBezTo>
                    <a:cubicBezTo>
                      <a:pt x="2722" y="339"/>
                      <a:pt x="2723" y="337"/>
                      <a:pt x="2723" y="337"/>
                    </a:cubicBezTo>
                    <a:cubicBezTo>
                      <a:pt x="2721" y="336"/>
                      <a:pt x="2720" y="337"/>
                      <a:pt x="2718" y="337"/>
                    </a:cubicBezTo>
                    <a:cubicBezTo>
                      <a:pt x="2717" y="336"/>
                      <a:pt x="2717" y="335"/>
                      <a:pt x="2716" y="334"/>
                    </a:cubicBezTo>
                    <a:cubicBezTo>
                      <a:pt x="2707" y="329"/>
                      <a:pt x="2708" y="331"/>
                      <a:pt x="2710" y="331"/>
                    </a:cubicBezTo>
                    <a:cubicBezTo>
                      <a:pt x="2709" y="331"/>
                      <a:pt x="2709" y="331"/>
                      <a:pt x="2708" y="330"/>
                    </a:cubicBezTo>
                    <a:cubicBezTo>
                      <a:pt x="2706" y="329"/>
                      <a:pt x="2704" y="328"/>
                      <a:pt x="2702" y="327"/>
                    </a:cubicBezTo>
                    <a:cubicBezTo>
                      <a:pt x="2699" y="325"/>
                      <a:pt x="2696" y="323"/>
                      <a:pt x="2693" y="322"/>
                    </a:cubicBezTo>
                    <a:cubicBezTo>
                      <a:pt x="2690" y="321"/>
                      <a:pt x="2687" y="320"/>
                      <a:pt x="2685" y="319"/>
                    </a:cubicBezTo>
                    <a:cubicBezTo>
                      <a:pt x="2684" y="319"/>
                      <a:pt x="2684" y="317"/>
                      <a:pt x="2683" y="316"/>
                    </a:cubicBezTo>
                    <a:cubicBezTo>
                      <a:pt x="2681" y="315"/>
                      <a:pt x="2678" y="313"/>
                      <a:pt x="2675" y="312"/>
                    </a:cubicBezTo>
                    <a:cubicBezTo>
                      <a:pt x="2673" y="311"/>
                      <a:pt x="2669" y="311"/>
                      <a:pt x="2667" y="309"/>
                    </a:cubicBezTo>
                    <a:cubicBezTo>
                      <a:pt x="2665" y="308"/>
                      <a:pt x="2665" y="305"/>
                      <a:pt x="2663" y="304"/>
                    </a:cubicBezTo>
                    <a:cubicBezTo>
                      <a:pt x="2661" y="303"/>
                      <a:pt x="2659" y="302"/>
                      <a:pt x="2657" y="301"/>
                    </a:cubicBezTo>
                    <a:cubicBezTo>
                      <a:pt x="2656" y="301"/>
                      <a:pt x="2656" y="299"/>
                      <a:pt x="2655" y="299"/>
                    </a:cubicBezTo>
                    <a:cubicBezTo>
                      <a:pt x="2653" y="298"/>
                      <a:pt x="2651" y="298"/>
                      <a:pt x="2650" y="297"/>
                    </a:cubicBezTo>
                    <a:cubicBezTo>
                      <a:pt x="2648" y="296"/>
                      <a:pt x="2649" y="293"/>
                      <a:pt x="2648" y="292"/>
                    </a:cubicBezTo>
                    <a:cubicBezTo>
                      <a:pt x="2646" y="290"/>
                      <a:pt x="2644" y="290"/>
                      <a:pt x="2642" y="289"/>
                    </a:cubicBezTo>
                    <a:cubicBezTo>
                      <a:pt x="2642" y="288"/>
                      <a:pt x="2643" y="287"/>
                      <a:pt x="2642" y="286"/>
                    </a:cubicBezTo>
                    <a:cubicBezTo>
                      <a:pt x="2641" y="285"/>
                      <a:pt x="2639" y="285"/>
                      <a:pt x="2637" y="284"/>
                    </a:cubicBezTo>
                    <a:cubicBezTo>
                      <a:pt x="2637" y="283"/>
                      <a:pt x="2638" y="282"/>
                      <a:pt x="2637" y="281"/>
                    </a:cubicBezTo>
                    <a:cubicBezTo>
                      <a:pt x="2636" y="280"/>
                      <a:pt x="2634" y="280"/>
                      <a:pt x="2632" y="279"/>
                    </a:cubicBezTo>
                    <a:cubicBezTo>
                      <a:pt x="2631" y="279"/>
                      <a:pt x="2631" y="280"/>
                      <a:pt x="2630" y="279"/>
                    </a:cubicBezTo>
                    <a:cubicBezTo>
                      <a:pt x="2630" y="279"/>
                      <a:pt x="2631" y="277"/>
                      <a:pt x="2630" y="277"/>
                    </a:cubicBezTo>
                    <a:cubicBezTo>
                      <a:pt x="2629" y="275"/>
                      <a:pt x="2626" y="275"/>
                      <a:pt x="2625" y="274"/>
                    </a:cubicBezTo>
                    <a:cubicBezTo>
                      <a:pt x="2623" y="273"/>
                      <a:pt x="2622" y="270"/>
                      <a:pt x="2620" y="269"/>
                    </a:cubicBezTo>
                    <a:cubicBezTo>
                      <a:pt x="2619" y="268"/>
                      <a:pt x="2618" y="269"/>
                      <a:pt x="2617" y="269"/>
                    </a:cubicBezTo>
                    <a:cubicBezTo>
                      <a:pt x="2615" y="268"/>
                      <a:pt x="2608" y="260"/>
                      <a:pt x="2607" y="259"/>
                    </a:cubicBezTo>
                    <a:cubicBezTo>
                      <a:pt x="2606" y="258"/>
                      <a:pt x="2603" y="257"/>
                      <a:pt x="2602" y="256"/>
                    </a:cubicBezTo>
                    <a:cubicBezTo>
                      <a:pt x="2601" y="256"/>
                      <a:pt x="2600" y="254"/>
                      <a:pt x="2599" y="254"/>
                    </a:cubicBezTo>
                    <a:cubicBezTo>
                      <a:pt x="2598" y="253"/>
                      <a:pt x="2597" y="252"/>
                      <a:pt x="2595" y="251"/>
                    </a:cubicBezTo>
                    <a:cubicBezTo>
                      <a:pt x="2594" y="251"/>
                      <a:pt x="2593" y="252"/>
                      <a:pt x="2592" y="251"/>
                    </a:cubicBezTo>
                    <a:cubicBezTo>
                      <a:pt x="2592" y="251"/>
                      <a:pt x="2593" y="249"/>
                      <a:pt x="2592" y="249"/>
                    </a:cubicBezTo>
                    <a:cubicBezTo>
                      <a:pt x="2592" y="248"/>
                      <a:pt x="2590" y="249"/>
                      <a:pt x="2590" y="249"/>
                    </a:cubicBezTo>
                    <a:cubicBezTo>
                      <a:pt x="2588" y="247"/>
                      <a:pt x="2588" y="245"/>
                      <a:pt x="2587" y="244"/>
                    </a:cubicBezTo>
                    <a:cubicBezTo>
                      <a:pt x="2586" y="243"/>
                      <a:pt x="2583" y="243"/>
                      <a:pt x="2582" y="241"/>
                    </a:cubicBezTo>
                    <a:cubicBezTo>
                      <a:pt x="2581" y="241"/>
                      <a:pt x="2582" y="239"/>
                      <a:pt x="2582" y="239"/>
                    </a:cubicBezTo>
                    <a:cubicBezTo>
                      <a:pt x="2580" y="237"/>
                      <a:pt x="2579" y="237"/>
                      <a:pt x="2577" y="236"/>
                    </a:cubicBezTo>
                    <a:cubicBezTo>
                      <a:pt x="2575" y="235"/>
                      <a:pt x="2571" y="230"/>
                      <a:pt x="2569" y="228"/>
                    </a:cubicBezTo>
                    <a:lnTo>
                      <a:pt x="2564" y="224"/>
                    </a:lnTo>
                    <a:cubicBezTo>
                      <a:pt x="2563" y="223"/>
                      <a:pt x="2562" y="222"/>
                      <a:pt x="2561" y="221"/>
                    </a:cubicBezTo>
                    <a:cubicBezTo>
                      <a:pt x="2561" y="221"/>
                      <a:pt x="2561" y="221"/>
                      <a:pt x="2561" y="220"/>
                    </a:cubicBezTo>
                    <a:cubicBezTo>
                      <a:pt x="2559" y="220"/>
                      <a:pt x="2559" y="219"/>
                      <a:pt x="2557" y="219"/>
                    </a:cubicBezTo>
                    <a:cubicBezTo>
                      <a:pt x="2549" y="216"/>
                      <a:pt x="2543" y="213"/>
                      <a:pt x="2543" y="209"/>
                    </a:cubicBezTo>
                    <a:cubicBezTo>
                      <a:pt x="2543" y="178"/>
                      <a:pt x="2438" y="196"/>
                      <a:pt x="2392" y="234"/>
                    </a:cubicBezTo>
                    <a:cubicBezTo>
                      <a:pt x="2363" y="257"/>
                      <a:pt x="2345" y="258"/>
                      <a:pt x="2332" y="238"/>
                    </a:cubicBezTo>
                    <a:cubicBezTo>
                      <a:pt x="2312" y="206"/>
                      <a:pt x="2232" y="268"/>
                      <a:pt x="2232" y="315"/>
                    </a:cubicBezTo>
                    <a:cubicBezTo>
                      <a:pt x="2232" y="329"/>
                      <a:pt x="2201" y="370"/>
                      <a:pt x="2162" y="406"/>
                    </a:cubicBezTo>
                    <a:cubicBezTo>
                      <a:pt x="2120" y="446"/>
                      <a:pt x="2091" y="504"/>
                      <a:pt x="2091" y="549"/>
                    </a:cubicBezTo>
                    <a:cubicBezTo>
                      <a:pt x="2091" y="635"/>
                      <a:pt x="1874" y="899"/>
                      <a:pt x="1779" y="929"/>
                    </a:cubicBezTo>
                    <a:cubicBezTo>
                      <a:pt x="1749" y="939"/>
                      <a:pt x="1724" y="964"/>
                      <a:pt x="1724" y="987"/>
                    </a:cubicBezTo>
                    <a:cubicBezTo>
                      <a:pt x="1724" y="1009"/>
                      <a:pt x="1699" y="1027"/>
                      <a:pt x="1667" y="1027"/>
                    </a:cubicBezTo>
                    <a:cubicBezTo>
                      <a:pt x="1633" y="1027"/>
                      <a:pt x="1600" y="1053"/>
                      <a:pt x="1586" y="1091"/>
                    </a:cubicBezTo>
                    <a:cubicBezTo>
                      <a:pt x="1573" y="1126"/>
                      <a:pt x="1551" y="1153"/>
                      <a:pt x="1537" y="1152"/>
                    </a:cubicBezTo>
                    <a:cubicBezTo>
                      <a:pt x="1505" y="1148"/>
                      <a:pt x="1332" y="1259"/>
                      <a:pt x="1253" y="1335"/>
                    </a:cubicBezTo>
                    <a:cubicBezTo>
                      <a:pt x="1218" y="1368"/>
                      <a:pt x="1182" y="1394"/>
                      <a:pt x="1171" y="1394"/>
                    </a:cubicBezTo>
                    <a:cubicBezTo>
                      <a:pt x="1142" y="1394"/>
                      <a:pt x="991" y="1559"/>
                      <a:pt x="991" y="1592"/>
                    </a:cubicBezTo>
                    <a:cubicBezTo>
                      <a:pt x="991" y="1607"/>
                      <a:pt x="973" y="1620"/>
                      <a:pt x="951" y="1620"/>
                    </a:cubicBezTo>
                    <a:cubicBezTo>
                      <a:pt x="929" y="1620"/>
                      <a:pt x="851" y="1690"/>
                      <a:pt x="777" y="1775"/>
                    </a:cubicBezTo>
                    <a:cubicBezTo>
                      <a:pt x="703" y="1861"/>
                      <a:pt x="631" y="1930"/>
                      <a:pt x="615" y="1930"/>
                    </a:cubicBezTo>
                    <a:cubicBezTo>
                      <a:pt x="599" y="1930"/>
                      <a:pt x="545" y="1962"/>
                      <a:pt x="494" y="2001"/>
                    </a:cubicBezTo>
                    <a:cubicBezTo>
                      <a:pt x="443" y="2040"/>
                      <a:pt x="364" y="2072"/>
                      <a:pt x="317" y="2072"/>
                    </a:cubicBezTo>
                    <a:cubicBezTo>
                      <a:pt x="194" y="2072"/>
                      <a:pt x="161" y="2156"/>
                      <a:pt x="177" y="2424"/>
                    </a:cubicBezTo>
                    <a:cubicBezTo>
                      <a:pt x="182" y="2502"/>
                      <a:pt x="186" y="2733"/>
                      <a:pt x="186" y="2938"/>
                    </a:cubicBezTo>
                    <a:cubicBezTo>
                      <a:pt x="186" y="3277"/>
                      <a:pt x="181" y="3315"/>
                      <a:pt x="126" y="3375"/>
                    </a:cubicBezTo>
                    <a:cubicBezTo>
                      <a:pt x="0" y="3514"/>
                      <a:pt x="18" y="3672"/>
                      <a:pt x="180" y="3842"/>
                    </a:cubicBezTo>
                    <a:cubicBezTo>
                      <a:pt x="285" y="3952"/>
                      <a:pt x="433" y="4039"/>
                      <a:pt x="446" y="3999"/>
                    </a:cubicBezTo>
                    <a:cubicBezTo>
                      <a:pt x="452" y="3981"/>
                      <a:pt x="513" y="3981"/>
                      <a:pt x="618" y="3999"/>
                    </a:cubicBezTo>
                    <a:cubicBezTo>
                      <a:pt x="706" y="4015"/>
                      <a:pt x="808" y="4027"/>
                      <a:pt x="842" y="4026"/>
                    </a:cubicBezTo>
                    <a:cubicBezTo>
                      <a:pt x="877" y="4025"/>
                      <a:pt x="906" y="4037"/>
                      <a:pt x="906" y="4051"/>
                    </a:cubicBezTo>
                    <a:cubicBezTo>
                      <a:pt x="906" y="4087"/>
                      <a:pt x="1096" y="4081"/>
                      <a:pt x="1118" y="4044"/>
                    </a:cubicBezTo>
                    <a:cubicBezTo>
                      <a:pt x="1132" y="4022"/>
                      <a:pt x="1147" y="4022"/>
                      <a:pt x="1169" y="4044"/>
                    </a:cubicBezTo>
                    <a:cubicBezTo>
                      <a:pt x="1186" y="4061"/>
                      <a:pt x="1252" y="4075"/>
                      <a:pt x="1316" y="4075"/>
                    </a:cubicBezTo>
                    <a:cubicBezTo>
                      <a:pt x="1380" y="4075"/>
                      <a:pt x="1440" y="4084"/>
                      <a:pt x="1449" y="4093"/>
                    </a:cubicBezTo>
                    <a:cubicBezTo>
                      <a:pt x="1459" y="4102"/>
                      <a:pt x="1617" y="4115"/>
                      <a:pt x="1800" y="4122"/>
                    </a:cubicBezTo>
                    <a:cubicBezTo>
                      <a:pt x="2146" y="4135"/>
                      <a:pt x="2241" y="4145"/>
                      <a:pt x="2285" y="4172"/>
                    </a:cubicBezTo>
                    <a:cubicBezTo>
                      <a:pt x="2300" y="4181"/>
                      <a:pt x="2429" y="4195"/>
                      <a:pt x="2573" y="4203"/>
                    </a:cubicBezTo>
                    <a:cubicBezTo>
                      <a:pt x="2716" y="4211"/>
                      <a:pt x="2848" y="4228"/>
                      <a:pt x="2865" y="4241"/>
                    </a:cubicBezTo>
                    <a:cubicBezTo>
                      <a:pt x="2882" y="4254"/>
                      <a:pt x="2953" y="4263"/>
                      <a:pt x="3023" y="4260"/>
                    </a:cubicBezTo>
                    <a:cubicBezTo>
                      <a:pt x="3092" y="4258"/>
                      <a:pt x="3169" y="4266"/>
                      <a:pt x="3192" y="4277"/>
                    </a:cubicBezTo>
                    <a:cubicBezTo>
                      <a:pt x="3256" y="4309"/>
                      <a:pt x="3663" y="4359"/>
                      <a:pt x="3710" y="4342"/>
                    </a:cubicBezTo>
                    <a:cubicBezTo>
                      <a:pt x="3732" y="4333"/>
                      <a:pt x="3759" y="4339"/>
                      <a:pt x="3770" y="4357"/>
                    </a:cubicBezTo>
                    <a:cubicBezTo>
                      <a:pt x="3780" y="4374"/>
                      <a:pt x="3813" y="4380"/>
                      <a:pt x="3843" y="4371"/>
                    </a:cubicBezTo>
                    <a:cubicBezTo>
                      <a:pt x="3873" y="4361"/>
                      <a:pt x="3897" y="4367"/>
                      <a:pt x="3897" y="4384"/>
                    </a:cubicBezTo>
                    <a:cubicBezTo>
                      <a:pt x="3897" y="4418"/>
                      <a:pt x="3938" y="4421"/>
                      <a:pt x="4062" y="4396"/>
                    </a:cubicBezTo>
                    <a:cubicBezTo>
                      <a:pt x="4111" y="4387"/>
                      <a:pt x="4145" y="4369"/>
                      <a:pt x="4137" y="4357"/>
                    </a:cubicBezTo>
                    <a:cubicBezTo>
                      <a:pt x="4130" y="4346"/>
                      <a:pt x="4244" y="4338"/>
                      <a:pt x="4391" y="4340"/>
                    </a:cubicBezTo>
                    <a:cubicBezTo>
                      <a:pt x="4539" y="4342"/>
                      <a:pt x="4659" y="4354"/>
                      <a:pt x="4659" y="4367"/>
                    </a:cubicBezTo>
                    <a:cubicBezTo>
                      <a:pt x="4660" y="4380"/>
                      <a:pt x="4701" y="4381"/>
                      <a:pt x="4751" y="4369"/>
                    </a:cubicBezTo>
                    <a:cubicBezTo>
                      <a:pt x="4802" y="4357"/>
                      <a:pt x="4922" y="4350"/>
                      <a:pt x="5019" y="4353"/>
                    </a:cubicBezTo>
                    <a:cubicBezTo>
                      <a:pt x="5128" y="4356"/>
                      <a:pt x="5196" y="4348"/>
                      <a:pt x="5196" y="4329"/>
                    </a:cubicBezTo>
                    <a:cubicBezTo>
                      <a:pt x="5196" y="4309"/>
                      <a:pt x="5213" y="4308"/>
                      <a:pt x="5249" y="4328"/>
                    </a:cubicBezTo>
                    <a:cubicBezTo>
                      <a:pt x="5278" y="4343"/>
                      <a:pt x="5332" y="4349"/>
                      <a:pt x="5369" y="4340"/>
                    </a:cubicBezTo>
                    <a:cubicBezTo>
                      <a:pt x="5405" y="4331"/>
                      <a:pt x="5525" y="4324"/>
                      <a:pt x="5633" y="4324"/>
                    </a:cubicBezTo>
                    <a:cubicBezTo>
                      <a:pt x="5745" y="4324"/>
                      <a:pt x="5839" y="4311"/>
                      <a:pt x="5850" y="4293"/>
                    </a:cubicBezTo>
                    <a:cubicBezTo>
                      <a:pt x="5864" y="4271"/>
                      <a:pt x="5919" y="4271"/>
                      <a:pt x="6048" y="4295"/>
                    </a:cubicBezTo>
                    <a:cubicBezTo>
                      <a:pt x="6146" y="4313"/>
                      <a:pt x="6270" y="4321"/>
                      <a:pt x="6325" y="4313"/>
                    </a:cubicBezTo>
                    <a:cubicBezTo>
                      <a:pt x="6379" y="4304"/>
                      <a:pt x="6481" y="4294"/>
                      <a:pt x="6550" y="4290"/>
                    </a:cubicBezTo>
                    <a:cubicBezTo>
                      <a:pt x="6688" y="4283"/>
                      <a:pt x="6877" y="4251"/>
                      <a:pt x="6945" y="4223"/>
                    </a:cubicBezTo>
                    <a:cubicBezTo>
                      <a:pt x="6969" y="4214"/>
                      <a:pt x="7032" y="4203"/>
                      <a:pt x="7087" y="4200"/>
                    </a:cubicBezTo>
                    <a:cubicBezTo>
                      <a:pt x="7337" y="4184"/>
                      <a:pt x="7555" y="4152"/>
                      <a:pt x="7586" y="4126"/>
                    </a:cubicBezTo>
                    <a:cubicBezTo>
                      <a:pt x="7605" y="4111"/>
                      <a:pt x="7633" y="4107"/>
                      <a:pt x="7649" y="4117"/>
                    </a:cubicBezTo>
                    <a:cubicBezTo>
                      <a:pt x="7665" y="4127"/>
                      <a:pt x="7679" y="4122"/>
                      <a:pt x="7679" y="4105"/>
                    </a:cubicBezTo>
                    <a:cubicBezTo>
                      <a:pt x="7679" y="4089"/>
                      <a:pt x="7716" y="4075"/>
                      <a:pt x="7761" y="4075"/>
                    </a:cubicBezTo>
                    <a:cubicBezTo>
                      <a:pt x="7807" y="4075"/>
                      <a:pt x="7851" y="4059"/>
                      <a:pt x="7860" y="4040"/>
                    </a:cubicBezTo>
                    <a:cubicBezTo>
                      <a:pt x="7873" y="4013"/>
                      <a:pt x="7880" y="4013"/>
                      <a:pt x="7893" y="4039"/>
                    </a:cubicBezTo>
                    <a:cubicBezTo>
                      <a:pt x="7905" y="4065"/>
                      <a:pt x="7921" y="4066"/>
                      <a:pt x="7961" y="4041"/>
                    </a:cubicBezTo>
                    <a:cubicBezTo>
                      <a:pt x="8000" y="4016"/>
                      <a:pt x="8023" y="4016"/>
                      <a:pt x="8055" y="4043"/>
                    </a:cubicBezTo>
                    <a:cubicBezTo>
                      <a:pt x="8088" y="4070"/>
                      <a:pt x="8105" y="4068"/>
                      <a:pt x="8140" y="4034"/>
                    </a:cubicBezTo>
                    <a:cubicBezTo>
                      <a:pt x="8163" y="4010"/>
                      <a:pt x="8201" y="3991"/>
                      <a:pt x="8223" y="3991"/>
                    </a:cubicBezTo>
                    <a:cubicBezTo>
                      <a:pt x="8324" y="3991"/>
                      <a:pt x="8356" y="3896"/>
                      <a:pt x="8361" y="3580"/>
                    </a:cubicBezTo>
                    <a:cubicBezTo>
                      <a:pt x="8364" y="3410"/>
                      <a:pt x="8379" y="3226"/>
                      <a:pt x="8395" y="3172"/>
                    </a:cubicBezTo>
                    <a:cubicBezTo>
                      <a:pt x="8410" y="3118"/>
                      <a:pt x="8421" y="3066"/>
                      <a:pt x="8419" y="3056"/>
                    </a:cubicBezTo>
                    <a:cubicBezTo>
                      <a:pt x="8417" y="3046"/>
                      <a:pt x="8408" y="2799"/>
                      <a:pt x="8400" y="2507"/>
                    </a:cubicBezTo>
                    <a:cubicBezTo>
                      <a:pt x="8385" y="1993"/>
                      <a:pt x="8357" y="1782"/>
                      <a:pt x="8299" y="1747"/>
                    </a:cubicBezTo>
                    <a:cubicBezTo>
                      <a:pt x="8284" y="1738"/>
                      <a:pt x="8272" y="1708"/>
                      <a:pt x="8272" y="1682"/>
                    </a:cubicBezTo>
                    <a:cubicBezTo>
                      <a:pt x="8272" y="1655"/>
                      <a:pt x="8237" y="1600"/>
                      <a:pt x="8194" y="1558"/>
                    </a:cubicBezTo>
                    <a:cubicBezTo>
                      <a:pt x="8152" y="1516"/>
                      <a:pt x="8050" y="1418"/>
                      <a:pt x="7969" y="1339"/>
                    </a:cubicBezTo>
                    <a:cubicBezTo>
                      <a:pt x="7887" y="1261"/>
                      <a:pt x="7820" y="1190"/>
                      <a:pt x="7820" y="1183"/>
                    </a:cubicBezTo>
                    <a:cubicBezTo>
                      <a:pt x="7820" y="1149"/>
                      <a:pt x="7691" y="1045"/>
                      <a:pt x="7571" y="982"/>
                    </a:cubicBezTo>
                    <a:cubicBezTo>
                      <a:pt x="7407" y="897"/>
                      <a:pt x="7331" y="850"/>
                      <a:pt x="7312" y="824"/>
                    </a:cubicBezTo>
                    <a:cubicBezTo>
                      <a:pt x="7303" y="814"/>
                      <a:pt x="7263" y="788"/>
                      <a:pt x="7222" y="766"/>
                    </a:cubicBezTo>
                    <a:cubicBezTo>
                      <a:pt x="7134" y="721"/>
                      <a:pt x="6917" y="530"/>
                      <a:pt x="6917" y="498"/>
                    </a:cubicBezTo>
                    <a:cubicBezTo>
                      <a:pt x="6917" y="486"/>
                      <a:pt x="6879" y="460"/>
                      <a:pt x="6833" y="439"/>
                    </a:cubicBezTo>
                    <a:cubicBezTo>
                      <a:pt x="6786" y="418"/>
                      <a:pt x="6754" y="390"/>
                      <a:pt x="6763" y="376"/>
                    </a:cubicBezTo>
                    <a:cubicBezTo>
                      <a:pt x="6772" y="361"/>
                      <a:pt x="6750" y="338"/>
                      <a:pt x="6714" y="324"/>
                    </a:cubicBezTo>
                    <a:cubicBezTo>
                      <a:pt x="6679" y="310"/>
                      <a:pt x="6622" y="273"/>
                      <a:pt x="6589" y="242"/>
                    </a:cubicBezTo>
                    <a:cubicBezTo>
                      <a:pt x="6481" y="139"/>
                      <a:pt x="6297" y="64"/>
                      <a:pt x="6139" y="59"/>
                    </a:cubicBezTo>
                    <a:cubicBezTo>
                      <a:pt x="6054" y="56"/>
                      <a:pt x="5986" y="43"/>
                      <a:pt x="5986" y="30"/>
                    </a:cubicBezTo>
                    <a:cubicBezTo>
                      <a:pt x="5986" y="16"/>
                      <a:pt x="5967" y="12"/>
                      <a:pt x="5944" y="21"/>
                    </a:cubicBezTo>
                    <a:cubicBezTo>
                      <a:pt x="5922" y="30"/>
                      <a:pt x="5896" y="25"/>
                      <a:pt x="5887" y="11"/>
                    </a:cubicBezTo>
                    <a:cubicBezTo>
                      <a:pt x="5884" y="6"/>
                      <a:pt x="5877" y="2"/>
                      <a:pt x="5870" y="0"/>
                    </a:cubicBezTo>
                    <a:lnTo>
                      <a:pt x="58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813"/>
              </a:p>
            </p:txBody>
          </p:sp>
          <p:sp>
            <p:nvSpPr>
              <p:cNvPr id="99" name="Freeform 37"/>
              <p:cNvSpPr>
                <a:spLocks noChangeAspect="1"/>
              </p:cNvSpPr>
              <p:nvPr/>
            </p:nvSpPr>
            <p:spPr bwMode="auto">
              <a:xfrm>
                <a:off x="6230938" y="1457325"/>
                <a:ext cx="1182688" cy="1271588"/>
              </a:xfrm>
              <a:custGeom>
                <a:avLst/>
                <a:gdLst>
                  <a:gd name="T0" fmla="*/ 1414 w 4519"/>
                  <a:gd name="T1" fmla="*/ 190 h 4864"/>
                  <a:gd name="T2" fmla="*/ 1031 w 4519"/>
                  <a:gd name="T3" fmla="*/ 402 h 4864"/>
                  <a:gd name="T4" fmla="*/ 460 w 4519"/>
                  <a:gd name="T5" fmla="*/ 1015 h 4864"/>
                  <a:gd name="T6" fmla="*/ 19 w 4519"/>
                  <a:gd name="T7" fmla="*/ 2328 h 4864"/>
                  <a:gd name="T8" fmla="*/ 613 w 4519"/>
                  <a:gd name="T9" fmla="*/ 4236 h 4864"/>
                  <a:gd name="T10" fmla="*/ 643 w 4519"/>
                  <a:gd name="T11" fmla="*/ 4271 h 4864"/>
                  <a:gd name="T12" fmla="*/ 668 w 4519"/>
                  <a:gd name="T13" fmla="*/ 4301 h 4864"/>
                  <a:gd name="T14" fmla="*/ 688 w 4519"/>
                  <a:gd name="T15" fmla="*/ 4319 h 4864"/>
                  <a:gd name="T16" fmla="*/ 703 w 4519"/>
                  <a:gd name="T17" fmla="*/ 4334 h 4864"/>
                  <a:gd name="T18" fmla="*/ 719 w 4519"/>
                  <a:gd name="T19" fmla="*/ 4344 h 4864"/>
                  <a:gd name="T20" fmla="*/ 731 w 4519"/>
                  <a:gd name="T21" fmla="*/ 4357 h 4864"/>
                  <a:gd name="T22" fmla="*/ 743 w 4519"/>
                  <a:gd name="T23" fmla="*/ 4367 h 4864"/>
                  <a:gd name="T24" fmla="*/ 758 w 4519"/>
                  <a:gd name="T25" fmla="*/ 4374 h 4864"/>
                  <a:gd name="T26" fmla="*/ 779 w 4519"/>
                  <a:gd name="T27" fmla="*/ 4385 h 4864"/>
                  <a:gd name="T28" fmla="*/ 791 w 4519"/>
                  <a:gd name="T29" fmla="*/ 4392 h 4864"/>
                  <a:gd name="T30" fmla="*/ 817 w 4519"/>
                  <a:gd name="T31" fmla="*/ 4404 h 4864"/>
                  <a:gd name="T32" fmla="*/ 842 w 4519"/>
                  <a:gd name="T33" fmla="*/ 4422 h 4864"/>
                  <a:gd name="T34" fmla="*/ 854 w 4519"/>
                  <a:gd name="T35" fmla="*/ 4427 h 4864"/>
                  <a:gd name="T36" fmla="*/ 882 w 4519"/>
                  <a:gd name="T37" fmla="*/ 4450 h 4864"/>
                  <a:gd name="T38" fmla="*/ 892 w 4519"/>
                  <a:gd name="T39" fmla="*/ 4455 h 4864"/>
                  <a:gd name="T40" fmla="*/ 913 w 4519"/>
                  <a:gd name="T41" fmla="*/ 4468 h 4864"/>
                  <a:gd name="T42" fmla="*/ 935 w 4519"/>
                  <a:gd name="T43" fmla="*/ 4483 h 4864"/>
                  <a:gd name="T44" fmla="*/ 950 w 4519"/>
                  <a:gd name="T45" fmla="*/ 4493 h 4864"/>
                  <a:gd name="T46" fmla="*/ 970 w 4519"/>
                  <a:gd name="T47" fmla="*/ 4503 h 4864"/>
                  <a:gd name="T48" fmla="*/ 993 w 4519"/>
                  <a:gd name="T49" fmla="*/ 4513 h 4864"/>
                  <a:gd name="T50" fmla="*/ 1001 w 4519"/>
                  <a:gd name="T51" fmla="*/ 4523 h 4864"/>
                  <a:gd name="T52" fmla="*/ 1026 w 4519"/>
                  <a:gd name="T53" fmla="*/ 4536 h 4864"/>
                  <a:gd name="T54" fmla="*/ 1046 w 4519"/>
                  <a:gd name="T55" fmla="*/ 4553 h 4864"/>
                  <a:gd name="T56" fmla="*/ 1066 w 4519"/>
                  <a:gd name="T57" fmla="*/ 4566 h 4864"/>
                  <a:gd name="T58" fmla="*/ 1086 w 4519"/>
                  <a:gd name="T59" fmla="*/ 4581 h 4864"/>
                  <a:gd name="T60" fmla="*/ 1101 w 4519"/>
                  <a:gd name="T61" fmla="*/ 4591 h 4864"/>
                  <a:gd name="T62" fmla="*/ 1119 w 4519"/>
                  <a:gd name="T63" fmla="*/ 4609 h 4864"/>
                  <a:gd name="T64" fmla="*/ 2212 w 4519"/>
                  <a:gd name="T65" fmla="*/ 4851 h 4864"/>
                  <a:gd name="T66" fmla="*/ 2495 w 4519"/>
                  <a:gd name="T67" fmla="*/ 4761 h 4864"/>
                  <a:gd name="T68" fmla="*/ 2959 w 4519"/>
                  <a:gd name="T69" fmla="*/ 4559 h 4864"/>
                  <a:gd name="T70" fmla="*/ 3277 w 4519"/>
                  <a:gd name="T71" fmla="*/ 4340 h 4864"/>
                  <a:gd name="T72" fmla="*/ 3598 w 4519"/>
                  <a:gd name="T73" fmla="*/ 4133 h 4864"/>
                  <a:gd name="T74" fmla="*/ 3621 w 4519"/>
                  <a:gd name="T75" fmla="*/ 4112 h 4864"/>
                  <a:gd name="T76" fmla="*/ 3679 w 4519"/>
                  <a:gd name="T77" fmla="*/ 4085 h 4864"/>
                  <a:gd name="T78" fmla="*/ 3717 w 4519"/>
                  <a:gd name="T79" fmla="*/ 4065 h 4864"/>
                  <a:gd name="T80" fmla="*/ 3742 w 4519"/>
                  <a:gd name="T81" fmla="*/ 4052 h 4864"/>
                  <a:gd name="T82" fmla="*/ 3763 w 4519"/>
                  <a:gd name="T83" fmla="*/ 4042 h 4864"/>
                  <a:gd name="T84" fmla="*/ 3797 w 4519"/>
                  <a:gd name="T85" fmla="*/ 4032 h 4864"/>
                  <a:gd name="T86" fmla="*/ 3812 w 4519"/>
                  <a:gd name="T87" fmla="*/ 4016 h 4864"/>
                  <a:gd name="T88" fmla="*/ 3827 w 4519"/>
                  <a:gd name="T89" fmla="*/ 4004 h 4864"/>
                  <a:gd name="T90" fmla="*/ 3842 w 4519"/>
                  <a:gd name="T91" fmla="*/ 3994 h 4864"/>
                  <a:gd name="T92" fmla="*/ 3858 w 4519"/>
                  <a:gd name="T93" fmla="*/ 3984 h 4864"/>
                  <a:gd name="T94" fmla="*/ 4091 w 4519"/>
                  <a:gd name="T95" fmla="*/ 3704 h 4864"/>
                  <a:gd name="T96" fmla="*/ 4409 w 4519"/>
                  <a:gd name="T97" fmla="*/ 3365 h 4864"/>
                  <a:gd name="T98" fmla="*/ 4320 w 4519"/>
                  <a:gd name="T99" fmla="*/ 1580 h 4864"/>
                  <a:gd name="T100" fmla="*/ 4011 w 4519"/>
                  <a:gd name="T101" fmla="*/ 1101 h 4864"/>
                  <a:gd name="T102" fmla="*/ 2881 w 4519"/>
                  <a:gd name="T103" fmla="*/ 57 h 4864"/>
                  <a:gd name="T104" fmla="*/ 2125 w 4519"/>
                  <a:gd name="T105" fmla="*/ 1 h 4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519" h="4864">
                    <a:moveTo>
                      <a:pt x="2125" y="1"/>
                    </a:moveTo>
                    <a:cubicBezTo>
                      <a:pt x="2100" y="0"/>
                      <a:pt x="2062" y="9"/>
                      <a:pt x="2012" y="26"/>
                    </a:cubicBezTo>
                    <a:cubicBezTo>
                      <a:pt x="1943" y="49"/>
                      <a:pt x="1843" y="74"/>
                      <a:pt x="1788" y="81"/>
                    </a:cubicBezTo>
                    <a:cubicBezTo>
                      <a:pt x="1662" y="98"/>
                      <a:pt x="1556" y="129"/>
                      <a:pt x="1517" y="160"/>
                    </a:cubicBezTo>
                    <a:cubicBezTo>
                      <a:pt x="1500" y="173"/>
                      <a:pt x="1454" y="186"/>
                      <a:pt x="1414" y="190"/>
                    </a:cubicBezTo>
                    <a:cubicBezTo>
                      <a:pt x="1374" y="193"/>
                      <a:pt x="1346" y="205"/>
                      <a:pt x="1353" y="216"/>
                    </a:cubicBezTo>
                    <a:cubicBezTo>
                      <a:pt x="1369" y="243"/>
                      <a:pt x="1260" y="277"/>
                      <a:pt x="1226" y="256"/>
                    </a:cubicBezTo>
                    <a:cubicBezTo>
                      <a:pt x="1211" y="247"/>
                      <a:pt x="1189" y="257"/>
                      <a:pt x="1176" y="279"/>
                    </a:cubicBezTo>
                    <a:cubicBezTo>
                      <a:pt x="1164" y="301"/>
                      <a:pt x="1128" y="323"/>
                      <a:pt x="1097" y="329"/>
                    </a:cubicBezTo>
                    <a:cubicBezTo>
                      <a:pt x="1064" y="335"/>
                      <a:pt x="1036" y="365"/>
                      <a:pt x="1031" y="402"/>
                    </a:cubicBezTo>
                    <a:cubicBezTo>
                      <a:pt x="1025" y="442"/>
                      <a:pt x="1003" y="466"/>
                      <a:pt x="970" y="466"/>
                    </a:cubicBezTo>
                    <a:cubicBezTo>
                      <a:pt x="913" y="466"/>
                      <a:pt x="642" y="751"/>
                      <a:pt x="601" y="854"/>
                    </a:cubicBezTo>
                    <a:cubicBezTo>
                      <a:pt x="588" y="889"/>
                      <a:pt x="564" y="917"/>
                      <a:pt x="549" y="917"/>
                    </a:cubicBezTo>
                    <a:cubicBezTo>
                      <a:pt x="534" y="917"/>
                      <a:pt x="514" y="943"/>
                      <a:pt x="504" y="974"/>
                    </a:cubicBezTo>
                    <a:cubicBezTo>
                      <a:pt x="494" y="1006"/>
                      <a:pt x="475" y="1024"/>
                      <a:pt x="460" y="1015"/>
                    </a:cubicBezTo>
                    <a:cubicBezTo>
                      <a:pt x="446" y="1006"/>
                      <a:pt x="442" y="1019"/>
                      <a:pt x="451" y="1043"/>
                    </a:cubicBezTo>
                    <a:cubicBezTo>
                      <a:pt x="461" y="1069"/>
                      <a:pt x="419" y="1170"/>
                      <a:pt x="354" y="1281"/>
                    </a:cubicBezTo>
                    <a:cubicBezTo>
                      <a:pt x="262" y="1435"/>
                      <a:pt x="81" y="1892"/>
                      <a:pt x="56" y="2032"/>
                    </a:cubicBezTo>
                    <a:cubicBezTo>
                      <a:pt x="54" y="2047"/>
                      <a:pt x="43" y="2073"/>
                      <a:pt x="33" y="2088"/>
                    </a:cubicBezTo>
                    <a:cubicBezTo>
                      <a:pt x="7" y="2132"/>
                      <a:pt x="0" y="2250"/>
                      <a:pt x="19" y="2328"/>
                    </a:cubicBezTo>
                    <a:cubicBezTo>
                      <a:pt x="37" y="2397"/>
                      <a:pt x="53" y="2617"/>
                      <a:pt x="78" y="3124"/>
                    </a:cubicBezTo>
                    <a:cubicBezTo>
                      <a:pt x="92" y="3384"/>
                      <a:pt x="137" y="3584"/>
                      <a:pt x="198" y="3657"/>
                    </a:cubicBezTo>
                    <a:cubicBezTo>
                      <a:pt x="219" y="3682"/>
                      <a:pt x="236" y="3710"/>
                      <a:pt x="236" y="3721"/>
                    </a:cubicBezTo>
                    <a:cubicBezTo>
                      <a:pt x="236" y="3765"/>
                      <a:pt x="454" y="4068"/>
                      <a:pt x="541" y="4145"/>
                    </a:cubicBezTo>
                    <a:cubicBezTo>
                      <a:pt x="575" y="4176"/>
                      <a:pt x="599" y="4208"/>
                      <a:pt x="613" y="4236"/>
                    </a:cubicBezTo>
                    <a:cubicBezTo>
                      <a:pt x="614" y="4237"/>
                      <a:pt x="615" y="4239"/>
                      <a:pt x="615" y="4240"/>
                    </a:cubicBezTo>
                    <a:cubicBezTo>
                      <a:pt x="616" y="4242"/>
                      <a:pt x="617" y="4243"/>
                      <a:pt x="617" y="4244"/>
                    </a:cubicBezTo>
                    <a:cubicBezTo>
                      <a:pt x="620" y="4248"/>
                      <a:pt x="625" y="4250"/>
                      <a:pt x="628" y="4254"/>
                    </a:cubicBezTo>
                    <a:cubicBezTo>
                      <a:pt x="630" y="4256"/>
                      <a:pt x="630" y="4259"/>
                      <a:pt x="632" y="4262"/>
                    </a:cubicBezTo>
                    <a:cubicBezTo>
                      <a:pt x="635" y="4265"/>
                      <a:pt x="640" y="4267"/>
                      <a:pt x="643" y="4271"/>
                    </a:cubicBezTo>
                    <a:cubicBezTo>
                      <a:pt x="644" y="4273"/>
                      <a:pt x="644" y="4277"/>
                      <a:pt x="645" y="4279"/>
                    </a:cubicBezTo>
                    <a:cubicBezTo>
                      <a:pt x="647" y="4282"/>
                      <a:pt x="650" y="4281"/>
                      <a:pt x="653" y="4284"/>
                    </a:cubicBezTo>
                    <a:cubicBezTo>
                      <a:pt x="655" y="4286"/>
                      <a:pt x="655" y="4290"/>
                      <a:pt x="658" y="4291"/>
                    </a:cubicBezTo>
                    <a:cubicBezTo>
                      <a:pt x="659" y="4292"/>
                      <a:pt x="662" y="4291"/>
                      <a:pt x="663" y="4291"/>
                    </a:cubicBezTo>
                    <a:cubicBezTo>
                      <a:pt x="664" y="4292"/>
                      <a:pt x="667" y="4300"/>
                      <a:pt x="668" y="4301"/>
                    </a:cubicBezTo>
                    <a:cubicBezTo>
                      <a:pt x="669" y="4303"/>
                      <a:pt x="671" y="4305"/>
                      <a:pt x="673" y="4306"/>
                    </a:cubicBezTo>
                    <a:cubicBezTo>
                      <a:pt x="674" y="4307"/>
                      <a:pt x="674" y="4309"/>
                      <a:pt x="675" y="4309"/>
                    </a:cubicBezTo>
                    <a:cubicBezTo>
                      <a:pt x="677" y="4310"/>
                      <a:pt x="680" y="4308"/>
                      <a:pt x="681" y="4309"/>
                    </a:cubicBezTo>
                    <a:cubicBezTo>
                      <a:pt x="684" y="4312"/>
                      <a:pt x="682" y="4315"/>
                      <a:pt x="685" y="4319"/>
                    </a:cubicBezTo>
                    <a:cubicBezTo>
                      <a:pt x="686" y="4319"/>
                      <a:pt x="687" y="4318"/>
                      <a:pt x="688" y="4319"/>
                    </a:cubicBezTo>
                    <a:cubicBezTo>
                      <a:pt x="690" y="4320"/>
                      <a:pt x="691" y="4323"/>
                      <a:pt x="693" y="4324"/>
                    </a:cubicBezTo>
                    <a:cubicBezTo>
                      <a:pt x="695" y="4325"/>
                      <a:pt x="697" y="4326"/>
                      <a:pt x="698" y="4327"/>
                    </a:cubicBezTo>
                    <a:cubicBezTo>
                      <a:pt x="699" y="4327"/>
                      <a:pt x="700" y="4329"/>
                      <a:pt x="701" y="4329"/>
                    </a:cubicBezTo>
                    <a:cubicBezTo>
                      <a:pt x="702" y="4330"/>
                      <a:pt x="702" y="4331"/>
                      <a:pt x="703" y="4332"/>
                    </a:cubicBezTo>
                    <a:cubicBezTo>
                      <a:pt x="703" y="4333"/>
                      <a:pt x="702" y="4333"/>
                      <a:pt x="703" y="4334"/>
                    </a:cubicBezTo>
                    <a:cubicBezTo>
                      <a:pt x="703" y="4334"/>
                      <a:pt x="705" y="4333"/>
                      <a:pt x="705" y="4334"/>
                    </a:cubicBezTo>
                    <a:cubicBezTo>
                      <a:pt x="706" y="4334"/>
                      <a:pt x="705" y="4336"/>
                      <a:pt x="705" y="4336"/>
                    </a:cubicBezTo>
                    <a:cubicBezTo>
                      <a:pt x="706" y="4337"/>
                      <a:pt x="707" y="4336"/>
                      <a:pt x="708" y="4336"/>
                    </a:cubicBezTo>
                    <a:cubicBezTo>
                      <a:pt x="711" y="4338"/>
                      <a:pt x="713" y="4343"/>
                      <a:pt x="716" y="4344"/>
                    </a:cubicBezTo>
                    <a:cubicBezTo>
                      <a:pt x="717" y="4345"/>
                      <a:pt x="718" y="4344"/>
                      <a:pt x="719" y="4344"/>
                    </a:cubicBezTo>
                    <a:cubicBezTo>
                      <a:pt x="720" y="4346"/>
                      <a:pt x="721" y="4348"/>
                      <a:pt x="723" y="4350"/>
                    </a:cubicBezTo>
                    <a:cubicBezTo>
                      <a:pt x="724" y="4350"/>
                      <a:pt x="725" y="4349"/>
                      <a:pt x="726" y="4350"/>
                    </a:cubicBezTo>
                    <a:cubicBezTo>
                      <a:pt x="731" y="4355"/>
                      <a:pt x="718" y="4349"/>
                      <a:pt x="728" y="4354"/>
                    </a:cubicBezTo>
                    <a:cubicBezTo>
                      <a:pt x="729" y="4354"/>
                      <a:pt x="730" y="4354"/>
                      <a:pt x="731" y="4354"/>
                    </a:cubicBezTo>
                    <a:cubicBezTo>
                      <a:pt x="732" y="4355"/>
                      <a:pt x="730" y="4356"/>
                      <a:pt x="731" y="4357"/>
                    </a:cubicBezTo>
                    <a:cubicBezTo>
                      <a:pt x="745" y="4357"/>
                      <a:pt x="732" y="4355"/>
                      <a:pt x="736" y="4359"/>
                    </a:cubicBezTo>
                    <a:cubicBezTo>
                      <a:pt x="737" y="4360"/>
                      <a:pt x="737" y="4359"/>
                      <a:pt x="738" y="4359"/>
                    </a:cubicBezTo>
                    <a:lnTo>
                      <a:pt x="741" y="4365"/>
                    </a:lnTo>
                    <a:cubicBezTo>
                      <a:pt x="742" y="4365"/>
                      <a:pt x="743" y="4364"/>
                      <a:pt x="743" y="4365"/>
                    </a:cubicBezTo>
                    <a:cubicBezTo>
                      <a:pt x="744" y="4365"/>
                      <a:pt x="743" y="4367"/>
                      <a:pt x="743" y="4367"/>
                    </a:cubicBezTo>
                    <a:cubicBezTo>
                      <a:pt x="745" y="4368"/>
                      <a:pt x="747" y="4367"/>
                      <a:pt x="749" y="4367"/>
                    </a:cubicBezTo>
                    <a:cubicBezTo>
                      <a:pt x="749" y="4368"/>
                      <a:pt x="748" y="4369"/>
                      <a:pt x="749" y="4369"/>
                    </a:cubicBezTo>
                    <a:cubicBezTo>
                      <a:pt x="751" y="4370"/>
                      <a:pt x="753" y="4371"/>
                      <a:pt x="756" y="4372"/>
                    </a:cubicBezTo>
                    <a:cubicBezTo>
                      <a:pt x="756" y="4373"/>
                      <a:pt x="755" y="4374"/>
                      <a:pt x="756" y="4374"/>
                    </a:cubicBezTo>
                    <a:cubicBezTo>
                      <a:pt x="756" y="4375"/>
                      <a:pt x="758" y="4374"/>
                      <a:pt x="758" y="4374"/>
                    </a:cubicBezTo>
                    <a:cubicBezTo>
                      <a:pt x="760" y="4375"/>
                      <a:pt x="762" y="4376"/>
                      <a:pt x="764" y="4377"/>
                    </a:cubicBezTo>
                    <a:cubicBezTo>
                      <a:pt x="766" y="4378"/>
                      <a:pt x="769" y="4378"/>
                      <a:pt x="772" y="4380"/>
                    </a:cubicBezTo>
                    <a:cubicBezTo>
                      <a:pt x="773" y="4380"/>
                      <a:pt x="772" y="4382"/>
                      <a:pt x="773" y="4382"/>
                    </a:cubicBezTo>
                    <a:cubicBezTo>
                      <a:pt x="774" y="4383"/>
                      <a:pt x="775" y="4382"/>
                      <a:pt x="776" y="4382"/>
                    </a:cubicBezTo>
                    <a:cubicBezTo>
                      <a:pt x="777" y="4383"/>
                      <a:pt x="778" y="4384"/>
                      <a:pt x="779" y="4385"/>
                    </a:cubicBezTo>
                    <a:cubicBezTo>
                      <a:pt x="779" y="4385"/>
                      <a:pt x="780" y="4385"/>
                      <a:pt x="781" y="4385"/>
                    </a:cubicBezTo>
                    <a:cubicBezTo>
                      <a:pt x="783" y="4386"/>
                      <a:pt x="785" y="4386"/>
                      <a:pt x="787" y="4387"/>
                    </a:cubicBezTo>
                    <a:cubicBezTo>
                      <a:pt x="788" y="4387"/>
                      <a:pt x="788" y="4389"/>
                      <a:pt x="789" y="4389"/>
                    </a:cubicBezTo>
                    <a:cubicBezTo>
                      <a:pt x="790" y="4390"/>
                      <a:pt x="790" y="4389"/>
                      <a:pt x="791" y="4389"/>
                    </a:cubicBezTo>
                    <a:cubicBezTo>
                      <a:pt x="792" y="4390"/>
                      <a:pt x="790" y="4391"/>
                      <a:pt x="791" y="4392"/>
                    </a:cubicBezTo>
                    <a:cubicBezTo>
                      <a:pt x="792" y="4393"/>
                      <a:pt x="793" y="4392"/>
                      <a:pt x="794" y="4392"/>
                    </a:cubicBezTo>
                    <a:cubicBezTo>
                      <a:pt x="796" y="4393"/>
                      <a:pt x="797" y="4397"/>
                      <a:pt x="799" y="4397"/>
                    </a:cubicBezTo>
                    <a:cubicBezTo>
                      <a:pt x="810" y="4401"/>
                      <a:pt x="798" y="4393"/>
                      <a:pt x="809" y="4400"/>
                    </a:cubicBezTo>
                    <a:cubicBezTo>
                      <a:pt x="810" y="4401"/>
                      <a:pt x="810" y="4402"/>
                      <a:pt x="811" y="4403"/>
                    </a:cubicBezTo>
                    <a:cubicBezTo>
                      <a:pt x="813" y="4403"/>
                      <a:pt x="815" y="4403"/>
                      <a:pt x="817" y="4404"/>
                    </a:cubicBezTo>
                    <a:cubicBezTo>
                      <a:pt x="819" y="4406"/>
                      <a:pt x="820" y="4409"/>
                      <a:pt x="822" y="4410"/>
                    </a:cubicBezTo>
                    <a:cubicBezTo>
                      <a:pt x="823" y="4410"/>
                      <a:pt x="825" y="4409"/>
                      <a:pt x="826" y="4410"/>
                    </a:cubicBezTo>
                    <a:cubicBezTo>
                      <a:pt x="828" y="4411"/>
                      <a:pt x="827" y="4414"/>
                      <a:pt x="829" y="4415"/>
                    </a:cubicBezTo>
                    <a:cubicBezTo>
                      <a:pt x="831" y="4417"/>
                      <a:pt x="834" y="4416"/>
                      <a:pt x="837" y="4418"/>
                    </a:cubicBezTo>
                    <a:cubicBezTo>
                      <a:pt x="839" y="4419"/>
                      <a:pt x="840" y="4421"/>
                      <a:pt x="842" y="4422"/>
                    </a:cubicBezTo>
                    <a:cubicBezTo>
                      <a:pt x="843" y="4422"/>
                      <a:pt x="843" y="4422"/>
                      <a:pt x="844" y="4422"/>
                    </a:cubicBezTo>
                    <a:cubicBezTo>
                      <a:pt x="845" y="4423"/>
                      <a:pt x="845" y="4424"/>
                      <a:pt x="847" y="4425"/>
                    </a:cubicBezTo>
                    <a:cubicBezTo>
                      <a:pt x="847" y="4425"/>
                      <a:pt x="848" y="4425"/>
                      <a:pt x="849" y="4425"/>
                    </a:cubicBezTo>
                    <a:cubicBezTo>
                      <a:pt x="850" y="4425"/>
                      <a:pt x="851" y="4427"/>
                      <a:pt x="852" y="4427"/>
                    </a:cubicBezTo>
                    <a:cubicBezTo>
                      <a:pt x="853" y="4428"/>
                      <a:pt x="854" y="4427"/>
                      <a:pt x="854" y="4427"/>
                    </a:cubicBezTo>
                    <a:cubicBezTo>
                      <a:pt x="862" y="4431"/>
                      <a:pt x="851" y="4429"/>
                      <a:pt x="860" y="4435"/>
                    </a:cubicBezTo>
                    <a:cubicBezTo>
                      <a:pt x="861" y="4436"/>
                      <a:pt x="863" y="4434"/>
                      <a:pt x="864" y="4435"/>
                    </a:cubicBezTo>
                    <a:cubicBezTo>
                      <a:pt x="867" y="4437"/>
                      <a:pt x="866" y="4441"/>
                      <a:pt x="869" y="4442"/>
                    </a:cubicBezTo>
                    <a:cubicBezTo>
                      <a:pt x="871" y="4443"/>
                      <a:pt x="873" y="4441"/>
                      <a:pt x="875" y="4442"/>
                    </a:cubicBezTo>
                    <a:cubicBezTo>
                      <a:pt x="885" y="4449"/>
                      <a:pt x="868" y="4447"/>
                      <a:pt x="882" y="4450"/>
                    </a:cubicBezTo>
                    <a:cubicBezTo>
                      <a:pt x="883" y="4451"/>
                      <a:pt x="886" y="4449"/>
                      <a:pt x="887" y="4450"/>
                    </a:cubicBezTo>
                    <a:cubicBezTo>
                      <a:pt x="888" y="4451"/>
                      <a:pt x="887" y="4452"/>
                      <a:pt x="887" y="4453"/>
                    </a:cubicBezTo>
                    <a:cubicBezTo>
                      <a:pt x="888" y="4453"/>
                      <a:pt x="889" y="4452"/>
                      <a:pt x="890" y="4453"/>
                    </a:cubicBezTo>
                    <a:cubicBezTo>
                      <a:pt x="890" y="4453"/>
                      <a:pt x="889" y="4455"/>
                      <a:pt x="890" y="4455"/>
                    </a:cubicBezTo>
                    <a:cubicBezTo>
                      <a:pt x="892" y="4458"/>
                      <a:pt x="892" y="4456"/>
                      <a:pt x="892" y="4455"/>
                    </a:cubicBezTo>
                    <a:cubicBezTo>
                      <a:pt x="893" y="4455"/>
                      <a:pt x="894" y="4455"/>
                      <a:pt x="895" y="4457"/>
                    </a:cubicBezTo>
                    <a:cubicBezTo>
                      <a:pt x="895" y="4458"/>
                      <a:pt x="894" y="4459"/>
                      <a:pt x="895" y="4460"/>
                    </a:cubicBezTo>
                    <a:cubicBezTo>
                      <a:pt x="896" y="4460"/>
                      <a:pt x="896" y="4460"/>
                      <a:pt x="897" y="4460"/>
                    </a:cubicBezTo>
                    <a:cubicBezTo>
                      <a:pt x="899" y="4461"/>
                      <a:pt x="903" y="4467"/>
                      <a:pt x="905" y="4468"/>
                    </a:cubicBezTo>
                    <a:cubicBezTo>
                      <a:pt x="907" y="4468"/>
                      <a:pt x="910" y="4467"/>
                      <a:pt x="913" y="4468"/>
                    </a:cubicBezTo>
                    <a:cubicBezTo>
                      <a:pt x="914" y="4469"/>
                      <a:pt x="913" y="4472"/>
                      <a:pt x="914" y="4473"/>
                    </a:cubicBezTo>
                    <a:cubicBezTo>
                      <a:pt x="916" y="4474"/>
                      <a:pt x="918" y="4473"/>
                      <a:pt x="920" y="4473"/>
                    </a:cubicBezTo>
                    <a:cubicBezTo>
                      <a:pt x="932" y="4476"/>
                      <a:pt x="920" y="4474"/>
                      <a:pt x="928" y="4478"/>
                    </a:cubicBezTo>
                    <a:cubicBezTo>
                      <a:pt x="928" y="4478"/>
                      <a:pt x="929" y="4478"/>
                      <a:pt x="930" y="4478"/>
                    </a:cubicBezTo>
                    <a:cubicBezTo>
                      <a:pt x="932" y="4479"/>
                      <a:pt x="933" y="4482"/>
                      <a:pt x="935" y="4483"/>
                    </a:cubicBezTo>
                    <a:cubicBezTo>
                      <a:pt x="935" y="4483"/>
                      <a:pt x="937" y="4482"/>
                      <a:pt x="937" y="4483"/>
                    </a:cubicBezTo>
                    <a:cubicBezTo>
                      <a:pt x="940" y="4485"/>
                      <a:pt x="938" y="4486"/>
                      <a:pt x="936" y="4485"/>
                    </a:cubicBezTo>
                    <a:cubicBezTo>
                      <a:pt x="937" y="4486"/>
                      <a:pt x="938" y="4487"/>
                      <a:pt x="940" y="4488"/>
                    </a:cubicBezTo>
                    <a:cubicBezTo>
                      <a:pt x="941" y="4488"/>
                      <a:pt x="942" y="4488"/>
                      <a:pt x="943" y="4488"/>
                    </a:cubicBezTo>
                    <a:cubicBezTo>
                      <a:pt x="961" y="4494"/>
                      <a:pt x="938" y="4487"/>
                      <a:pt x="950" y="4493"/>
                    </a:cubicBezTo>
                    <a:cubicBezTo>
                      <a:pt x="950" y="4493"/>
                      <a:pt x="952" y="4493"/>
                      <a:pt x="952" y="4493"/>
                    </a:cubicBezTo>
                    <a:cubicBezTo>
                      <a:pt x="954" y="4493"/>
                      <a:pt x="956" y="4494"/>
                      <a:pt x="958" y="4495"/>
                    </a:cubicBezTo>
                    <a:cubicBezTo>
                      <a:pt x="959" y="4496"/>
                      <a:pt x="959" y="4497"/>
                      <a:pt x="960" y="4498"/>
                    </a:cubicBezTo>
                    <a:cubicBezTo>
                      <a:pt x="962" y="4499"/>
                      <a:pt x="964" y="4497"/>
                      <a:pt x="966" y="4498"/>
                    </a:cubicBezTo>
                    <a:cubicBezTo>
                      <a:pt x="968" y="4499"/>
                      <a:pt x="968" y="4502"/>
                      <a:pt x="970" y="4503"/>
                    </a:cubicBezTo>
                    <a:cubicBezTo>
                      <a:pt x="971" y="4503"/>
                      <a:pt x="972" y="4503"/>
                      <a:pt x="973" y="4503"/>
                    </a:cubicBezTo>
                    <a:cubicBezTo>
                      <a:pt x="974" y="4504"/>
                      <a:pt x="974" y="4505"/>
                      <a:pt x="975" y="4506"/>
                    </a:cubicBezTo>
                    <a:cubicBezTo>
                      <a:pt x="981" y="4509"/>
                      <a:pt x="973" y="4499"/>
                      <a:pt x="983" y="4508"/>
                    </a:cubicBezTo>
                    <a:cubicBezTo>
                      <a:pt x="984" y="4509"/>
                      <a:pt x="982" y="4510"/>
                      <a:pt x="983" y="4510"/>
                    </a:cubicBezTo>
                    <a:cubicBezTo>
                      <a:pt x="991" y="4514"/>
                      <a:pt x="985" y="4505"/>
                      <a:pt x="993" y="4513"/>
                    </a:cubicBezTo>
                    <a:cubicBezTo>
                      <a:pt x="994" y="4513"/>
                      <a:pt x="992" y="4515"/>
                      <a:pt x="993" y="4515"/>
                    </a:cubicBezTo>
                    <a:cubicBezTo>
                      <a:pt x="994" y="4516"/>
                      <a:pt x="995" y="4515"/>
                      <a:pt x="996" y="4515"/>
                    </a:cubicBezTo>
                    <a:cubicBezTo>
                      <a:pt x="996" y="4516"/>
                      <a:pt x="995" y="4518"/>
                      <a:pt x="996" y="4518"/>
                    </a:cubicBezTo>
                    <a:cubicBezTo>
                      <a:pt x="996" y="4519"/>
                      <a:pt x="998" y="4518"/>
                      <a:pt x="998" y="4518"/>
                    </a:cubicBezTo>
                    <a:cubicBezTo>
                      <a:pt x="1002" y="4521"/>
                      <a:pt x="993" y="4521"/>
                      <a:pt x="1001" y="4523"/>
                    </a:cubicBezTo>
                    <a:cubicBezTo>
                      <a:pt x="1002" y="4524"/>
                      <a:pt x="1004" y="4523"/>
                      <a:pt x="1005" y="4523"/>
                    </a:cubicBezTo>
                    <a:cubicBezTo>
                      <a:pt x="1006" y="4524"/>
                      <a:pt x="1007" y="4525"/>
                      <a:pt x="1008" y="4526"/>
                    </a:cubicBezTo>
                    <a:cubicBezTo>
                      <a:pt x="1011" y="4528"/>
                      <a:pt x="1015" y="4528"/>
                      <a:pt x="1018" y="4530"/>
                    </a:cubicBezTo>
                    <a:cubicBezTo>
                      <a:pt x="1020" y="4532"/>
                      <a:pt x="1021" y="4534"/>
                      <a:pt x="1023" y="4536"/>
                    </a:cubicBezTo>
                    <a:cubicBezTo>
                      <a:pt x="1024" y="4536"/>
                      <a:pt x="1025" y="4535"/>
                      <a:pt x="1026" y="4536"/>
                    </a:cubicBezTo>
                    <a:cubicBezTo>
                      <a:pt x="1028" y="4537"/>
                      <a:pt x="1029" y="4540"/>
                      <a:pt x="1031" y="4541"/>
                    </a:cubicBezTo>
                    <a:cubicBezTo>
                      <a:pt x="1032" y="4542"/>
                      <a:pt x="1035" y="4543"/>
                      <a:pt x="1036" y="4544"/>
                    </a:cubicBezTo>
                    <a:cubicBezTo>
                      <a:pt x="1037" y="4544"/>
                      <a:pt x="1037" y="4545"/>
                      <a:pt x="1038" y="4545"/>
                    </a:cubicBezTo>
                    <a:cubicBezTo>
                      <a:pt x="1039" y="4546"/>
                      <a:pt x="1040" y="4545"/>
                      <a:pt x="1041" y="4545"/>
                    </a:cubicBezTo>
                    <a:cubicBezTo>
                      <a:pt x="1042" y="4547"/>
                      <a:pt x="1043" y="4552"/>
                      <a:pt x="1046" y="4553"/>
                    </a:cubicBezTo>
                    <a:cubicBezTo>
                      <a:pt x="1057" y="4553"/>
                      <a:pt x="1046" y="4552"/>
                      <a:pt x="1054" y="4556"/>
                    </a:cubicBezTo>
                    <a:cubicBezTo>
                      <a:pt x="1055" y="4556"/>
                      <a:pt x="1055" y="4555"/>
                      <a:pt x="1056" y="4556"/>
                    </a:cubicBezTo>
                    <a:cubicBezTo>
                      <a:pt x="1057" y="4557"/>
                      <a:pt x="1057" y="4560"/>
                      <a:pt x="1058" y="4561"/>
                    </a:cubicBezTo>
                    <a:cubicBezTo>
                      <a:pt x="1059" y="4562"/>
                      <a:pt x="1060" y="4561"/>
                      <a:pt x="1061" y="4561"/>
                    </a:cubicBezTo>
                    <a:cubicBezTo>
                      <a:pt x="1063" y="4562"/>
                      <a:pt x="1064" y="4565"/>
                      <a:pt x="1066" y="4566"/>
                    </a:cubicBezTo>
                    <a:cubicBezTo>
                      <a:pt x="1068" y="4566"/>
                      <a:pt x="1070" y="4565"/>
                      <a:pt x="1071" y="4566"/>
                    </a:cubicBezTo>
                    <a:cubicBezTo>
                      <a:pt x="1072" y="4566"/>
                      <a:pt x="1071" y="4568"/>
                      <a:pt x="1071" y="4568"/>
                    </a:cubicBezTo>
                    <a:cubicBezTo>
                      <a:pt x="1072" y="4569"/>
                      <a:pt x="1073" y="4568"/>
                      <a:pt x="1073" y="4568"/>
                    </a:cubicBezTo>
                    <a:cubicBezTo>
                      <a:pt x="1074" y="4570"/>
                      <a:pt x="1074" y="4573"/>
                      <a:pt x="1076" y="4574"/>
                    </a:cubicBezTo>
                    <a:cubicBezTo>
                      <a:pt x="1093" y="4579"/>
                      <a:pt x="1077" y="4571"/>
                      <a:pt x="1086" y="4581"/>
                    </a:cubicBezTo>
                    <a:cubicBezTo>
                      <a:pt x="1088" y="4582"/>
                      <a:pt x="1090" y="4580"/>
                      <a:pt x="1091" y="4581"/>
                    </a:cubicBezTo>
                    <a:cubicBezTo>
                      <a:pt x="1091" y="4581"/>
                      <a:pt x="1090" y="4583"/>
                      <a:pt x="1091" y="4583"/>
                    </a:cubicBezTo>
                    <a:cubicBezTo>
                      <a:pt x="1092" y="4585"/>
                      <a:pt x="1095" y="4585"/>
                      <a:pt x="1096" y="4586"/>
                    </a:cubicBezTo>
                    <a:cubicBezTo>
                      <a:pt x="1097" y="4587"/>
                      <a:pt x="1097" y="4590"/>
                      <a:pt x="1099" y="4591"/>
                    </a:cubicBezTo>
                    <a:cubicBezTo>
                      <a:pt x="1099" y="4592"/>
                      <a:pt x="1101" y="4591"/>
                      <a:pt x="1101" y="4591"/>
                    </a:cubicBezTo>
                    <a:cubicBezTo>
                      <a:pt x="1102" y="4592"/>
                      <a:pt x="1108" y="4598"/>
                      <a:pt x="1108" y="4598"/>
                    </a:cubicBezTo>
                    <a:cubicBezTo>
                      <a:pt x="1109" y="4599"/>
                      <a:pt x="1108" y="4600"/>
                      <a:pt x="1108" y="4601"/>
                    </a:cubicBezTo>
                    <a:cubicBezTo>
                      <a:pt x="1109" y="4602"/>
                      <a:pt x="1111" y="4600"/>
                      <a:pt x="1111" y="4601"/>
                    </a:cubicBezTo>
                    <a:cubicBezTo>
                      <a:pt x="1112" y="4602"/>
                      <a:pt x="1110" y="4605"/>
                      <a:pt x="1111" y="4606"/>
                    </a:cubicBezTo>
                    <a:cubicBezTo>
                      <a:pt x="1113" y="4608"/>
                      <a:pt x="1117" y="4607"/>
                      <a:pt x="1119" y="4609"/>
                    </a:cubicBezTo>
                    <a:cubicBezTo>
                      <a:pt x="1120" y="4610"/>
                      <a:pt x="1120" y="4611"/>
                      <a:pt x="1121" y="4612"/>
                    </a:cubicBezTo>
                    <a:cubicBezTo>
                      <a:pt x="1150" y="4620"/>
                      <a:pt x="1189" y="4627"/>
                      <a:pt x="1230" y="4632"/>
                    </a:cubicBezTo>
                    <a:cubicBezTo>
                      <a:pt x="1296" y="4640"/>
                      <a:pt x="1413" y="4678"/>
                      <a:pt x="1491" y="4717"/>
                    </a:cubicBezTo>
                    <a:cubicBezTo>
                      <a:pt x="1653" y="4799"/>
                      <a:pt x="1785" y="4825"/>
                      <a:pt x="2035" y="4826"/>
                    </a:cubicBezTo>
                    <a:cubicBezTo>
                      <a:pt x="2132" y="4826"/>
                      <a:pt x="2212" y="4837"/>
                      <a:pt x="2212" y="4851"/>
                    </a:cubicBezTo>
                    <a:cubicBezTo>
                      <a:pt x="2212" y="4864"/>
                      <a:pt x="2228" y="4862"/>
                      <a:pt x="2247" y="4846"/>
                    </a:cubicBezTo>
                    <a:cubicBezTo>
                      <a:pt x="2266" y="4830"/>
                      <a:pt x="2324" y="4820"/>
                      <a:pt x="2375" y="4823"/>
                    </a:cubicBezTo>
                    <a:cubicBezTo>
                      <a:pt x="2440" y="4828"/>
                      <a:pt x="2463" y="4819"/>
                      <a:pt x="2453" y="4793"/>
                    </a:cubicBezTo>
                    <a:cubicBezTo>
                      <a:pt x="2446" y="4773"/>
                      <a:pt x="2452" y="4750"/>
                      <a:pt x="2467" y="4740"/>
                    </a:cubicBezTo>
                    <a:cubicBezTo>
                      <a:pt x="2481" y="4731"/>
                      <a:pt x="2494" y="4740"/>
                      <a:pt x="2495" y="4761"/>
                    </a:cubicBezTo>
                    <a:cubicBezTo>
                      <a:pt x="2495" y="4783"/>
                      <a:pt x="2506" y="4779"/>
                      <a:pt x="2524" y="4748"/>
                    </a:cubicBezTo>
                    <a:cubicBezTo>
                      <a:pt x="2540" y="4721"/>
                      <a:pt x="2587" y="4698"/>
                      <a:pt x="2629" y="4698"/>
                    </a:cubicBezTo>
                    <a:cubicBezTo>
                      <a:pt x="2671" y="4698"/>
                      <a:pt x="2737" y="4673"/>
                      <a:pt x="2776" y="4642"/>
                    </a:cubicBezTo>
                    <a:cubicBezTo>
                      <a:pt x="2815" y="4612"/>
                      <a:pt x="2868" y="4587"/>
                      <a:pt x="2894" y="4587"/>
                    </a:cubicBezTo>
                    <a:cubicBezTo>
                      <a:pt x="2921" y="4587"/>
                      <a:pt x="2949" y="4574"/>
                      <a:pt x="2959" y="4559"/>
                    </a:cubicBezTo>
                    <a:cubicBezTo>
                      <a:pt x="2968" y="4544"/>
                      <a:pt x="3020" y="4510"/>
                      <a:pt x="3073" y="4485"/>
                    </a:cubicBezTo>
                    <a:cubicBezTo>
                      <a:pt x="3127" y="4459"/>
                      <a:pt x="3171" y="4418"/>
                      <a:pt x="3171" y="4394"/>
                    </a:cubicBezTo>
                    <a:cubicBezTo>
                      <a:pt x="3171" y="4358"/>
                      <a:pt x="3180" y="4360"/>
                      <a:pt x="3215" y="4404"/>
                    </a:cubicBezTo>
                    <a:cubicBezTo>
                      <a:pt x="3256" y="4457"/>
                      <a:pt x="3257" y="4457"/>
                      <a:pt x="3250" y="4405"/>
                    </a:cubicBezTo>
                    <a:cubicBezTo>
                      <a:pt x="3245" y="4376"/>
                      <a:pt x="3258" y="4347"/>
                      <a:pt x="3277" y="4340"/>
                    </a:cubicBezTo>
                    <a:cubicBezTo>
                      <a:pt x="3297" y="4333"/>
                      <a:pt x="3312" y="4340"/>
                      <a:pt x="3312" y="4355"/>
                    </a:cubicBezTo>
                    <a:cubicBezTo>
                      <a:pt x="3312" y="4370"/>
                      <a:pt x="3373" y="4327"/>
                      <a:pt x="3446" y="4259"/>
                    </a:cubicBezTo>
                    <a:cubicBezTo>
                      <a:pt x="3516" y="4195"/>
                      <a:pt x="3560" y="4158"/>
                      <a:pt x="3587" y="4144"/>
                    </a:cubicBezTo>
                    <a:cubicBezTo>
                      <a:pt x="3587" y="4144"/>
                      <a:pt x="3588" y="4143"/>
                      <a:pt x="3588" y="4142"/>
                    </a:cubicBezTo>
                    <a:cubicBezTo>
                      <a:pt x="3592" y="4139"/>
                      <a:pt x="3595" y="4136"/>
                      <a:pt x="3598" y="4133"/>
                    </a:cubicBezTo>
                    <a:cubicBezTo>
                      <a:pt x="3600" y="4131"/>
                      <a:pt x="3604" y="4129"/>
                      <a:pt x="3606" y="4127"/>
                    </a:cubicBezTo>
                    <a:cubicBezTo>
                      <a:pt x="3610" y="4124"/>
                      <a:pt x="3609" y="4125"/>
                      <a:pt x="3608" y="4125"/>
                    </a:cubicBezTo>
                    <a:cubicBezTo>
                      <a:pt x="3608" y="4124"/>
                      <a:pt x="3609" y="4123"/>
                      <a:pt x="3611" y="4120"/>
                    </a:cubicBezTo>
                    <a:cubicBezTo>
                      <a:pt x="3613" y="4119"/>
                      <a:pt x="3614" y="4119"/>
                      <a:pt x="3616" y="4118"/>
                    </a:cubicBezTo>
                    <a:cubicBezTo>
                      <a:pt x="3618" y="4116"/>
                      <a:pt x="3619" y="4114"/>
                      <a:pt x="3621" y="4112"/>
                    </a:cubicBezTo>
                    <a:cubicBezTo>
                      <a:pt x="3630" y="4107"/>
                      <a:pt x="3627" y="4112"/>
                      <a:pt x="3633" y="4107"/>
                    </a:cubicBezTo>
                    <a:cubicBezTo>
                      <a:pt x="3635" y="4106"/>
                      <a:pt x="3637" y="4104"/>
                      <a:pt x="3639" y="4103"/>
                    </a:cubicBezTo>
                    <a:cubicBezTo>
                      <a:pt x="3641" y="4101"/>
                      <a:pt x="3644" y="4101"/>
                      <a:pt x="3647" y="4100"/>
                    </a:cubicBezTo>
                    <a:cubicBezTo>
                      <a:pt x="3651" y="4098"/>
                      <a:pt x="3659" y="4092"/>
                      <a:pt x="3664" y="4089"/>
                    </a:cubicBezTo>
                    <a:cubicBezTo>
                      <a:pt x="3669" y="4088"/>
                      <a:pt x="3674" y="4087"/>
                      <a:pt x="3679" y="4085"/>
                    </a:cubicBezTo>
                    <a:cubicBezTo>
                      <a:pt x="3681" y="4084"/>
                      <a:pt x="3682" y="4083"/>
                      <a:pt x="3684" y="4082"/>
                    </a:cubicBezTo>
                    <a:cubicBezTo>
                      <a:pt x="3686" y="4081"/>
                      <a:pt x="3689" y="4081"/>
                      <a:pt x="3692" y="4080"/>
                    </a:cubicBezTo>
                    <a:cubicBezTo>
                      <a:pt x="3694" y="4079"/>
                      <a:pt x="3695" y="4076"/>
                      <a:pt x="3697" y="4074"/>
                    </a:cubicBezTo>
                    <a:cubicBezTo>
                      <a:pt x="3698" y="4068"/>
                      <a:pt x="3702" y="4073"/>
                      <a:pt x="3704" y="4072"/>
                    </a:cubicBezTo>
                    <a:cubicBezTo>
                      <a:pt x="3713" y="4066"/>
                      <a:pt x="3705" y="4067"/>
                      <a:pt x="3717" y="4065"/>
                    </a:cubicBezTo>
                    <a:cubicBezTo>
                      <a:pt x="3721" y="4064"/>
                      <a:pt x="3721" y="4064"/>
                      <a:pt x="3722" y="4064"/>
                    </a:cubicBezTo>
                    <a:cubicBezTo>
                      <a:pt x="3723" y="4063"/>
                      <a:pt x="3725" y="4060"/>
                      <a:pt x="3730" y="4057"/>
                    </a:cubicBezTo>
                    <a:cubicBezTo>
                      <a:pt x="3731" y="4056"/>
                      <a:pt x="3733" y="4057"/>
                      <a:pt x="3735" y="4057"/>
                    </a:cubicBezTo>
                    <a:cubicBezTo>
                      <a:pt x="3739" y="4055"/>
                      <a:pt x="3740" y="4055"/>
                      <a:pt x="3741" y="4054"/>
                    </a:cubicBezTo>
                    <a:cubicBezTo>
                      <a:pt x="3739" y="4054"/>
                      <a:pt x="3736" y="4054"/>
                      <a:pt x="3742" y="4052"/>
                    </a:cubicBezTo>
                    <a:cubicBezTo>
                      <a:pt x="3743" y="4051"/>
                      <a:pt x="3744" y="4052"/>
                      <a:pt x="3745" y="4052"/>
                    </a:cubicBezTo>
                    <a:cubicBezTo>
                      <a:pt x="3746" y="4051"/>
                      <a:pt x="3746" y="4051"/>
                      <a:pt x="3747" y="4050"/>
                    </a:cubicBezTo>
                    <a:cubicBezTo>
                      <a:pt x="3750" y="4047"/>
                      <a:pt x="3750" y="4046"/>
                      <a:pt x="3754" y="4044"/>
                    </a:cubicBezTo>
                    <a:cubicBezTo>
                      <a:pt x="3755" y="4044"/>
                      <a:pt x="3756" y="4045"/>
                      <a:pt x="3757" y="4044"/>
                    </a:cubicBezTo>
                    <a:cubicBezTo>
                      <a:pt x="3761" y="4043"/>
                      <a:pt x="3763" y="4042"/>
                      <a:pt x="3763" y="4042"/>
                    </a:cubicBezTo>
                    <a:cubicBezTo>
                      <a:pt x="3762" y="4042"/>
                      <a:pt x="3762" y="4041"/>
                      <a:pt x="3770" y="4039"/>
                    </a:cubicBezTo>
                    <a:cubicBezTo>
                      <a:pt x="3771" y="4039"/>
                      <a:pt x="3771" y="4040"/>
                      <a:pt x="3772" y="4039"/>
                    </a:cubicBezTo>
                    <a:cubicBezTo>
                      <a:pt x="3773" y="4038"/>
                      <a:pt x="3773" y="4035"/>
                      <a:pt x="3775" y="4034"/>
                    </a:cubicBezTo>
                    <a:cubicBezTo>
                      <a:pt x="3776" y="4033"/>
                      <a:pt x="3778" y="4034"/>
                      <a:pt x="3780" y="4034"/>
                    </a:cubicBezTo>
                    <a:cubicBezTo>
                      <a:pt x="3784" y="4034"/>
                      <a:pt x="3794" y="4036"/>
                      <a:pt x="3797" y="4032"/>
                    </a:cubicBezTo>
                    <a:cubicBezTo>
                      <a:pt x="3799" y="4031"/>
                      <a:pt x="3800" y="4025"/>
                      <a:pt x="3803" y="4024"/>
                    </a:cubicBezTo>
                    <a:cubicBezTo>
                      <a:pt x="3804" y="4024"/>
                      <a:pt x="3806" y="4025"/>
                      <a:pt x="3807" y="4024"/>
                    </a:cubicBezTo>
                    <a:cubicBezTo>
                      <a:pt x="3808" y="4024"/>
                      <a:pt x="3807" y="4022"/>
                      <a:pt x="3807" y="4022"/>
                    </a:cubicBezTo>
                    <a:cubicBezTo>
                      <a:pt x="3808" y="4021"/>
                      <a:pt x="3809" y="4022"/>
                      <a:pt x="3810" y="4022"/>
                    </a:cubicBezTo>
                    <a:cubicBezTo>
                      <a:pt x="3813" y="4016"/>
                      <a:pt x="3813" y="4016"/>
                      <a:pt x="3812" y="4016"/>
                    </a:cubicBezTo>
                    <a:cubicBezTo>
                      <a:pt x="3813" y="4017"/>
                      <a:pt x="3814" y="4017"/>
                      <a:pt x="3815" y="4016"/>
                    </a:cubicBezTo>
                    <a:cubicBezTo>
                      <a:pt x="3816" y="4016"/>
                      <a:pt x="3817" y="4015"/>
                      <a:pt x="3818" y="4015"/>
                    </a:cubicBezTo>
                    <a:cubicBezTo>
                      <a:pt x="3819" y="4014"/>
                      <a:pt x="3820" y="4013"/>
                      <a:pt x="3820" y="4012"/>
                    </a:cubicBezTo>
                    <a:cubicBezTo>
                      <a:pt x="3821" y="4011"/>
                      <a:pt x="3820" y="4010"/>
                      <a:pt x="3820" y="4009"/>
                    </a:cubicBezTo>
                    <a:cubicBezTo>
                      <a:pt x="3822" y="4006"/>
                      <a:pt x="3825" y="4005"/>
                      <a:pt x="3827" y="4004"/>
                    </a:cubicBezTo>
                    <a:cubicBezTo>
                      <a:pt x="3828" y="4003"/>
                      <a:pt x="3829" y="4002"/>
                      <a:pt x="3830" y="4001"/>
                    </a:cubicBezTo>
                    <a:cubicBezTo>
                      <a:pt x="3831" y="4001"/>
                      <a:pt x="3832" y="4002"/>
                      <a:pt x="3833" y="4001"/>
                    </a:cubicBezTo>
                    <a:cubicBezTo>
                      <a:pt x="3835" y="4000"/>
                      <a:pt x="3836" y="3998"/>
                      <a:pt x="3838" y="3997"/>
                    </a:cubicBezTo>
                    <a:cubicBezTo>
                      <a:pt x="3840" y="3996"/>
                      <a:pt x="3841" y="3998"/>
                      <a:pt x="3842" y="3997"/>
                    </a:cubicBezTo>
                    <a:cubicBezTo>
                      <a:pt x="3843" y="3997"/>
                      <a:pt x="3842" y="3995"/>
                      <a:pt x="3842" y="3994"/>
                    </a:cubicBezTo>
                    <a:cubicBezTo>
                      <a:pt x="3843" y="3993"/>
                      <a:pt x="3844" y="3992"/>
                      <a:pt x="3845" y="3992"/>
                    </a:cubicBezTo>
                    <a:cubicBezTo>
                      <a:pt x="3846" y="3991"/>
                      <a:pt x="3847" y="3992"/>
                      <a:pt x="3848" y="3992"/>
                    </a:cubicBezTo>
                    <a:cubicBezTo>
                      <a:pt x="3849" y="3991"/>
                      <a:pt x="3849" y="3989"/>
                      <a:pt x="3850" y="3989"/>
                    </a:cubicBezTo>
                    <a:cubicBezTo>
                      <a:pt x="3851" y="3989"/>
                      <a:pt x="3852" y="3989"/>
                      <a:pt x="3853" y="3989"/>
                    </a:cubicBezTo>
                    <a:cubicBezTo>
                      <a:pt x="3855" y="3988"/>
                      <a:pt x="3856" y="3985"/>
                      <a:pt x="3858" y="3984"/>
                    </a:cubicBezTo>
                    <a:cubicBezTo>
                      <a:pt x="3860" y="3983"/>
                      <a:pt x="3864" y="3984"/>
                      <a:pt x="3865" y="3984"/>
                    </a:cubicBezTo>
                    <a:cubicBezTo>
                      <a:pt x="3867" y="3983"/>
                      <a:pt x="3869" y="3982"/>
                      <a:pt x="3871" y="3981"/>
                    </a:cubicBezTo>
                    <a:cubicBezTo>
                      <a:pt x="3872" y="3980"/>
                      <a:pt x="3872" y="3980"/>
                      <a:pt x="3873" y="3979"/>
                    </a:cubicBezTo>
                    <a:cubicBezTo>
                      <a:pt x="3874" y="3979"/>
                      <a:pt x="3875" y="3979"/>
                      <a:pt x="3876" y="3979"/>
                    </a:cubicBezTo>
                    <a:cubicBezTo>
                      <a:pt x="3997" y="3878"/>
                      <a:pt x="4055" y="3805"/>
                      <a:pt x="4091" y="3704"/>
                    </a:cubicBezTo>
                    <a:cubicBezTo>
                      <a:pt x="4101" y="3677"/>
                      <a:pt x="4126" y="3655"/>
                      <a:pt x="4148" y="3655"/>
                    </a:cubicBezTo>
                    <a:cubicBezTo>
                      <a:pt x="4169" y="3655"/>
                      <a:pt x="4187" y="3636"/>
                      <a:pt x="4187" y="3614"/>
                    </a:cubicBezTo>
                    <a:cubicBezTo>
                      <a:pt x="4187" y="3592"/>
                      <a:pt x="4216" y="3550"/>
                      <a:pt x="4251" y="3522"/>
                    </a:cubicBezTo>
                    <a:cubicBezTo>
                      <a:pt x="4286" y="3493"/>
                      <a:pt x="4329" y="3444"/>
                      <a:pt x="4347" y="3414"/>
                    </a:cubicBezTo>
                    <a:cubicBezTo>
                      <a:pt x="4365" y="3383"/>
                      <a:pt x="4393" y="3361"/>
                      <a:pt x="4409" y="3365"/>
                    </a:cubicBezTo>
                    <a:cubicBezTo>
                      <a:pt x="4425" y="3368"/>
                      <a:pt x="4438" y="3349"/>
                      <a:pt x="4439" y="3322"/>
                    </a:cubicBezTo>
                    <a:cubicBezTo>
                      <a:pt x="4442" y="3215"/>
                      <a:pt x="4477" y="3063"/>
                      <a:pt x="4495" y="3074"/>
                    </a:cubicBezTo>
                    <a:cubicBezTo>
                      <a:pt x="4519" y="3089"/>
                      <a:pt x="4509" y="2832"/>
                      <a:pt x="4483" y="2750"/>
                    </a:cubicBezTo>
                    <a:cubicBezTo>
                      <a:pt x="4472" y="2718"/>
                      <a:pt x="4460" y="2594"/>
                      <a:pt x="4455" y="2475"/>
                    </a:cubicBezTo>
                    <a:cubicBezTo>
                      <a:pt x="4432" y="1965"/>
                      <a:pt x="4394" y="1715"/>
                      <a:pt x="4320" y="1580"/>
                    </a:cubicBezTo>
                    <a:cubicBezTo>
                      <a:pt x="4302" y="1549"/>
                      <a:pt x="4287" y="1518"/>
                      <a:pt x="4286" y="1510"/>
                    </a:cubicBezTo>
                    <a:cubicBezTo>
                      <a:pt x="4280" y="1447"/>
                      <a:pt x="4201" y="1312"/>
                      <a:pt x="4170" y="1312"/>
                    </a:cubicBezTo>
                    <a:cubicBezTo>
                      <a:pt x="4148" y="1312"/>
                      <a:pt x="4131" y="1295"/>
                      <a:pt x="4131" y="1273"/>
                    </a:cubicBezTo>
                    <a:cubicBezTo>
                      <a:pt x="4131" y="1251"/>
                      <a:pt x="4121" y="1228"/>
                      <a:pt x="4110" y="1223"/>
                    </a:cubicBezTo>
                    <a:cubicBezTo>
                      <a:pt x="4098" y="1218"/>
                      <a:pt x="4054" y="1163"/>
                      <a:pt x="4011" y="1101"/>
                    </a:cubicBezTo>
                    <a:cubicBezTo>
                      <a:pt x="3910" y="954"/>
                      <a:pt x="3369" y="409"/>
                      <a:pt x="3325" y="409"/>
                    </a:cubicBezTo>
                    <a:cubicBezTo>
                      <a:pt x="3306" y="409"/>
                      <a:pt x="3270" y="377"/>
                      <a:pt x="3244" y="339"/>
                    </a:cubicBezTo>
                    <a:cubicBezTo>
                      <a:pt x="3219" y="300"/>
                      <a:pt x="3179" y="268"/>
                      <a:pt x="3156" y="268"/>
                    </a:cubicBezTo>
                    <a:cubicBezTo>
                      <a:pt x="3133" y="268"/>
                      <a:pt x="3062" y="220"/>
                      <a:pt x="2998" y="162"/>
                    </a:cubicBezTo>
                    <a:lnTo>
                      <a:pt x="2881" y="57"/>
                    </a:lnTo>
                    <a:lnTo>
                      <a:pt x="2581" y="50"/>
                    </a:lnTo>
                    <a:cubicBezTo>
                      <a:pt x="2417" y="46"/>
                      <a:pt x="2257" y="42"/>
                      <a:pt x="2227" y="41"/>
                    </a:cubicBezTo>
                    <a:cubicBezTo>
                      <a:pt x="2196" y="40"/>
                      <a:pt x="2163" y="27"/>
                      <a:pt x="2154" y="11"/>
                    </a:cubicBezTo>
                    <a:cubicBezTo>
                      <a:pt x="2149" y="5"/>
                      <a:pt x="2139" y="1"/>
                      <a:pt x="2124" y="1"/>
                    </a:cubicBezTo>
                    <a:lnTo>
                      <a:pt x="2125" y="1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813"/>
              </a:p>
            </p:txBody>
          </p:sp>
        </p:grpSp>
        <p:pic>
          <p:nvPicPr>
            <p:cNvPr id="101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38575" y="2576734"/>
              <a:ext cx="675228" cy="3360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2" name="Rectangle 101"/>
          <p:cNvSpPr/>
          <p:nvPr/>
        </p:nvSpPr>
        <p:spPr>
          <a:xfrm>
            <a:off x="6666521" y="1732634"/>
            <a:ext cx="828227" cy="495540"/>
          </a:xfrm>
          <a:prstGeom prst="rect">
            <a:avLst/>
          </a:prstGeom>
          <a:solidFill>
            <a:srgbClr val="C00000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73125" rIns="74295" bIns="7312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975" b="1" dirty="0">
                <a:solidFill>
                  <a:schemeClr val="bg1"/>
                </a:solidFill>
                <a:cs typeface="Arial" pitchFamily="34" charset="0"/>
              </a:rPr>
              <a:t>Access Point</a:t>
            </a:r>
          </a:p>
          <a:p>
            <a:pPr algn="ctr"/>
            <a:r>
              <a:rPr lang="it-IT" sz="975" b="1" dirty="0">
                <a:solidFill>
                  <a:schemeClr val="bg1"/>
                </a:solidFill>
                <a:cs typeface="Arial" pitchFamily="34" charset="0"/>
              </a:rPr>
              <a:t>(Corner 3)</a:t>
            </a:r>
            <a:endParaRPr lang="en-US" sz="975" b="1" dirty="0" err="1">
              <a:solidFill>
                <a:schemeClr val="bg1"/>
              </a:solidFill>
              <a:cs typeface="Arial" pitchFamily="34" charset="0"/>
            </a:endParaRPr>
          </a:p>
        </p:txBody>
      </p:sp>
      <p:cxnSp>
        <p:nvCxnSpPr>
          <p:cNvPr id="103" name="Straight Connector 102"/>
          <p:cNvCxnSpPr/>
          <p:nvPr/>
        </p:nvCxnSpPr>
        <p:spPr>
          <a:xfrm>
            <a:off x="7391893" y="2297353"/>
            <a:ext cx="978477" cy="446731"/>
          </a:xfrm>
          <a:prstGeom prst="line">
            <a:avLst/>
          </a:prstGeom>
          <a:ln w="190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" name="Group 103"/>
          <p:cNvGrpSpPr>
            <a:grpSpLocks noChangeAspect="1"/>
          </p:cNvGrpSpPr>
          <p:nvPr/>
        </p:nvGrpSpPr>
        <p:grpSpPr>
          <a:xfrm>
            <a:off x="7932115" y="2423562"/>
            <a:ext cx="205859" cy="292500"/>
            <a:chOff x="5558709" y="1869699"/>
            <a:chExt cx="211749" cy="300869"/>
          </a:xfrm>
        </p:grpSpPr>
        <p:sp>
          <p:nvSpPr>
            <p:cNvPr id="105" name="Rectangle 104"/>
            <p:cNvSpPr/>
            <p:nvPr/>
          </p:nvSpPr>
          <p:spPr>
            <a:xfrm>
              <a:off x="5566287" y="1869699"/>
              <a:ext cx="204171" cy="30086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95" tIns="73125" rIns="74295" bIns="7312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75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6" name="Freeform 36"/>
            <p:cNvSpPr>
              <a:spLocks noChangeAspect="1" noEditPoints="1"/>
            </p:cNvSpPr>
            <p:nvPr/>
          </p:nvSpPr>
          <p:spPr bwMode="auto">
            <a:xfrm>
              <a:off x="5558709" y="1895815"/>
              <a:ext cx="204033" cy="252000"/>
            </a:xfrm>
            <a:custGeom>
              <a:avLst/>
              <a:gdLst>
                <a:gd name="T0" fmla="*/ 61 w 64"/>
                <a:gd name="T1" fmla="*/ 76 h 79"/>
                <a:gd name="T2" fmla="*/ 56 w 64"/>
                <a:gd name="T3" fmla="*/ 75 h 79"/>
                <a:gd name="T4" fmla="*/ 26 w 64"/>
                <a:gd name="T5" fmla="*/ 77 h 79"/>
                <a:gd name="T6" fmla="*/ 3 w 64"/>
                <a:gd name="T7" fmla="*/ 79 h 79"/>
                <a:gd name="T8" fmla="*/ 2 w 64"/>
                <a:gd name="T9" fmla="*/ 52 h 79"/>
                <a:gd name="T10" fmla="*/ 4 w 64"/>
                <a:gd name="T11" fmla="*/ 7 h 79"/>
                <a:gd name="T12" fmla="*/ 4 w 64"/>
                <a:gd name="T13" fmla="*/ 0 h 79"/>
                <a:gd name="T14" fmla="*/ 45 w 64"/>
                <a:gd name="T15" fmla="*/ 0 h 79"/>
                <a:gd name="T16" fmla="*/ 62 w 64"/>
                <a:gd name="T17" fmla="*/ 17 h 79"/>
                <a:gd name="T18" fmla="*/ 61 w 64"/>
                <a:gd name="T19" fmla="*/ 45 h 79"/>
                <a:gd name="T20" fmla="*/ 61 w 64"/>
                <a:gd name="T21" fmla="*/ 76 h 79"/>
                <a:gd name="T22" fmla="*/ 46 w 64"/>
                <a:gd name="T23" fmla="*/ 6 h 79"/>
                <a:gd name="T24" fmla="*/ 45 w 64"/>
                <a:gd name="T25" fmla="*/ 21 h 79"/>
                <a:gd name="T26" fmla="*/ 61 w 64"/>
                <a:gd name="T27" fmla="*/ 21 h 79"/>
                <a:gd name="T28" fmla="*/ 46 w 64"/>
                <a:gd name="T29" fmla="*/ 6 h 79"/>
                <a:gd name="T30" fmla="*/ 60 w 64"/>
                <a:gd name="T31" fmla="*/ 24 h 79"/>
                <a:gd name="T32" fmla="*/ 42 w 64"/>
                <a:gd name="T33" fmla="*/ 23 h 79"/>
                <a:gd name="T34" fmla="*/ 43 w 64"/>
                <a:gd name="T35" fmla="*/ 3 h 79"/>
                <a:gd name="T36" fmla="*/ 7 w 64"/>
                <a:gd name="T37" fmla="*/ 3 h 79"/>
                <a:gd name="T38" fmla="*/ 4 w 64"/>
                <a:gd name="T39" fmla="*/ 75 h 79"/>
                <a:gd name="T40" fmla="*/ 59 w 64"/>
                <a:gd name="T41" fmla="*/ 73 h 79"/>
                <a:gd name="T42" fmla="*/ 60 w 64"/>
                <a:gd name="T43" fmla="*/ 2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4" h="79">
                  <a:moveTo>
                    <a:pt x="61" y="76"/>
                  </a:moveTo>
                  <a:cubicBezTo>
                    <a:pt x="59" y="76"/>
                    <a:pt x="58" y="75"/>
                    <a:pt x="56" y="75"/>
                  </a:cubicBezTo>
                  <a:cubicBezTo>
                    <a:pt x="47" y="73"/>
                    <a:pt x="36" y="76"/>
                    <a:pt x="26" y="77"/>
                  </a:cubicBezTo>
                  <a:cubicBezTo>
                    <a:pt x="18" y="78"/>
                    <a:pt x="10" y="76"/>
                    <a:pt x="3" y="79"/>
                  </a:cubicBezTo>
                  <a:cubicBezTo>
                    <a:pt x="0" y="70"/>
                    <a:pt x="2" y="61"/>
                    <a:pt x="2" y="52"/>
                  </a:cubicBezTo>
                  <a:cubicBezTo>
                    <a:pt x="1" y="36"/>
                    <a:pt x="2" y="21"/>
                    <a:pt x="4" y="7"/>
                  </a:cubicBezTo>
                  <a:cubicBezTo>
                    <a:pt x="4" y="4"/>
                    <a:pt x="1" y="2"/>
                    <a:pt x="4" y="0"/>
                  </a:cubicBezTo>
                  <a:cubicBezTo>
                    <a:pt x="15" y="2"/>
                    <a:pt x="34" y="2"/>
                    <a:pt x="45" y="0"/>
                  </a:cubicBezTo>
                  <a:cubicBezTo>
                    <a:pt x="50" y="6"/>
                    <a:pt x="57" y="11"/>
                    <a:pt x="62" y="17"/>
                  </a:cubicBezTo>
                  <a:cubicBezTo>
                    <a:pt x="64" y="26"/>
                    <a:pt x="62" y="35"/>
                    <a:pt x="61" y="45"/>
                  </a:cubicBezTo>
                  <a:cubicBezTo>
                    <a:pt x="61" y="57"/>
                    <a:pt x="63" y="65"/>
                    <a:pt x="61" y="76"/>
                  </a:cubicBezTo>
                  <a:close/>
                  <a:moveTo>
                    <a:pt x="46" y="6"/>
                  </a:moveTo>
                  <a:cubicBezTo>
                    <a:pt x="45" y="10"/>
                    <a:pt x="44" y="17"/>
                    <a:pt x="45" y="21"/>
                  </a:cubicBezTo>
                  <a:cubicBezTo>
                    <a:pt x="50" y="21"/>
                    <a:pt x="58" y="22"/>
                    <a:pt x="61" y="21"/>
                  </a:cubicBezTo>
                  <a:cubicBezTo>
                    <a:pt x="56" y="15"/>
                    <a:pt x="52" y="8"/>
                    <a:pt x="46" y="6"/>
                  </a:cubicBezTo>
                  <a:close/>
                  <a:moveTo>
                    <a:pt x="60" y="24"/>
                  </a:moveTo>
                  <a:cubicBezTo>
                    <a:pt x="55" y="23"/>
                    <a:pt x="47" y="25"/>
                    <a:pt x="42" y="23"/>
                  </a:cubicBezTo>
                  <a:cubicBezTo>
                    <a:pt x="43" y="17"/>
                    <a:pt x="43" y="10"/>
                    <a:pt x="43" y="3"/>
                  </a:cubicBezTo>
                  <a:cubicBezTo>
                    <a:pt x="31" y="3"/>
                    <a:pt x="19" y="4"/>
                    <a:pt x="7" y="3"/>
                  </a:cubicBezTo>
                  <a:cubicBezTo>
                    <a:pt x="3" y="24"/>
                    <a:pt x="2" y="53"/>
                    <a:pt x="4" y="75"/>
                  </a:cubicBezTo>
                  <a:cubicBezTo>
                    <a:pt x="25" y="77"/>
                    <a:pt x="40" y="70"/>
                    <a:pt x="59" y="73"/>
                  </a:cubicBezTo>
                  <a:cubicBezTo>
                    <a:pt x="62" y="56"/>
                    <a:pt x="58" y="42"/>
                    <a:pt x="60" y="24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vert="horz" wrap="square" lIns="81738" tIns="40869" rIns="81738" bIns="40869" numCol="1" anchor="t" anchorCtr="0" compatLnSpc="1">
              <a:prstTxWarp prst="textNoShape">
                <a:avLst/>
              </a:prstTxWarp>
            </a:bodyPr>
            <a:lstStyle/>
            <a:p>
              <a:endParaRPr lang="en-US" sz="1788"/>
            </a:p>
          </p:txBody>
        </p:sp>
      </p:grpSp>
      <p:grpSp>
        <p:nvGrpSpPr>
          <p:cNvPr id="108" name="Group 107"/>
          <p:cNvGrpSpPr>
            <a:grpSpLocks noChangeAspect="1"/>
          </p:cNvGrpSpPr>
          <p:nvPr/>
        </p:nvGrpSpPr>
        <p:grpSpPr>
          <a:xfrm>
            <a:off x="5324495" y="1727815"/>
            <a:ext cx="188516" cy="267857"/>
            <a:chOff x="5558709" y="1869699"/>
            <a:chExt cx="211749" cy="300869"/>
          </a:xfrm>
        </p:grpSpPr>
        <p:sp>
          <p:nvSpPr>
            <p:cNvPr id="109" name="Rectangle 108"/>
            <p:cNvSpPr/>
            <p:nvPr/>
          </p:nvSpPr>
          <p:spPr>
            <a:xfrm>
              <a:off x="5566287" y="1869699"/>
              <a:ext cx="204171" cy="30086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95" tIns="73125" rIns="74295" bIns="7312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75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0" name="Freeform 36"/>
            <p:cNvSpPr>
              <a:spLocks noChangeAspect="1" noEditPoints="1"/>
            </p:cNvSpPr>
            <p:nvPr/>
          </p:nvSpPr>
          <p:spPr bwMode="auto">
            <a:xfrm>
              <a:off x="5558709" y="1895815"/>
              <a:ext cx="204033" cy="252000"/>
            </a:xfrm>
            <a:custGeom>
              <a:avLst/>
              <a:gdLst>
                <a:gd name="T0" fmla="*/ 61 w 64"/>
                <a:gd name="T1" fmla="*/ 76 h 79"/>
                <a:gd name="T2" fmla="*/ 56 w 64"/>
                <a:gd name="T3" fmla="*/ 75 h 79"/>
                <a:gd name="T4" fmla="*/ 26 w 64"/>
                <a:gd name="T5" fmla="*/ 77 h 79"/>
                <a:gd name="T6" fmla="*/ 3 w 64"/>
                <a:gd name="T7" fmla="*/ 79 h 79"/>
                <a:gd name="T8" fmla="*/ 2 w 64"/>
                <a:gd name="T9" fmla="*/ 52 h 79"/>
                <a:gd name="T10" fmla="*/ 4 w 64"/>
                <a:gd name="T11" fmla="*/ 7 h 79"/>
                <a:gd name="T12" fmla="*/ 4 w 64"/>
                <a:gd name="T13" fmla="*/ 0 h 79"/>
                <a:gd name="T14" fmla="*/ 45 w 64"/>
                <a:gd name="T15" fmla="*/ 0 h 79"/>
                <a:gd name="T16" fmla="*/ 62 w 64"/>
                <a:gd name="T17" fmla="*/ 17 h 79"/>
                <a:gd name="T18" fmla="*/ 61 w 64"/>
                <a:gd name="T19" fmla="*/ 45 h 79"/>
                <a:gd name="T20" fmla="*/ 61 w 64"/>
                <a:gd name="T21" fmla="*/ 76 h 79"/>
                <a:gd name="T22" fmla="*/ 46 w 64"/>
                <a:gd name="T23" fmla="*/ 6 h 79"/>
                <a:gd name="T24" fmla="*/ 45 w 64"/>
                <a:gd name="T25" fmla="*/ 21 h 79"/>
                <a:gd name="T26" fmla="*/ 61 w 64"/>
                <a:gd name="T27" fmla="*/ 21 h 79"/>
                <a:gd name="T28" fmla="*/ 46 w 64"/>
                <a:gd name="T29" fmla="*/ 6 h 79"/>
                <a:gd name="T30" fmla="*/ 60 w 64"/>
                <a:gd name="T31" fmla="*/ 24 h 79"/>
                <a:gd name="T32" fmla="*/ 42 w 64"/>
                <a:gd name="T33" fmla="*/ 23 h 79"/>
                <a:gd name="T34" fmla="*/ 43 w 64"/>
                <a:gd name="T35" fmla="*/ 3 h 79"/>
                <a:gd name="T36" fmla="*/ 7 w 64"/>
                <a:gd name="T37" fmla="*/ 3 h 79"/>
                <a:gd name="T38" fmla="*/ 4 w 64"/>
                <a:gd name="T39" fmla="*/ 75 h 79"/>
                <a:gd name="T40" fmla="*/ 59 w 64"/>
                <a:gd name="T41" fmla="*/ 73 h 79"/>
                <a:gd name="T42" fmla="*/ 60 w 64"/>
                <a:gd name="T43" fmla="*/ 2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4" h="79">
                  <a:moveTo>
                    <a:pt x="61" y="76"/>
                  </a:moveTo>
                  <a:cubicBezTo>
                    <a:pt x="59" y="76"/>
                    <a:pt x="58" y="75"/>
                    <a:pt x="56" y="75"/>
                  </a:cubicBezTo>
                  <a:cubicBezTo>
                    <a:pt x="47" y="73"/>
                    <a:pt x="36" y="76"/>
                    <a:pt x="26" y="77"/>
                  </a:cubicBezTo>
                  <a:cubicBezTo>
                    <a:pt x="18" y="78"/>
                    <a:pt x="10" y="76"/>
                    <a:pt x="3" y="79"/>
                  </a:cubicBezTo>
                  <a:cubicBezTo>
                    <a:pt x="0" y="70"/>
                    <a:pt x="2" y="61"/>
                    <a:pt x="2" y="52"/>
                  </a:cubicBezTo>
                  <a:cubicBezTo>
                    <a:pt x="1" y="36"/>
                    <a:pt x="2" y="21"/>
                    <a:pt x="4" y="7"/>
                  </a:cubicBezTo>
                  <a:cubicBezTo>
                    <a:pt x="4" y="4"/>
                    <a:pt x="1" y="2"/>
                    <a:pt x="4" y="0"/>
                  </a:cubicBezTo>
                  <a:cubicBezTo>
                    <a:pt x="15" y="2"/>
                    <a:pt x="34" y="2"/>
                    <a:pt x="45" y="0"/>
                  </a:cubicBezTo>
                  <a:cubicBezTo>
                    <a:pt x="50" y="6"/>
                    <a:pt x="57" y="11"/>
                    <a:pt x="62" y="17"/>
                  </a:cubicBezTo>
                  <a:cubicBezTo>
                    <a:pt x="64" y="26"/>
                    <a:pt x="62" y="35"/>
                    <a:pt x="61" y="45"/>
                  </a:cubicBezTo>
                  <a:cubicBezTo>
                    <a:pt x="61" y="57"/>
                    <a:pt x="63" y="65"/>
                    <a:pt x="61" y="76"/>
                  </a:cubicBezTo>
                  <a:close/>
                  <a:moveTo>
                    <a:pt x="46" y="6"/>
                  </a:moveTo>
                  <a:cubicBezTo>
                    <a:pt x="45" y="10"/>
                    <a:pt x="44" y="17"/>
                    <a:pt x="45" y="21"/>
                  </a:cubicBezTo>
                  <a:cubicBezTo>
                    <a:pt x="50" y="21"/>
                    <a:pt x="58" y="22"/>
                    <a:pt x="61" y="21"/>
                  </a:cubicBezTo>
                  <a:cubicBezTo>
                    <a:pt x="56" y="15"/>
                    <a:pt x="52" y="8"/>
                    <a:pt x="46" y="6"/>
                  </a:cubicBezTo>
                  <a:close/>
                  <a:moveTo>
                    <a:pt x="60" y="24"/>
                  </a:moveTo>
                  <a:cubicBezTo>
                    <a:pt x="55" y="23"/>
                    <a:pt x="47" y="25"/>
                    <a:pt x="42" y="23"/>
                  </a:cubicBezTo>
                  <a:cubicBezTo>
                    <a:pt x="43" y="17"/>
                    <a:pt x="43" y="10"/>
                    <a:pt x="43" y="3"/>
                  </a:cubicBezTo>
                  <a:cubicBezTo>
                    <a:pt x="31" y="3"/>
                    <a:pt x="19" y="4"/>
                    <a:pt x="7" y="3"/>
                  </a:cubicBezTo>
                  <a:cubicBezTo>
                    <a:pt x="3" y="24"/>
                    <a:pt x="2" y="53"/>
                    <a:pt x="4" y="75"/>
                  </a:cubicBezTo>
                  <a:cubicBezTo>
                    <a:pt x="25" y="77"/>
                    <a:pt x="40" y="70"/>
                    <a:pt x="59" y="73"/>
                  </a:cubicBezTo>
                  <a:cubicBezTo>
                    <a:pt x="62" y="56"/>
                    <a:pt x="58" y="42"/>
                    <a:pt x="60" y="24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vert="horz" wrap="square" lIns="81738" tIns="40869" rIns="81738" bIns="40869" numCol="1" anchor="t" anchorCtr="0" compatLnSpc="1">
              <a:prstTxWarp prst="textNoShape">
                <a:avLst/>
              </a:prstTxWarp>
            </a:bodyPr>
            <a:lstStyle/>
            <a:p>
              <a:endParaRPr lang="en-US" sz="1788"/>
            </a:p>
          </p:txBody>
        </p:sp>
      </p:grpSp>
      <p:sp>
        <p:nvSpPr>
          <p:cNvPr id="111" name="Rettangolo arrotondato 22">
            <a:extLst>
              <a:ext uri="{FF2B5EF4-FFF2-40B4-BE49-F238E27FC236}">
                <a16:creationId xmlns:a16="http://schemas.microsoft.com/office/drawing/2014/main" id="{C5A1E287-1F35-3243-88B8-C9FAB174876E}"/>
              </a:ext>
            </a:extLst>
          </p:cNvPr>
          <p:cNvSpPr/>
          <p:nvPr/>
        </p:nvSpPr>
        <p:spPr>
          <a:xfrm>
            <a:off x="2352118" y="1738103"/>
            <a:ext cx="598338" cy="278610"/>
          </a:xfrm>
          <a:prstGeom prst="roundRect">
            <a:avLst/>
          </a:prstGeom>
          <a:solidFill>
            <a:srgbClr val="007C00"/>
          </a:solidFill>
          <a:ln>
            <a:solidFill>
              <a:srgbClr val="007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75" b="1" dirty="0"/>
              <a:t>SML</a:t>
            </a:r>
          </a:p>
        </p:txBody>
      </p:sp>
      <p:sp>
        <p:nvSpPr>
          <p:cNvPr id="54" name="TextBox 53"/>
          <p:cNvSpPr txBox="1"/>
          <p:nvPr/>
        </p:nvSpPr>
        <p:spPr>
          <a:xfrm rot="20474755">
            <a:off x="3110935" y="2339977"/>
            <a:ext cx="1064943" cy="292388"/>
          </a:xfrm>
          <a:prstGeom prst="rect">
            <a:avLst/>
          </a:prstGeom>
          <a:ln w="12700"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</a:rPr>
              <a:t>Validazione</a:t>
            </a:r>
            <a:endParaRPr lang="en-US" sz="1300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5" name="Straight Connector 54"/>
          <p:cNvCxnSpPr/>
          <p:nvPr/>
        </p:nvCxnSpPr>
        <p:spPr>
          <a:xfrm>
            <a:off x="7014507" y="2363197"/>
            <a:ext cx="1232314" cy="571875"/>
          </a:xfrm>
          <a:prstGeom prst="line">
            <a:avLst/>
          </a:prstGeom>
          <a:ln w="19050">
            <a:solidFill>
              <a:schemeClr val="accent4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/>
        </p:nvGrpSpPr>
        <p:grpSpPr>
          <a:xfrm>
            <a:off x="7493103" y="2460595"/>
            <a:ext cx="204750" cy="292500"/>
            <a:chOff x="10208543" y="1107592"/>
            <a:chExt cx="349210" cy="496168"/>
          </a:xfrm>
        </p:grpSpPr>
        <p:sp>
          <p:nvSpPr>
            <p:cNvPr id="57" name="Rectangle 56"/>
            <p:cNvSpPr/>
            <p:nvPr/>
          </p:nvSpPr>
          <p:spPr>
            <a:xfrm>
              <a:off x="10221050" y="1107592"/>
              <a:ext cx="336703" cy="496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95" tIns="73125" rIns="74295" bIns="7312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75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8" name="Freeform 36"/>
            <p:cNvSpPr>
              <a:spLocks noChangeAspect="1" noEditPoints="1"/>
            </p:cNvSpPr>
            <p:nvPr/>
          </p:nvSpPr>
          <p:spPr bwMode="auto">
            <a:xfrm>
              <a:off x="10208543" y="1150659"/>
              <a:ext cx="336475" cy="415577"/>
            </a:xfrm>
            <a:custGeom>
              <a:avLst/>
              <a:gdLst>
                <a:gd name="T0" fmla="*/ 61 w 64"/>
                <a:gd name="T1" fmla="*/ 76 h 79"/>
                <a:gd name="T2" fmla="*/ 56 w 64"/>
                <a:gd name="T3" fmla="*/ 75 h 79"/>
                <a:gd name="T4" fmla="*/ 26 w 64"/>
                <a:gd name="T5" fmla="*/ 77 h 79"/>
                <a:gd name="T6" fmla="*/ 3 w 64"/>
                <a:gd name="T7" fmla="*/ 79 h 79"/>
                <a:gd name="T8" fmla="*/ 2 w 64"/>
                <a:gd name="T9" fmla="*/ 52 h 79"/>
                <a:gd name="T10" fmla="*/ 4 w 64"/>
                <a:gd name="T11" fmla="*/ 7 h 79"/>
                <a:gd name="T12" fmla="*/ 4 w 64"/>
                <a:gd name="T13" fmla="*/ 0 h 79"/>
                <a:gd name="T14" fmla="*/ 45 w 64"/>
                <a:gd name="T15" fmla="*/ 0 h 79"/>
                <a:gd name="T16" fmla="*/ 62 w 64"/>
                <a:gd name="T17" fmla="*/ 17 h 79"/>
                <a:gd name="T18" fmla="*/ 61 w 64"/>
                <a:gd name="T19" fmla="*/ 45 h 79"/>
                <a:gd name="T20" fmla="*/ 61 w 64"/>
                <a:gd name="T21" fmla="*/ 76 h 79"/>
                <a:gd name="T22" fmla="*/ 46 w 64"/>
                <a:gd name="T23" fmla="*/ 6 h 79"/>
                <a:gd name="T24" fmla="*/ 45 w 64"/>
                <a:gd name="T25" fmla="*/ 21 h 79"/>
                <a:gd name="T26" fmla="*/ 61 w 64"/>
                <a:gd name="T27" fmla="*/ 21 h 79"/>
                <a:gd name="T28" fmla="*/ 46 w 64"/>
                <a:gd name="T29" fmla="*/ 6 h 79"/>
                <a:gd name="T30" fmla="*/ 60 w 64"/>
                <a:gd name="T31" fmla="*/ 24 h 79"/>
                <a:gd name="T32" fmla="*/ 42 w 64"/>
                <a:gd name="T33" fmla="*/ 23 h 79"/>
                <a:gd name="T34" fmla="*/ 43 w 64"/>
                <a:gd name="T35" fmla="*/ 3 h 79"/>
                <a:gd name="T36" fmla="*/ 7 w 64"/>
                <a:gd name="T37" fmla="*/ 3 h 79"/>
                <a:gd name="T38" fmla="*/ 4 w 64"/>
                <a:gd name="T39" fmla="*/ 75 h 79"/>
                <a:gd name="T40" fmla="*/ 59 w 64"/>
                <a:gd name="T41" fmla="*/ 73 h 79"/>
                <a:gd name="T42" fmla="*/ 60 w 64"/>
                <a:gd name="T43" fmla="*/ 2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4" h="79">
                  <a:moveTo>
                    <a:pt x="61" y="76"/>
                  </a:moveTo>
                  <a:cubicBezTo>
                    <a:pt x="59" y="76"/>
                    <a:pt x="58" y="75"/>
                    <a:pt x="56" y="75"/>
                  </a:cubicBezTo>
                  <a:cubicBezTo>
                    <a:pt x="47" y="73"/>
                    <a:pt x="36" y="76"/>
                    <a:pt x="26" y="77"/>
                  </a:cubicBezTo>
                  <a:cubicBezTo>
                    <a:pt x="18" y="78"/>
                    <a:pt x="10" y="76"/>
                    <a:pt x="3" y="79"/>
                  </a:cubicBezTo>
                  <a:cubicBezTo>
                    <a:pt x="0" y="70"/>
                    <a:pt x="2" y="61"/>
                    <a:pt x="2" y="52"/>
                  </a:cubicBezTo>
                  <a:cubicBezTo>
                    <a:pt x="1" y="36"/>
                    <a:pt x="2" y="21"/>
                    <a:pt x="4" y="7"/>
                  </a:cubicBezTo>
                  <a:cubicBezTo>
                    <a:pt x="4" y="4"/>
                    <a:pt x="1" y="2"/>
                    <a:pt x="4" y="0"/>
                  </a:cubicBezTo>
                  <a:cubicBezTo>
                    <a:pt x="15" y="2"/>
                    <a:pt x="34" y="2"/>
                    <a:pt x="45" y="0"/>
                  </a:cubicBezTo>
                  <a:cubicBezTo>
                    <a:pt x="50" y="6"/>
                    <a:pt x="57" y="11"/>
                    <a:pt x="62" y="17"/>
                  </a:cubicBezTo>
                  <a:cubicBezTo>
                    <a:pt x="64" y="26"/>
                    <a:pt x="62" y="35"/>
                    <a:pt x="61" y="45"/>
                  </a:cubicBezTo>
                  <a:cubicBezTo>
                    <a:pt x="61" y="57"/>
                    <a:pt x="63" y="65"/>
                    <a:pt x="61" y="76"/>
                  </a:cubicBezTo>
                  <a:close/>
                  <a:moveTo>
                    <a:pt x="46" y="6"/>
                  </a:moveTo>
                  <a:cubicBezTo>
                    <a:pt x="45" y="10"/>
                    <a:pt x="44" y="17"/>
                    <a:pt x="45" y="21"/>
                  </a:cubicBezTo>
                  <a:cubicBezTo>
                    <a:pt x="50" y="21"/>
                    <a:pt x="58" y="22"/>
                    <a:pt x="61" y="21"/>
                  </a:cubicBezTo>
                  <a:cubicBezTo>
                    <a:pt x="56" y="15"/>
                    <a:pt x="52" y="8"/>
                    <a:pt x="46" y="6"/>
                  </a:cubicBezTo>
                  <a:close/>
                  <a:moveTo>
                    <a:pt x="60" y="24"/>
                  </a:moveTo>
                  <a:cubicBezTo>
                    <a:pt x="55" y="23"/>
                    <a:pt x="47" y="25"/>
                    <a:pt x="42" y="23"/>
                  </a:cubicBezTo>
                  <a:cubicBezTo>
                    <a:pt x="43" y="17"/>
                    <a:pt x="43" y="10"/>
                    <a:pt x="43" y="3"/>
                  </a:cubicBezTo>
                  <a:cubicBezTo>
                    <a:pt x="31" y="3"/>
                    <a:pt x="19" y="4"/>
                    <a:pt x="7" y="3"/>
                  </a:cubicBezTo>
                  <a:cubicBezTo>
                    <a:pt x="3" y="24"/>
                    <a:pt x="2" y="53"/>
                    <a:pt x="4" y="75"/>
                  </a:cubicBezTo>
                  <a:cubicBezTo>
                    <a:pt x="25" y="77"/>
                    <a:pt x="40" y="70"/>
                    <a:pt x="59" y="73"/>
                  </a:cubicBezTo>
                  <a:cubicBezTo>
                    <a:pt x="62" y="56"/>
                    <a:pt x="58" y="42"/>
                    <a:pt x="60" y="2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81738" tIns="40869" rIns="81738" bIns="40869" numCol="1" anchor="t" anchorCtr="0" compatLnSpc="1">
              <a:prstTxWarp prst="textNoShape">
                <a:avLst/>
              </a:prstTxWarp>
            </a:bodyPr>
            <a:lstStyle/>
            <a:p>
              <a:endParaRPr lang="en-US" sz="1788"/>
            </a:p>
          </p:txBody>
        </p:sp>
      </p:grpSp>
      <p:cxnSp>
        <p:nvCxnSpPr>
          <p:cNvPr id="62" name="Straight Connector 61"/>
          <p:cNvCxnSpPr/>
          <p:nvPr/>
        </p:nvCxnSpPr>
        <p:spPr>
          <a:xfrm flipV="1">
            <a:off x="4936873" y="2057668"/>
            <a:ext cx="1657151" cy="8522"/>
          </a:xfrm>
          <a:prstGeom prst="line">
            <a:avLst/>
          </a:prstGeom>
          <a:ln w="19050">
            <a:solidFill>
              <a:schemeClr val="accent4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Group 62"/>
          <p:cNvGrpSpPr/>
          <p:nvPr/>
        </p:nvGrpSpPr>
        <p:grpSpPr>
          <a:xfrm>
            <a:off x="5811877" y="1919940"/>
            <a:ext cx="204783" cy="292500"/>
            <a:chOff x="10208543" y="1107592"/>
            <a:chExt cx="349267" cy="496168"/>
          </a:xfrm>
        </p:grpSpPr>
        <p:sp>
          <p:nvSpPr>
            <p:cNvPr id="64" name="Rectangle 63"/>
            <p:cNvSpPr/>
            <p:nvPr/>
          </p:nvSpPr>
          <p:spPr>
            <a:xfrm>
              <a:off x="10221105" y="1107592"/>
              <a:ext cx="336705" cy="496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295" tIns="73125" rIns="74295" bIns="7312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75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5" name="Freeform 36"/>
            <p:cNvSpPr>
              <a:spLocks noChangeAspect="1" noEditPoints="1"/>
            </p:cNvSpPr>
            <p:nvPr/>
          </p:nvSpPr>
          <p:spPr bwMode="auto">
            <a:xfrm>
              <a:off x="10208543" y="1150659"/>
              <a:ext cx="336475" cy="415577"/>
            </a:xfrm>
            <a:custGeom>
              <a:avLst/>
              <a:gdLst>
                <a:gd name="T0" fmla="*/ 61 w 64"/>
                <a:gd name="T1" fmla="*/ 76 h 79"/>
                <a:gd name="T2" fmla="*/ 56 w 64"/>
                <a:gd name="T3" fmla="*/ 75 h 79"/>
                <a:gd name="T4" fmla="*/ 26 w 64"/>
                <a:gd name="T5" fmla="*/ 77 h 79"/>
                <a:gd name="T6" fmla="*/ 3 w 64"/>
                <a:gd name="T7" fmla="*/ 79 h 79"/>
                <a:gd name="T8" fmla="*/ 2 w 64"/>
                <a:gd name="T9" fmla="*/ 52 h 79"/>
                <a:gd name="T10" fmla="*/ 4 w 64"/>
                <a:gd name="T11" fmla="*/ 7 h 79"/>
                <a:gd name="T12" fmla="*/ 4 w 64"/>
                <a:gd name="T13" fmla="*/ 0 h 79"/>
                <a:gd name="T14" fmla="*/ 45 w 64"/>
                <a:gd name="T15" fmla="*/ 0 h 79"/>
                <a:gd name="T16" fmla="*/ 62 w 64"/>
                <a:gd name="T17" fmla="*/ 17 h 79"/>
                <a:gd name="T18" fmla="*/ 61 w 64"/>
                <a:gd name="T19" fmla="*/ 45 h 79"/>
                <a:gd name="T20" fmla="*/ 61 w 64"/>
                <a:gd name="T21" fmla="*/ 76 h 79"/>
                <a:gd name="T22" fmla="*/ 46 w 64"/>
                <a:gd name="T23" fmla="*/ 6 h 79"/>
                <a:gd name="T24" fmla="*/ 45 w 64"/>
                <a:gd name="T25" fmla="*/ 21 h 79"/>
                <a:gd name="T26" fmla="*/ 61 w 64"/>
                <a:gd name="T27" fmla="*/ 21 h 79"/>
                <a:gd name="T28" fmla="*/ 46 w 64"/>
                <a:gd name="T29" fmla="*/ 6 h 79"/>
                <a:gd name="T30" fmla="*/ 60 w 64"/>
                <a:gd name="T31" fmla="*/ 24 h 79"/>
                <a:gd name="T32" fmla="*/ 42 w 64"/>
                <a:gd name="T33" fmla="*/ 23 h 79"/>
                <a:gd name="T34" fmla="*/ 43 w 64"/>
                <a:gd name="T35" fmla="*/ 3 h 79"/>
                <a:gd name="T36" fmla="*/ 7 w 64"/>
                <a:gd name="T37" fmla="*/ 3 h 79"/>
                <a:gd name="T38" fmla="*/ 4 w 64"/>
                <a:gd name="T39" fmla="*/ 75 h 79"/>
                <a:gd name="T40" fmla="*/ 59 w 64"/>
                <a:gd name="T41" fmla="*/ 73 h 79"/>
                <a:gd name="T42" fmla="*/ 60 w 64"/>
                <a:gd name="T43" fmla="*/ 2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4" h="79">
                  <a:moveTo>
                    <a:pt x="61" y="76"/>
                  </a:moveTo>
                  <a:cubicBezTo>
                    <a:pt x="59" y="76"/>
                    <a:pt x="58" y="75"/>
                    <a:pt x="56" y="75"/>
                  </a:cubicBezTo>
                  <a:cubicBezTo>
                    <a:pt x="47" y="73"/>
                    <a:pt x="36" y="76"/>
                    <a:pt x="26" y="77"/>
                  </a:cubicBezTo>
                  <a:cubicBezTo>
                    <a:pt x="18" y="78"/>
                    <a:pt x="10" y="76"/>
                    <a:pt x="3" y="79"/>
                  </a:cubicBezTo>
                  <a:cubicBezTo>
                    <a:pt x="0" y="70"/>
                    <a:pt x="2" y="61"/>
                    <a:pt x="2" y="52"/>
                  </a:cubicBezTo>
                  <a:cubicBezTo>
                    <a:pt x="1" y="36"/>
                    <a:pt x="2" y="21"/>
                    <a:pt x="4" y="7"/>
                  </a:cubicBezTo>
                  <a:cubicBezTo>
                    <a:pt x="4" y="4"/>
                    <a:pt x="1" y="2"/>
                    <a:pt x="4" y="0"/>
                  </a:cubicBezTo>
                  <a:cubicBezTo>
                    <a:pt x="15" y="2"/>
                    <a:pt x="34" y="2"/>
                    <a:pt x="45" y="0"/>
                  </a:cubicBezTo>
                  <a:cubicBezTo>
                    <a:pt x="50" y="6"/>
                    <a:pt x="57" y="11"/>
                    <a:pt x="62" y="17"/>
                  </a:cubicBezTo>
                  <a:cubicBezTo>
                    <a:pt x="64" y="26"/>
                    <a:pt x="62" y="35"/>
                    <a:pt x="61" y="45"/>
                  </a:cubicBezTo>
                  <a:cubicBezTo>
                    <a:pt x="61" y="57"/>
                    <a:pt x="63" y="65"/>
                    <a:pt x="61" y="76"/>
                  </a:cubicBezTo>
                  <a:close/>
                  <a:moveTo>
                    <a:pt x="46" y="6"/>
                  </a:moveTo>
                  <a:cubicBezTo>
                    <a:pt x="45" y="10"/>
                    <a:pt x="44" y="17"/>
                    <a:pt x="45" y="21"/>
                  </a:cubicBezTo>
                  <a:cubicBezTo>
                    <a:pt x="50" y="21"/>
                    <a:pt x="58" y="22"/>
                    <a:pt x="61" y="21"/>
                  </a:cubicBezTo>
                  <a:cubicBezTo>
                    <a:pt x="56" y="15"/>
                    <a:pt x="52" y="8"/>
                    <a:pt x="46" y="6"/>
                  </a:cubicBezTo>
                  <a:close/>
                  <a:moveTo>
                    <a:pt x="60" y="24"/>
                  </a:moveTo>
                  <a:cubicBezTo>
                    <a:pt x="55" y="23"/>
                    <a:pt x="47" y="25"/>
                    <a:pt x="42" y="23"/>
                  </a:cubicBezTo>
                  <a:cubicBezTo>
                    <a:pt x="43" y="17"/>
                    <a:pt x="43" y="10"/>
                    <a:pt x="43" y="3"/>
                  </a:cubicBezTo>
                  <a:cubicBezTo>
                    <a:pt x="31" y="3"/>
                    <a:pt x="19" y="4"/>
                    <a:pt x="7" y="3"/>
                  </a:cubicBezTo>
                  <a:cubicBezTo>
                    <a:pt x="3" y="24"/>
                    <a:pt x="2" y="53"/>
                    <a:pt x="4" y="75"/>
                  </a:cubicBezTo>
                  <a:cubicBezTo>
                    <a:pt x="25" y="77"/>
                    <a:pt x="40" y="70"/>
                    <a:pt x="59" y="73"/>
                  </a:cubicBezTo>
                  <a:cubicBezTo>
                    <a:pt x="62" y="56"/>
                    <a:pt x="58" y="42"/>
                    <a:pt x="60" y="2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81738" tIns="40869" rIns="81738" bIns="40869" numCol="1" anchor="t" anchorCtr="0" compatLnSpc="1">
              <a:prstTxWarp prst="textNoShape">
                <a:avLst/>
              </a:prstTxWarp>
            </a:bodyPr>
            <a:lstStyle/>
            <a:p>
              <a:endParaRPr lang="en-US" sz="1788"/>
            </a:p>
          </p:txBody>
        </p:sp>
      </p:grpSp>
      <p:cxnSp>
        <p:nvCxnSpPr>
          <p:cNvPr id="87" name="Straight Connector 86"/>
          <p:cNvCxnSpPr/>
          <p:nvPr/>
        </p:nvCxnSpPr>
        <p:spPr>
          <a:xfrm flipV="1">
            <a:off x="4565940" y="2218841"/>
            <a:ext cx="0" cy="324000"/>
          </a:xfrm>
          <a:prstGeom prst="line">
            <a:avLst/>
          </a:prstGeom>
          <a:ln w="19050">
            <a:solidFill>
              <a:schemeClr val="accent4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/>
          <p:nvPr/>
        </p:nvCxnSpPr>
        <p:spPr>
          <a:xfrm>
            <a:off x="4719379" y="2218840"/>
            <a:ext cx="0" cy="324000"/>
          </a:xfrm>
          <a:prstGeom prst="line">
            <a:avLst/>
          </a:prstGeom>
          <a:ln w="19050">
            <a:solidFill>
              <a:schemeClr val="accent4"/>
            </a:solidFill>
            <a:prstDash val="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 flipV="1">
            <a:off x="7494748" y="1980403"/>
            <a:ext cx="1080000" cy="1"/>
          </a:xfrm>
          <a:prstGeom prst="line">
            <a:avLst/>
          </a:prstGeom>
          <a:ln w="19050">
            <a:solidFill>
              <a:schemeClr val="accent4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ettangolo arrotondato 22">
            <a:extLst>
              <a:ext uri="{FF2B5EF4-FFF2-40B4-BE49-F238E27FC236}">
                <a16:creationId xmlns:a16="http://schemas.microsoft.com/office/drawing/2014/main" id="{C5A1E287-1F35-3243-88B8-C9FAB174876E}"/>
              </a:ext>
            </a:extLst>
          </p:cNvPr>
          <p:cNvSpPr/>
          <p:nvPr/>
        </p:nvSpPr>
        <p:spPr>
          <a:xfrm>
            <a:off x="8587247" y="1841098"/>
            <a:ext cx="598338" cy="278610"/>
          </a:xfrm>
          <a:prstGeom prst="roundRect">
            <a:avLst/>
          </a:prstGeom>
          <a:solidFill>
            <a:srgbClr val="007C00"/>
          </a:solidFill>
          <a:ln>
            <a:solidFill>
              <a:srgbClr val="007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75" b="1" dirty="0"/>
              <a:t>SML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3083" y="2619294"/>
            <a:ext cx="771525" cy="647700"/>
          </a:xfrm>
          <a:prstGeom prst="rect">
            <a:avLst/>
          </a:prstGeom>
        </p:spPr>
      </p:pic>
      <p:sp>
        <p:nvSpPr>
          <p:cNvPr id="74" name="TextBox 73"/>
          <p:cNvSpPr txBox="1"/>
          <p:nvPr/>
        </p:nvSpPr>
        <p:spPr>
          <a:xfrm>
            <a:off x="3965034" y="2582994"/>
            <a:ext cx="936000" cy="684000"/>
          </a:xfrm>
          <a:prstGeom prst="roundRect">
            <a:avLst/>
          </a:prstGeom>
          <a:noFill/>
          <a:ln>
            <a:solidFill>
              <a:srgbClr val="395B88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it-IT"/>
            </a:defPPr>
            <a:lvl1pPr>
              <a:defRPr sz="1200">
                <a:latin typeface="Calibri" panose="020F0502020204030204" pitchFamily="34" charset="0"/>
              </a:defRPr>
            </a:lvl1pPr>
          </a:lstStyle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  <a:p>
            <a:pPr marL="85725" eaLnBrk="1" hangingPunct="1">
              <a:defRPr/>
            </a:pPr>
            <a:endParaRPr lang="it-IT" sz="1292" dirty="0"/>
          </a:p>
        </p:txBody>
      </p:sp>
      <p:sp>
        <p:nvSpPr>
          <p:cNvPr id="68" name="Segnaposto numero diapositiva 2"/>
          <p:cNvSpPr txBox="1">
            <a:spLocks noGrp="1"/>
          </p:cNvSpPr>
          <p:nvPr/>
        </p:nvSpPr>
        <p:spPr bwMode="auto">
          <a:xfrm>
            <a:off x="3946299" y="6507163"/>
            <a:ext cx="2060575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buClr>
                <a:srgbClr val="CC0000"/>
              </a:buClr>
              <a:buSzPct val="70000"/>
              <a:buFont typeface="Wingdings" pitchFamily="2" charset="2"/>
              <a:buNone/>
            </a:pPr>
            <a:r>
              <a:rPr lang="it-IT" altLang="it-IT" sz="1200" b="1" dirty="0" smtClean="0">
                <a:solidFill>
                  <a:srgbClr val="336600"/>
                </a:solidFill>
                <a:latin typeface="Tahoma" pitchFamily="34" charset="0"/>
              </a:rPr>
              <a:t>9</a:t>
            </a:r>
            <a:endParaRPr lang="it-IT" altLang="it-IT" sz="1200" b="1" dirty="0">
              <a:solidFill>
                <a:srgbClr val="336600"/>
              </a:solidFill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4570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ain-offi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Pros_and_cons_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Overlapping_circles_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act_POWER_USER_SEPARATOR_ICONS_check-mark_POWER_USER_SEPARATOR_ICONS_honest_POWER_USER_SEPARATOR_ICONS_person_POWER_USER_SEPARATOR_ICONS_politics_POWER_USER_SEPARATOR_ICONS_speech_POWER_USER_SEPARATOR_ICONS_statement_POWER_USER_SEPARATOR_ICONS_talking_POWER_USER_SEPARATOR_ICONS_truth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act_POWER_USER_SEPARATOR_ICONS_check-mark_POWER_USER_SEPARATOR_ICONS_honest_POWER_USER_SEPARATOR_ICONS_person_POWER_USER_SEPARATOR_ICONS_politics_POWER_USER_SEPARATOR_ICONS_speech_POWER_USER_SEPARATOR_ICONS_statement_POWER_USER_SEPARATOR_ICONS_talking_POWER_USER_SEPARATOR_ICONS_truth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act_POWER_USER_SEPARATOR_ICONS_check-mark_POWER_USER_SEPARATOR_ICONS_honest_POWER_USER_SEPARATOR_ICONS_person_POWER_USER_SEPARATOR_ICONS_politics_POWER_USER_SEPARATOR_ICONS_speech_POWER_USER_SEPARATOR_ICONS_statement_POWER_USER_SEPARATOR_ICONS_talking_POWER_USER_SEPARATOR_ICONS_truth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Overlapping_circles_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ARROWS_ARROW" val="POWER_USER_DIAGRAM_ARROWS_ARROW"/>
  <p:tag name="POWER_USER_DIAGRAM_ARROWS_ARROW_1" val="POWER_USER_DIAGRAM_ARROWS_ARROW_1"/>
  <p:tag name="POWER_USER_DIAGRAM_ARROWS_FINAL_ARROW_KEY" val="POWER_USER_DIAGRAM_ARROWS_FINAL_ARROW_VALUE_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ARROWS_ARROW" val="POWER_USER_DIAGRAM_ARROWS_ARROW"/>
  <p:tag name="POWER_USER_DIAGRAM_ARROWS_ARROW_1" val="POWER_USER_DIAGRAM_ARROWS_ARROW_1"/>
  <p:tag name="POWER_USER_DIAGRAM_ARROWS_FINAL_ARROW_KEY" val="POWER_USER_DIAGRAM_ARROWS_FINAL_ARROW_VALUE_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uccess*winner*crown*olympics*laurel wreath*leaves*leaf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agnifying-glass_POWER_USER_SEPARATOR_ICONS_detective_POWER_USER_SEPARATOR_ICONS_find_POWER_USER_SEPARATOR_ICONS_look_POWER_USER_SEPARATOR_ICONS_search_POWER_USER_SEPARATOR_ICONS_vi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ain-offi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ain-offi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ain-office"/>
</p:tagLst>
</file>

<file path=ppt/theme/theme1.xml><?xml version="1.0" encoding="utf-8"?>
<a:theme xmlns:a="http://schemas.openxmlformats.org/drawingml/2006/main" name="StdSigmaTerR1.1">
  <a:themeElements>
    <a:clrScheme name="Gradazioni di grigio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dSigmaTerR1.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>
          <a:noFill/>
        </a:ln>
        <a:extLst>
          <a:ext uri="{91240B29-F687-4f45-9708-019B960494DF}">
            <a14:hiddenLine xmlns:r="http://schemas.openxmlformats.org/officeDocument/2006/relationships" xmlns:p="http://schemas.openxmlformats.org/presentationml/2006/main" xmlns:a14="http://schemas.microsoft.com/office/drawing/2010/main" xmlns="" w="9525">
              <a:solidFill>
                <a:srgbClr val="000000"/>
              </a:solidFill>
              <a:round/>
              <a:headEnd/>
              <a:tailEnd/>
            </a14:hiddenLine>
          </a:ext>
        </a:extLst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algn="ctr">
          <a:defRPr dirty="0"/>
        </a:defPPr>
      </a:lstStyle>
    </a:spDef>
    <a:lnDef>
      <a:spPr bwMode="auto">
        <a:solidFill>
          <a:srgbClr val="006600"/>
        </a:solidFill>
        <a:ln w="19050" cap="flat" cmpd="sng" algn="ctr">
          <a:solidFill>
            <a:srgbClr val="92D050"/>
          </a:solidFill>
          <a:prstDash val="solid"/>
          <a:round/>
          <a:headEnd type="none" w="med" len="med"/>
          <a:tailEnd type="triangle" w="lg" len="med"/>
        </a:ln>
        <a:effectLst/>
      </a:spPr>
      <a:bodyPr/>
      <a:lstStyle/>
    </a:lnDef>
  </a:objectDefaults>
  <a:extraClrSchemeLst>
    <a:extraClrScheme>
      <a:clrScheme name="StdSigmaTerR1.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SigmaTerR1.1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dSigmaTerR1.1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SigmaTerR1.1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SigmaTerR1.1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SigmaTerR1.1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SigmaTerR1.1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SigmaTerR1.1 8">
        <a:dk1>
          <a:srgbClr val="000000"/>
        </a:dk1>
        <a:lt1>
          <a:srgbClr val="FFFFFF"/>
        </a:lt1>
        <a:dk2>
          <a:srgbClr val="CC0000"/>
        </a:dk2>
        <a:lt2>
          <a:srgbClr val="808080"/>
        </a:lt2>
        <a:accent1>
          <a:srgbClr val="FFFFFF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0000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tdSigmaTerR1.1">
  <a:themeElements>
    <a:clrScheme name="Gradazioni di grigio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dSigmaTerR1.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0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CC0000"/>
          </a:buClr>
          <a:buSzPct val="70000"/>
          <a:buFont typeface="Wingdings" pitchFamily="2" charset="2"/>
          <a:buNone/>
          <a:tabLst/>
          <a:defRPr kumimoji="0" lang="it-IT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0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CC0000"/>
          </a:buClr>
          <a:buSzPct val="70000"/>
          <a:buFont typeface="Wingdings" pitchFamily="2" charset="2"/>
          <a:buNone/>
          <a:tabLst/>
          <a:defRPr kumimoji="0" lang="it-IT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dSigmaTerR1.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SigmaTerR1.1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dSigmaTerR1.1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SigmaTerR1.1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SigmaTerR1.1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SigmaTerR1.1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SigmaTerR1.1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dSigmaTerR1.1 8">
        <a:dk1>
          <a:srgbClr val="000000"/>
        </a:dk1>
        <a:lt1>
          <a:srgbClr val="FFFFFF"/>
        </a:lt1>
        <a:dk2>
          <a:srgbClr val="CC0000"/>
        </a:dk2>
        <a:lt2>
          <a:srgbClr val="808080"/>
        </a:lt2>
        <a:accent1>
          <a:srgbClr val="FFFFFF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0000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CD598C6D6F48864FB880ECBE0C54B843" ma:contentTypeVersion="0" ma:contentTypeDescription="Creare un nuovo documento." ma:contentTypeScope="" ma:versionID="bad5deeaca7b4aa3215c2de2e8dc5ff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de2c2bff39701977361371fca1d1563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378C4AE-C723-4BC4-8D1C-9FCF6E2AB420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3CC4334-9794-4CF1-ACA4-E21E607E83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C885B84-5076-4F98-8F1E-F80F55CD4CA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889</TotalTime>
  <Words>3656</Words>
  <Application>Microsoft Office PowerPoint</Application>
  <PresentationFormat>A4 Paper (210x297 mm)</PresentationFormat>
  <Paragraphs>635</Paragraphs>
  <Slides>46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59" baseType="lpstr">
      <vt:lpstr>Arial Black</vt:lpstr>
      <vt:lpstr>Trebuchet MS</vt:lpstr>
      <vt:lpstr>Arial</vt:lpstr>
      <vt:lpstr>Calibri</vt:lpstr>
      <vt:lpstr>DejaVu Sans</vt:lpstr>
      <vt:lpstr>Bebas Neue</vt:lpstr>
      <vt:lpstr>Wingdings</vt:lpstr>
      <vt:lpstr>Wingdings 2</vt:lpstr>
      <vt:lpstr>Tahoma</vt:lpstr>
      <vt:lpstr>StdSigmaTerR1.1</vt:lpstr>
      <vt:lpstr>1_StdSigmaTerR1.1</vt:lpstr>
      <vt:lpstr>Custom Design</vt:lpstr>
      <vt:lpstr>Diapositiva think-cell</vt:lpstr>
      <vt:lpstr>PowerPoint Presentation</vt:lpstr>
      <vt:lpstr>PowerPoint Presentation</vt:lpstr>
      <vt:lpstr>PowerPoint Presentation</vt:lpstr>
      <vt:lpstr>I numeri di NoTI-ER: dal suo avvio ad oggi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i PowerPoint</dc:title>
  <dc:creator>Gandolfi, Gabriele (IT - Bologna) &lt;ggandolfi@deloitte.it&gt;</dc:creator>
  <cp:keywords>Fatturazione Elettronica</cp:keywords>
  <cp:lastModifiedBy>Cernigliaro, Giuseppe</cp:lastModifiedBy>
  <cp:revision>968</cp:revision>
  <cp:lastPrinted>2012-05-24T09:34:52Z</cp:lastPrinted>
  <dcterms:created xsi:type="dcterms:W3CDTF">2018-03-20T09:29:30Z</dcterms:created>
  <dcterms:modified xsi:type="dcterms:W3CDTF">2019-05-24T13:28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e">
    <vt:lpwstr>&lt;1.0&gt;</vt:lpwstr>
  </property>
  <property fmtid="{D5CDD505-2E9C-101B-9397-08002B2CF9AE}" pid="3" name="Argomento">
    <vt:lpwstr>Modello standard per presentazioni SIGMA TER</vt:lpwstr>
  </property>
  <property fmtid="{D5CDD505-2E9C-101B-9397-08002B2CF9AE}" pid="4" name="Metodologia">
    <vt:lpwstr>Miro</vt:lpwstr>
  </property>
  <property fmtid="{D5CDD505-2E9C-101B-9397-08002B2CF9AE}" pid="5" name="ContentTypeId">
    <vt:lpwstr>0x010100CD598C6D6F48864FB880ECBE0C54B843</vt:lpwstr>
  </property>
</Properties>
</file>